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8"/>
  </p:notesMasterIdLst>
  <p:sldIdLst>
    <p:sldId id="375" r:id="rId2"/>
    <p:sldId id="404" r:id="rId3"/>
    <p:sldId id="399" r:id="rId4"/>
    <p:sldId id="386" r:id="rId5"/>
    <p:sldId id="347" r:id="rId6"/>
    <p:sldId id="392" r:id="rId7"/>
    <p:sldId id="351" r:id="rId8"/>
    <p:sldId id="348" r:id="rId9"/>
    <p:sldId id="387" r:id="rId10"/>
    <p:sldId id="353" r:id="rId11"/>
    <p:sldId id="350" r:id="rId12"/>
    <p:sldId id="388" r:id="rId13"/>
    <p:sldId id="389" r:id="rId14"/>
    <p:sldId id="390" r:id="rId15"/>
    <p:sldId id="398" r:id="rId16"/>
    <p:sldId id="402" r:id="rId17"/>
    <p:sldId id="393" r:id="rId18"/>
    <p:sldId id="401" r:id="rId19"/>
    <p:sldId id="394" r:id="rId20"/>
    <p:sldId id="355" r:id="rId21"/>
    <p:sldId id="357" r:id="rId22"/>
    <p:sldId id="358" r:id="rId23"/>
    <p:sldId id="360" r:id="rId24"/>
    <p:sldId id="363" r:id="rId25"/>
    <p:sldId id="365" r:id="rId26"/>
    <p:sldId id="366" r:id="rId27"/>
    <p:sldId id="368" r:id="rId28"/>
    <p:sldId id="369" r:id="rId29"/>
    <p:sldId id="370" r:id="rId30"/>
    <p:sldId id="380" r:id="rId31"/>
    <p:sldId id="400" r:id="rId32"/>
    <p:sldId id="384" r:id="rId33"/>
    <p:sldId id="374" r:id="rId34"/>
    <p:sldId id="371" r:id="rId35"/>
    <p:sldId id="381" r:id="rId36"/>
    <p:sldId id="405" r:id="rId37"/>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9707"/>
    <a:srgbClr val="008000"/>
    <a:srgbClr val="03A550"/>
    <a:srgbClr val="005FFA"/>
    <a:srgbClr val="0099FF"/>
    <a:srgbClr val="004FD0"/>
    <a:srgbClr val="0070BC"/>
    <a:srgbClr val="FF6600"/>
    <a:srgbClr val="FFA219"/>
    <a:srgbClr val="33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47" autoAdjust="0"/>
    <p:restoredTop sz="95742" autoAdjust="0"/>
  </p:normalViewPr>
  <p:slideViewPr>
    <p:cSldViewPr>
      <p:cViewPr varScale="1">
        <p:scale>
          <a:sx n="116" d="100"/>
          <a:sy n="116" d="100"/>
        </p:scale>
        <p:origin x="324" y="102"/>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68" d="100"/>
          <a:sy n="68" d="100"/>
        </p:scale>
        <p:origin x="-2808"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593CC7B-F96E-4B2C-992B-B794D87698E3}" type="datetimeFigureOut">
              <a:rPr lang="zh-CN" altLang="en-US" smtClean="0"/>
              <a:t>2021/1/6</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0B1FB53-074E-453F-8BCF-006D7CFC3CA0}"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0B1FB53-074E-453F-8BCF-006D7CFC3CA0}" type="slidenum">
              <a:rPr lang="zh-CN" altLang="en-US" smtClean="0"/>
              <a:t>8</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矩形 1"/>
          <p:cNvSpPr/>
          <p:nvPr userDrawn="1"/>
        </p:nvSpPr>
        <p:spPr>
          <a:xfrm>
            <a:off x="107504" y="627534"/>
            <a:ext cx="8928992" cy="4392488"/>
          </a:xfrm>
          <a:prstGeom prst="rect">
            <a:avLst/>
          </a:prstGeom>
          <a:solidFill>
            <a:srgbClr val="FFFFFF">
              <a:alpha val="92157"/>
            </a:srgb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标题 1"/>
          <p:cNvSpPr txBox="1"/>
          <p:nvPr userDrawn="1"/>
        </p:nvSpPr>
        <p:spPr>
          <a:xfrm>
            <a:off x="251520" y="58316"/>
            <a:ext cx="3960440" cy="857250"/>
          </a:xfrm>
          <a:prstGeom prst="rect">
            <a:avLst/>
          </a:prstGeom>
        </p:spPr>
        <p:txBody>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r>
              <a:rPr lang="zh-CN" altLang="en-US" b="1" dirty="0"/>
              <a:t>单击此处输入标题文字</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2" name="矩形 1"/>
          <p:cNvSpPr/>
          <p:nvPr userDrawn="1"/>
        </p:nvSpPr>
        <p:spPr>
          <a:xfrm>
            <a:off x="107504" y="627534"/>
            <a:ext cx="8928992" cy="4392488"/>
          </a:xfrm>
          <a:prstGeom prst="rect">
            <a:avLst/>
          </a:prstGeom>
          <a:solidFill>
            <a:srgbClr val="FFFFFF">
              <a:alpha val="92157"/>
            </a:srgb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spd="slow" advTm="1000">
    <p:cove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Tree>
  </p:cSld>
  <p:clrMapOvr>
    <a:masterClrMapping/>
  </p:clrMapOvr>
  <p:transition spd="slow" advTm="1000">
    <p:cove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标题幻灯片">
    <p:bg>
      <p:bgRef idx="1001">
        <a:schemeClr val="bg1"/>
      </p:bgRef>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spd="slow" advTm="1000">
    <p:cove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p:spPr>
        <p:txBody>
          <a:bodyPr/>
          <a:lstStyle/>
          <a:p>
            <a:fld id="{16E5758D-A3C3-4E88-8AC0-22500507BD7E}" type="datetimeFigureOut">
              <a:rPr lang="zh-CN" altLang="en-US" smtClean="0">
                <a:solidFill>
                  <a:prstClr val="black">
                    <a:tint val="75000"/>
                  </a:prstClr>
                </a:solidFill>
              </a:rPr>
              <a:t>2021/1/6</a:t>
            </a:fld>
            <a:endParaRPr lang="zh-CN" altLang="en-US">
              <a:solidFill>
                <a:prstClr val="black">
                  <a:tint val="75000"/>
                </a:prstClr>
              </a:solidFill>
            </a:endParaRPr>
          </a:p>
        </p:txBody>
      </p:sp>
      <p:sp>
        <p:nvSpPr>
          <p:cNvPr id="3" name="Footer Placeholder 2"/>
          <p:cNvSpPr>
            <a:spLocks noGrp="1"/>
          </p:cNvSpPr>
          <p:nvPr>
            <p:ph type="ftr" sz="quarter" idx="11"/>
          </p:nvPr>
        </p:nvSpPr>
        <p:spPr>
          <a:xfrm>
            <a:off x="3028950" y="4767263"/>
            <a:ext cx="3086100" cy="273844"/>
          </a:xfrm>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a:xfrm>
            <a:off x="6457950" y="4767263"/>
            <a:ext cx="2057400" cy="273844"/>
          </a:xfrm>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transition spd="slow" advTm="1000">
    <p:cove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ransition spd="slow" advTm="1000">
    <p:cover/>
  </p:transition>
  <p:txStyles>
    <p:title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微软雅黑" panose="020B0503020204020204" pitchFamily="34" charset="-122"/>
          <a:ea typeface="微软雅黑" panose="020B0503020204020204" pitchFamily="34" charset="-122"/>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J:\设计ppt\普通PPT\其它\邮政LOGO.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642543" y="771550"/>
            <a:ext cx="1793553" cy="1721086"/>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1"/>
          <p:cNvSpPr>
            <a:spLocks noChangeArrowheads="1"/>
          </p:cNvSpPr>
          <p:nvPr/>
        </p:nvSpPr>
        <p:spPr bwMode="auto">
          <a:xfrm>
            <a:off x="2132141" y="2636652"/>
            <a:ext cx="5032147" cy="923330"/>
          </a:xfrm>
          <a:prstGeom prst="rect">
            <a:avLst/>
          </a:prstGeom>
          <a:noFill/>
          <a:ln>
            <a:noFill/>
          </a:ln>
        </p:spPr>
        <p:txBody>
          <a:bodyPr wrap="none">
            <a:spAutoFit/>
          </a:bodyPr>
          <a:lstStyle/>
          <a:p>
            <a:pPr>
              <a:lnSpc>
                <a:spcPct val="100000"/>
              </a:lnSpc>
            </a:pPr>
            <a:r>
              <a:rPr lang="zh-CN" altLang="en-US" sz="5400" b="1" dirty="0">
                <a:latin typeface="微软雅黑" panose="020B0503020204020204" pitchFamily="34" charset="-122"/>
                <a:ea typeface="微软雅黑" panose="020B0503020204020204" pitchFamily="34" charset="-122"/>
                <a:cs typeface="Segoe UI" panose="020B0502040204020203"/>
              </a:rPr>
              <a:t>单击填加主标题</a:t>
            </a:r>
            <a:endParaRPr lang="en-US" altLang="zh-CN" sz="5400" b="1" dirty="0">
              <a:latin typeface="微软雅黑" panose="020B0503020204020204" pitchFamily="34" charset="-122"/>
              <a:ea typeface="微软雅黑" panose="020B0503020204020204" pitchFamily="34" charset="-122"/>
              <a:cs typeface="Segoe UI" panose="020B0502040204020203"/>
            </a:endParaRPr>
          </a:p>
        </p:txBody>
      </p:sp>
      <p:sp>
        <p:nvSpPr>
          <p:cNvPr id="12" name="Title 1"/>
          <p:cNvSpPr txBox="1"/>
          <p:nvPr/>
        </p:nvSpPr>
        <p:spPr>
          <a:xfrm>
            <a:off x="2555777" y="3363838"/>
            <a:ext cx="4248471" cy="792088"/>
          </a:xfrm>
          <a:prstGeom prst="rect">
            <a:avLst/>
          </a:prstGeom>
        </p:spPr>
        <p:txBody>
          <a:bodyPr anchor="ctr" anchorCtr="0">
            <a:noAutofit/>
          </a:bodyPr>
          <a:lstStyle>
            <a:lvl1pPr algn="l" defTabSz="685800"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r>
              <a:rPr lang="zh-CN" altLang="en-US" sz="1800" b="0" spc="0" dirty="0">
                <a:solidFill>
                  <a:schemeClr val="tx1"/>
                </a:solidFill>
                <a:latin typeface="微软雅黑" panose="020B0503020204020204" pitchFamily="34" charset="-122"/>
                <a:ea typeface="微软雅黑" panose="020B0503020204020204" pitchFamily="34" charset="-122"/>
              </a:rPr>
              <a:t>中国邮政</a:t>
            </a:r>
            <a:r>
              <a:rPr lang="en-US" altLang="zh-CN" sz="1800" b="0" spc="0" dirty="0">
                <a:solidFill>
                  <a:schemeClr val="tx1"/>
                </a:solidFill>
                <a:latin typeface="微软雅黑" panose="020B0503020204020204" pitchFamily="34" charset="-122"/>
                <a:ea typeface="微软雅黑" panose="020B0503020204020204" pitchFamily="34" charset="-122"/>
              </a:rPr>
              <a:t>/</a:t>
            </a:r>
            <a:r>
              <a:rPr lang="zh-CN" altLang="en-US" sz="1800" b="0" spc="0" dirty="0">
                <a:solidFill>
                  <a:schemeClr val="tx1"/>
                </a:solidFill>
                <a:latin typeface="微软雅黑" panose="020B0503020204020204" pitchFamily="34" charset="-122"/>
                <a:ea typeface="微软雅黑" panose="020B0503020204020204" pitchFamily="34" charset="-122"/>
              </a:rPr>
              <a:t>储蓄银行</a:t>
            </a:r>
            <a:r>
              <a:rPr lang="en-US" altLang="zh-CN" sz="1800" b="0" spc="0" dirty="0">
                <a:solidFill>
                  <a:schemeClr val="tx1"/>
                </a:solidFill>
                <a:latin typeface="微软雅黑" panose="020B0503020204020204" pitchFamily="34" charset="-122"/>
                <a:ea typeface="微软雅黑" panose="020B0503020204020204" pitchFamily="34" charset="-122"/>
              </a:rPr>
              <a:t>/</a:t>
            </a:r>
            <a:r>
              <a:rPr lang="zh-CN" altLang="en-US" sz="1800" b="0" spc="0" dirty="0">
                <a:solidFill>
                  <a:schemeClr val="tx1"/>
                </a:solidFill>
                <a:latin typeface="微软雅黑" panose="020B0503020204020204" pitchFamily="34" charset="-122"/>
                <a:ea typeface="微软雅黑" panose="020B0503020204020204" pitchFamily="34" charset="-122"/>
              </a:rPr>
              <a:t>金融</a:t>
            </a:r>
            <a:r>
              <a:rPr lang="en-US" altLang="zh-CN" sz="1800" b="0" spc="0" dirty="0">
                <a:solidFill>
                  <a:schemeClr val="tx1"/>
                </a:solidFill>
                <a:latin typeface="微软雅黑" panose="020B0503020204020204" pitchFamily="34" charset="-122"/>
                <a:ea typeface="微软雅黑" panose="020B0503020204020204" pitchFamily="34" charset="-122"/>
              </a:rPr>
              <a:t>/</a:t>
            </a:r>
            <a:r>
              <a:rPr lang="zh-CN" altLang="en-US" sz="1800" b="0" spc="0" dirty="0">
                <a:solidFill>
                  <a:schemeClr val="tx1"/>
                </a:solidFill>
                <a:latin typeface="微软雅黑" panose="020B0503020204020204" pitchFamily="34" charset="-122"/>
                <a:ea typeface="微软雅黑" panose="020B0503020204020204" pitchFamily="34" charset="-122"/>
              </a:rPr>
              <a:t>理财动态</a:t>
            </a:r>
            <a:r>
              <a:rPr lang="en-US" altLang="zh-CN" sz="1800" b="0" spc="0" dirty="0">
                <a:solidFill>
                  <a:schemeClr val="tx1"/>
                </a:solidFill>
                <a:latin typeface="微软雅黑" panose="020B0503020204020204" pitchFamily="34" charset="-122"/>
                <a:ea typeface="微软雅黑" panose="020B0503020204020204" pitchFamily="34" charset="-122"/>
              </a:rPr>
              <a:t>PPT</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027"/>
                                        </p:tgtEl>
                                        <p:attrNameLst>
                                          <p:attrName>style.visibility</p:attrName>
                                        </p:attrNameLst>
                                      </p:cBhvr>
                                      <p:to>
                                        <p:strVal val="visible"/>
                                      </p:to>
                                    </p:set>
                                    <p:animEffect transition="in" filter="fade">
                                      <p:cBhvr>
                                        <p:cTn id="7" dur="750"/>
                                        <p:tgtEl>
                                          <p:spTgt spid="1027"/>
                                        </p:tgtEl>
                                      </p:cBhvr>
                                    </p:animEffect>
                                    <p:anim calcmode="lin" valueType="num">
                                      <p:cBhvr>
                                        <p:cTn id="8" dur="750" fill="hold"/>
                                        <p:tgtEl>
                                          <p:spTgt spid="1027"/>
                                        </p:tgtEl>
                                        <p:attrNameLst>
                                          <p:attrName>ppt_x</p:attrName>
                                        </p:attrNameLst>
                                      </p:cBhvr>
                                      <p:tavLst>
                                        <p:tav tm="0">
                                          <p:val>
                                            <p:strVal val="#ppt_x"/>
                                          </p:val>
                                        </p:tav>
                                        <p:tav tm="100000">
                                          <p:val>
                                            <p:strVal val="#ppt_x"/>
                                          </p:val>
                                        </p:tav>
                                      </p:tavLst>
                                    </p:anim>
                                    <p:anim calcmode="lin" valueType="num">
                                      <p:cBhvr>
                                        <p:cTn id="9" dur="750" fill="hold"/>
                                        <p:tgtEl>
                                          <p:spTgt spid="102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8"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750"/>
                                        <p:tgtEl>
                                          <p:spTgt spid="8"/>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19138" y="3257129"/>
            <a:ext cx="2843213" cy="1508125"/>
            <a:chOff x="719138" y="3257129"/>
            <a:chExt cx="2843213" cy="1508125"/>
          </a:xfrm>
        </p:grpSpPr>
        <p:sp>
          <p:nvSpPr>
            <p:cNvPr id="3" name="Freeform 61"/>
            <p:cNvSpPr/>
            <p:nvPr/>
          </p:nvSpPr>
          <p:spPr bwMode="auto">
            <a:xfrm>
              <a:off x="719138" y="3257129"/>
              <a:ext cx="2843213" cy="1419225"/>
            </a:xfrm>
            <a:custGeom>
              <a:avLst/>
              <a:gdLst>
                <a:gd name="T0" fmla="*/ 1152 w 2304"/>
                <a:gd name="T1" fmla="*/ 1152 h 1152"/>
                <a:gd name="T2" fmla="*/ 2304 w 2304"/>
                <a:gd name="T3" fmla="*/ 576 h 1152"/>
                <a:gd name="T4" fmla="*/ 1152 w 2304"/>
                <a:gd name="T5" fmla="*/ 0 h 1152"/>
                <a:gd name="T6" fmla="*/ 0 w 2304"/>
                <a:gd name="T7" fmla="*/ 576 h 1152"/>
                <a:gd name="T8" fmla="*/ 1152 w 2304"/>
                <a:gd name="T9" fmla="*/ 1152 h 1152"/>
              </a:gdLst>
              <a:ahLst/>
              <a:cxnLst>
                <a:cxn ang="0">
                  <a:pos x="T0" y="T1"/>
                </a:cxn>
                <a:cxn ang="0">
                  <a:pos x="T2" y="T3"/>
                </a:cxn>
                <a:cxn ang="0">
                  <a:pos x="T4" y="T5"/>
                </a:cxn>
                <a:cxn ang="0">
                  <a:pos x="T6" y="T7"/>
                </a:cxn>
                <a:cxn ang="0">
                  <a:pos x="T8" y="T9"/>
                </a:cxn>
              </a:cxnLst>
              <a:rect l="0" t="0" r="r" b="b"/>
              <a:pathLst>
                <a:path w="2304" h="1152">
                  <a:moveTo>
                    <a:pt x="1152" y="1152"/>
                  </a:moveTo>
                  <a:lnTo>
                    <a:pt x="2304" y="576"/>
                  </a:lnTo>
                  <a:lnTo>
                    <a:pt x="1152" y="0"/>
                  </a:lnTo>
                  <a:lnTo>
                    <a:pt x="0" y="576"/>
                  </a:lnTo>
                  <a:lnTo>
                    <a:pt x="1152" y="1152"/>
                  </a:lnTo>
                  <a:close/>
                </a:path>
              </a:pathLst>
            </a:custGeom>
            <a:solidFill>
              <a:srgbClr val="DDDDDD"/>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 name="Freeform 62"/>
            <p:cNvSpPr/>
            <p:nvPr/>
          </p:nvSpPr>
          <p:spPr bwMode="auto">
            <a:xfrm>
              <a:off x="2141538" y="3966741"/>
              <a:ext cx="1420813" cy="798513"/>
            </a:xfrm>
            <a:custGeom>
              <a:avLst/>
              <a:gdLst>
                <a:gd name="T0" fmla="*/ 0 w 1152"/>
                <a:gd name="T1" fmla="*/ 576 h 648"/>
                <a:gd name="T2" fmla="*/ 1152 w 1152"/>
                <a:gd name="T3" fmla="*/ 0 h 648"/>
                <a:gd name="T4" fmla="*/ 1152 w 1152"/>
                <a:gd name="T5" fmla="*/ 72 h 648"/>
                <a:gd name="T6" fmla="*/ 0 w 1152"/>
                <a:gd name="T7" fmla="*/ 648 h 648"/>
                <a:gd name="T8" fmla="*/ 0 w 1152"/>
                <a:gd name="T9" fmla="*/ 576 h 648"/>
              </a:gdLst>
              <a:ahLst/>
              <a:cxnLst>
                <a:cxn ang="0">
                  <a:pos x="T0" y="T1"/>
                </a:cxn>
                <a:cxn ang="0">
                  <a:pos x="T2" y="T3"/>
                </a:cxn>
                <a:cxn ang="0">
                  <a:pos x="T4" y="T5"/>
                </a:cxn>
                <a:cxn ang="0">
                  <a:pos x="T6" y="T7"/>
                </a:cxn>
                <a:cxn ang="0">
                  <a:pos x="T8" y="T9"/>
                </a:cxn>
              </a:cxnLst>
              <a:rect l="0" t="0" r="r" b="b"/>
              <a:pathLst>
                <a:path w="1152" h="648">
                  <a:moveTo>
                    <a:pt x="0" y="576"/>
                  </a:moveTo>
                  <a:lnTo>
                    <a:pt x="1152" y="0"/>
                  </a:lnTo>
                  <a:lnTo>
                    <a:pt x="1152" y="72"/>
                  </a:lnTo>
                  <a:lnTo>
                    <a:pt x="0" y="648"/>
                  </a:lnTo>
                  <a:lnTo>
                    <a:pt x="0" y="576"/>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 name="Freeform 63"/>
            <p:cNvSpPr/>
            <p:nvPr/>
          </p:nvSpPr>
          <p:spPr bwMode="auto">
            <a:xfrm>
              <a:off x="719138" y="3966741"/>
              <a:ext cx="1422400" cy="798513"/>
            </a:xfrm>
            <a:custGeom>
              <a:avLst/>
              <a:gdLst>
                <a:gd name="T0" fmla="*/ 1152 w 1152"/>
                <a:gd name="T1" fmla="*/ 648 h 648"/>
                <a:gd name="T2" fmla="*/ 0 w 1152"/>
                <a:gd name="T3" fmla="*/ 72 h 648"/>
                <a:gd name="T4" fmla="*/ 0 w 1152"/>
                <a:gd name="T5" fmla="*/ 0 h 648"/>
                <a:gd name="T6" fmla="*/ 1152 w 1152"/>
                <a:gd name="T7" fmla="*/ 576 h 648"/>
                <a:gd name="T8" fmla="*/ 1152 w 1152"/>
                <a:gd name="T9" fmla="*/ 648 h 648"/>
              </a:gdLst>
              <a:ahLst/>
              <a:cxnLst>
                <a:cxn ang="0">
                  <a:pos x="T0" y="T1"/>
                </a:cxn>
                <a:cxn ang="0">
                  <a:pos x="T2" y="T3"/>
                </a:cxn>
                <a:cxn ang="0">
                  <a:pos x="T4" y="T5"/>
                </a:cxn>
                <a:cxn ang="0">
                  <a:pos x="T6" y="T7"/>
                </a:cxn>
                <a:cxn ang="0">
                  <a:pos x="T8" y="T9"/>
                </a:cxn>
              </a:cxnLst>
              <a:rect l="0" t="0" r="r" b="b"/>
              <a:pathLst>
                <a:path w="1152" h="648">
                  <a:moveTo>
                    <a:pt x="1152" y="648"/>
                  </a:moveTo>
                  <a:lnTo>
                    <a:pt x="0" y="72"/>
                  </a:lnTo>
                  <a:lnTo>
                    <a:pt x="0" y="0"/>
                  </a:lnTo>
                  <a:lnTo>
                    <a:pt x="1152" y="576"/>
                  </a:lnTo>
                  <a:lnTo>
                    <a:pt x="1152" y="64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3" name="组合 22"/>
          <p:cNvGrpSpPr/>
          <p:nvPr/>
        </p:nvGrpSpPr>
        <p:grpSpPr>
          <a:xfrm>
            <a:off x="719138" y="2990429"/>
            <a:ext cx="2843213" cy="1154112"/>
            <a:chOff x="719138" y="2990429"/>
            <a:chExt cx="2843213" cy="1154112"/>
          </a:xfrm>
        </p:grpSpPr>
        <p:sp>
          <p:nvSpPr>
            <p:cNvPr id="6" name="Freeform 64"/>
            <p:cNvSpPr/>
            <p:nvPr/>
          </p:nvSpPr>
          <p:spPr bwMode="auto">
            <a:xfrm>
              <a:off x="719138" y="2990429"/>
              <a:ext cx="2843213" cy="1065213"/>
            </a:xfrm>
            <a:custGeom>
              <a:avLst/>
              <a:gdLst>
                <a:gd name="T0" fmla="*/ 1152 w 2304"/>
                <a:gd name="T1" fmla="*/ 864 h 864"/>
                <a:gd name="T2" fmla="*/ 2304 w 2304"/>
                <a:gd name="T3" fmla="*/ 432 h 864"/>
                <a:gd name="T4" fmla="*/ 1152 w 2304"/>
                <a:gd name="T5" fmla="*/ 0 h 864"/>
                <a:gd name="T6" fmla="*/ 0 w 2304"/>
                <a:gd name="T7" fmla="*/ 432 h 864"/>
                <a:gd name="T8" fmla="*/ 1152 w 2304"/>
                <a:gd name="T9" fmla="*/ 864 h 864"/>
              </a:gdLst>
              <a:ahLst/>
              <a:cxnLst>
                <a:cxn ang="0">
                  <a:pos x="T0" y="T1"/>
                </a:cxn>
                <a:cxn ang="0">
                  <a:pos x="T2" y="T3"/>
                </a:cxn>
                <a:cxn ang="0">
                  <a:pos x="T4" y="T5"/>
                </a:cxn>
                <a:cxn ang="0">
                  <a:pos x="T6" y="T7"/>
                </a:cxn>
                <a:cxn ang="0">
                  <a:pos x="T8" y="T9"/>
                </a:cxn>
              </a:cxnLst>
              <a:rect l="0" t="0" r="r" b="b"/>
              <a:pathLst>
                <a:path w="2304" h="864">
                  <a:moveTo>
                    <a:pt x="1152" y="864"/>
                  </a:moveTo>
                  <a:lnTo>
                    <a:pt x="2304" y="432"/>
                  </a:lnTo>
                  <a:lnTo>
                    <a:pt x="1152" y="0"/>
                  </a:lnTo>
                  <a:lnTo>
                    <a:pt x="0" y="432"/>
                  </a:lnTo>
                  <a:lnTo>
                    <a:pt x="1152" y="864"/>
                  </a:lnTo>
                  <a:close/>
                </a:path>
              </a:pathLst>
            </a:custGeom>
            <a:solidFill>
              <a:srgbClr val="3A9707"/>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 name="Freeform 65"/>
            <p:cNvSpPr/>
            <p:nvPr/>
          </p:nvSpPr>
          <p:spPr bwMode="auto">
            <a:xfrm>
              <a:off x="2141538" y="3522241"/>
              <a:ext cx="1420813" cy="622300"/>
            </a:xfrm>
            <a:custGeom>
              <a:avLst/>
              <a:gdLst>
                <a:gd name="T0" fmla="*/ 0 w 1152"/>
                <a:gd name="T1" fmla="*/ 432 h 504"/>
                <a:gd name="T2" fmla="*/ 1152 w 1152"/>
                <a:gd name="T3" fmla="*/ 0 h 504"/>
                <a:gd name="T4" fmla="*/ 1152 w 1152"/>
                <a:gd name="T5" fmla="*/ 72 h 504"/>
                <a:gd name="T6" fmla="*/ 0 w 1152"/>
                <a:gd name="T7" fmla="*/ 504 h 504"/>
                <a:gd name="T8" fmla="*/ 0 w 1152"/>
                <a:gd name="T9" fmla="*/ 432 h 504"/>
              </a:gdLst>
              <a:ahLst/>
              <a:cxnLst>
                <a:cxn ang="0">
                  <a:pos x="T0" y="T1"/>
                </a:cxn>
                <a:cxn ang="0">
                  <a:pos x="T2" y="T3"/>
                </a:cxn>
                <a:cxn ang="0">
                  <a:pos x="T4" y="T5"/>
                </a:cxn>
                <a:cxn ang="0">
                  <a:pos x="T6" y="T7"/>
                </a:cxn>
                <a:cxn ang="0">
                  <a:pos x="T8" y="T9"/>
                </a:cxn>
              </a:cxnLst>
              <a:rect l="0" t="0" r="r" b="b"/>
              <a:pathLst>
                <a:path w="1152" h="504">
                  <a:moveTo>
                    <a:pt x="0" y="432"/>
                  </a:moveTo>
                  <a:lnTo>
                    <a:pt x="1152" y="0"/>
                  </a:lnTo>
                  <a:lnTo>
                    <a:pt x="1152" y="72"/>
                  </a:lnTo>
                  <a:lnTo>
                    <a:pt x="0" y="504"/>
                  </a:lnTo>
                  <a:lnTo>
                    <a:pt x="0" y="432"/>
                  </a:lnTo>
                  <a:close/>
                </a:path>
              </a:pathLst>
            </a:custGeom>
            <a:solidFill>
              <a:schemeClr val="bg2"/>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 name="Freeform 66"/>
            <p:cNvSpPr/>
            <p:nvPr/>
          </p:nvSpPr>
          <p:spPr bwMode="auto">
            <a:xfrm>
              <a:off x="719138" y="3522241"/>
              <a:ext cx="1422400" cy="622300"/>
            </a:xfrm>
            <a:custGeom>
              <a:avLst/>
              <a:gdLst>
                <a:gd name="T0" fmla="*/ 1152 w 1152"/>
                <a:gd name="T1" fmla="*/ 504 h 504"/>
                <a:gd name="T2" fmla="*/ 0 w 1152"/>
                <a:gd name="T3" fmla="*/ 72 h 504"/>
                <a:gd name="T4" fmla="*/ 0 w 1152"/>
                <a:gd name="T5" fmla="*/ 0 h 504"/>
                <a:gd name="T6" fmla="*/ 1152 w 1152"/>
                <a:gd name="T7" fmla="*/ 432 h 504"/>
                <a:gd name="T8" fmla="*/ 1152 w 1152"/>
                <a:gd name="T9" fmla="*/ 504 h 504"/>
              </a:gdLst>
              <a:ahLst/>
              <a:cxnLst>
                <a:cxn ang="0">
                  <a:pos x="T0" y="T1"/>
                </a:cxn>
                <a:cxn ang="0">
                  <a:pos x="T2" y="T3"/>
                </a:cxn>
                <a:cxn ang="0">
                  <a:pos x="T4" y="T5"/>
                </a:cxn>
                <a:cxn ang="0">
                  <a:pos x="T6" y="T7"/>
                </a:cxn>
                <a:cxn ang="0">
                  <a:pos x="T8" y="T9"/>
                </a:cxn>
              </a:cxnLst>
              <a:rect l="0" t="0" r="r" b="b"/>
              <a:pathLst>
                <a:path w="1152" h="504">
                  <a:moveTo>
                    <a:pt x="1152" y="504"/>
                  </a:moveTo>
                  <a:lnTo>
                    <a:pt x="0" y="72"/>
                  </a:lnTo>
                  <a:lnTo>
                    <a:pt x="0" y="0"/>
                  </a:lnTo>
                  <a:lnTo>
                    <a:pt x="1152" y="432"/>
                  </a:lnTo>
                  <a:lnTo>
                    <a:pt x="1152" y="504"/>
                  </a:lnTo>
                  <a:close/>
                </a:path>
              </a:pathLst>
            </a:custGeom>
            <a:solidFill>
              <a:schemeClr val="bg2">
                <a:lumMod val="75000"/>
              </a:schemeClr>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4" name="组合 23"/>
          <p:cNvGrpSpPr/>
          <p:nvPr/>
        </p:nvGrpSpPr>
        <p:grpSpPr>
          <a:xfrm>
            <a:off x="719138" y="2723729"/>
            <a:ext cx="2843213" cy="798513"/>
            <a:chOff x="719138" y="2723729"/>
            <a:chExt cx="2843213" cy="798513"/>
          </a:xfrm>
        </p:grpSpPr>
        <p:sp>
          <p:nvSpPr>
            <p:cNvPr id="9" name="Freeform 67"/>
            <p:cNvSpPr/>
            <p:nvPr/>
          </p:nvSpPr>
          <p:spPr bwMode="auto">
            <a:xfrm>
              <a:off x="719138" y="2723729"/>
              <a:ext cx="2843213" cy="709613"/>
            </a:xfrm>
            <a:custGeom>
              <a:avLst/>
              <a:gdLst>
                <a:gd name="T0" fmla="*/ 1152 w 2304"/>
                <a:gd name="T1" fmla="*/ 576 h 576"/>
                <a:gd name="T2" fmla="*/ 2304 w 2304"/>
                <a:gd name="T3" fmla="*/ 288 h 576"/>
                <a:gd name="T4" fmla="*/ 1152 w 2304"/>
                <a:gd name="T5" fmla="*/ 0 h 576"/>
                <a:gd name="T6" fmla="*/ 0 w 2304"/>
                <a:gd name="T7" fmla="*/ 288 h 576"/>
                <a:gd name="T8" fmla="*/ 1152 w 2304"/>
                <a:gd name="T9" fmla="*/ 576 h 576"/>
              </a:gdLst>
              <a:ahLst/>
              <a:cxnLst>
                <a:cxn ang="0">
                  <a:pos x="T0" y="T1"/>
                </a:cxn>
                <a:cxn ang="0">
                  <a:pos x="T2" y="T3"/>
                </a:cxn>
                <a:cxn ang="0">
                  <a:pos x="T4" y="T5"/>
                </a:cxn>
                <a:cxn ang="0">
                  <a:pos x="T6" y="T7"/>
                </a:cxn>
                <a:cxn ang="0">
                  <a:pos x="T8" y="T9"/>
                </a:cxn>
              </a:cxnLst>
              <a:rect l="0" t="0" r="r" b="b"/>
              <a:pathLst>
                <a:path w="2304" h="576">
                  <a:moveTo>
                    <a:pt x="1152" y="576"/>
                  </a:moveTo>
                  <a:lnTo>
                    <a:pt x="2304" y="288"/>
                  </a:lnTo>
                  <a:lnTo>
                    <a:pt x="1152" y="0"/>
                  </a:lnTo>
                  <a:lnTo>
                    <a:pt x="0" y="288"/>
                  </a:lnTo>
                  <a:lnTo>
                    <a:pt x="1152" y="576"/>
                  </a:lnTo>
                  <a:close/>
                </a:path>
              </a:pathLst>
            </a:custGeom>
            <a:solidFill>
              <a:srgbClr val="EAEAEA"/>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 name="Freeform 68"/>
            <p:cNvSpPr/>
            <p:nvPr/>
          </p:nvSpPr>
          <p:spPr bwMode="auto">
            <a:xfrm>
              <a:off x="2141538" y="3079329"/>
              <a:ext cx="1420813" cy="442913"/>
            </a:xfrm>
            <a:custGeom>
              <a:avLst/>
              <a:gdLst>
                <a:gd name="T0" fmla="*/ 0 w 1152"/>
                <a:gd name="T1" fmla="*/ 288 h 360"/>
                <a:gd name="T2" fmla="*/ 1152 w 1152"/>
                <a:gd name="T3" fmla="*/ 0 h 360"/>
                <a:gd name="T4" fmla="*/ 1152 w 1152"/>
                <a:gd name="T5" fmla="*/ 72 h 360"/>
                <a:gd name="T6" fmla="*/ 0 w 1152"/>
                <a:gd name="T7" fmla="*/ 360 h 360"/>
                <a:gd name="T8" fmla="*/ 0 w 1152"/>
                <a:gd name="T9" fmla="*/ 288 h 360"/>
              </a:gdLst>
              <a:ahLst/>
              <a:cxnLst>
                <a:cxn ang="0">
                  <a:pos x="T0" y="T1"/>
                </a:cxn>
                <a:cxn ang="0">
                  <a:pos x="T2" y="T3"/>
                </a:cxn>
                <a:cxn ang="0">
                  <a:pos x="T4" y="T5"/>
                </a:cxn>
                <a:cxn ang="0">
                  <a:pos x="T6" y="T7"/>
                </a:cxn>
                <a:cxn ang="0">
                  <a:pos x="T8" y="T9"/>
                </a:cxn>
              </a:cxnLst>
              <a:rect l="0" t="0" r="r" b="b"/>
              <a:pathLst>
                <a:path w="1152" h="360">
                  <a:moveTo>
                    <a:pt x="0" y="288"/>
                  </a:moveTo>
                  <a:lnTo>
                    <a:pt x="1152" y="0"/>
                  </a:lnTo>
                  <a:lnTo>
                    <a:pt x="1152" y="72"/>
                  </a:lnTo>
                  <a:lnTo>
                    <a:pt x="0" y="360"/>
                  </a:lnTo>
                  <a:lnTo>
                    <a:pt x="0" y="288"/>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 name="Freeform 69"/>
            <p:cNvSpPr/>
            <p:nvPr/>
          </p:nvSpPr>
          <p:spPr bwMode="auto">
            <a:xfrm>
              <a:off x="719138" y="3079329"/>
              <a:ext cx="1422400" cy="442913"/>
            </a:xfrm>
            <a:custGeom>
              <a:avLst/>
              <a:gdLst>
                <a:gd name="T0" fmla="*/ 1152 w 1152"/>
                <a:gd name="T1" fmla="*/ 360 h 360"/>
                <a:gd name="T2" fmla="*/ 0 w 1152"/>
                <a:gd name="T3" fmla="*/ 72 h 360"/>
                <a:gd name="T4" fmla="*/ 0 w 1152"/>
                <a:gd name="T5" fmla="*/ 0 h 360"/>
                <a:gd name="T6" fmla="*/ 1152 w 1152"/>
                <a:gd name="T7" fmla="*/ 288 h 360"/>
                <a:gd name="T8" fmla="*/ 1152 w 1152"/>
                <a:gd name="T9" fmla="*/ 360 h 360"/>
              </a:gdLst>
              <a:ahLst/>
              <a:cxnLst>
                <a:cxn ang="0">
                  <a:pos x="T0" y="T1"/>
                </a:cxn>
                <a:cxn ang="0">
                  <a:pos x="T2" y="T3"/>
                </a:cxn>
                <a:cxn ang="0">
                  <a:pos x="T4" y="T5"/>
                </a:cxn>
                <a:cxn ang="0">
                  <a:pos x="T6" y="T7"/>
                </a:cxn>
                <a:cxn ang="0">
                  <a:pos x="T8" y="T9"/>
                </a:cxn>
              </a:cxnLst>
              <a:rect l="0" t="0" r="r" b="b"/>
              <a:pathLst>
                <a:path w="1152" h="360">
                  <a:moveTo>
                    <a:pt x="1152" y="360"/>
                  </a:moveTo>
                  <a:lnTo>
                    <a:pt x="0" y="72"/>
                  </a:lnTo>
                  <a:lnTo>
                    <a:pt x="0" y="0"/>
                  </a:lnTo>
                  <a:lnTo>
                    <a:pt x="1152" y="288"/>
                  </a:lnTo>
                  <a:lnTo>
                    <a:pt x="1152" y="36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34" name="组合 33"/>
          <p:cNvGrpSpPr/>
          <p:nvPr/>
        </p:nvGrpSpPr>
        <p:grpSpPr>
          <a:xfrm>
            <a:off x="719138" y="948904"/>
            <a:ext cx="2843213" cy="798513"/>
            <a:chOff x="719138" y="948904"/>
            <a:chExt cx="2843213" cy="798513"/>
          </a:xfrm>
        </p:grpSpPr>
        <p:sp>
          <p:nvSpPr>
            <p:cNvPr id="12" name="Freeform 70"/>
            <p:cNvSpPr/>
            <p:nvPr/>
          </p:nvSpPr>
          <p:spPr bwMode="auto">
            <a:xfrm>
              <a:off x="719138" y="1037804"/>
              <a:ext cx="2843213" cy="709613"/>
            </a:xfrm>
            <a:custGeom>
              <a:avLst/>
              <a:gdLst>
                <a:gd name="T0" fmla="*/ 1152 w 2304"/>
                <a:gd name="T1" fmla="*/ 0 h 576"/>
                <a:gd name="T2" fmla="*/ 0 w 2304"/>
                <a:gd name="T3" fmla="*/ 288 h 576"/>
                <a:gd name="T4" fmla="*/ 1152 w 2304"/>
                <a:gd name="T5" fmla="*/ 576 h 576"/>
                <a:gd name="T6" fmla="*/ 2304 w 2304"/>
                <a:gd name="T7" fmla="*/ 288 h 576"/>
                <a:gd name="T8" fmla="*/ 1152 w 2304"/>
                <a:gd name="T9" fmla="*/ 0 h 576"/>
              </a:gdLst>
              <a:ahLst/>
              <a:cxnLst>
                <a:cxn ang="0">
                  <a:pos x="T0" y="T1"/>
                </a:cxn>
                <a:cxn ang="0">
                  <a:pos x="T2" y="T3"/>
                </a:cxn>
                <a:cxn ang="0">
                  <a:pos x="T4" y="T5"/>
                </a:cxn>
                <a:cxn ang="0">
                  <a:pos x="T6" y="T7"/>
                </a:cxn>
                <a:cxn ang="0">
                  <a:pos x="T8" y="T9"/>
                </a:cxn>
              </a:cxnLst>
              <a:rect l="0" t="0" r="r" b="b"/>
              <a:pathLst>
                <a:path w="2304" h="576">
                  <a:moveTo>
                    <a:pt x="1152" y="0"/>
                  </a:moveTo>
                  <a:lnTo>
                    <a:pt x="0" y="288"/>
                  </a:lnTo>
                  <a:lnTo>
                    <a:pt x="1152" y="576"/>
                  </a:lnTo>
                  <a:lnTo>
                    <a:pt x="2304" y="288"/>
                  </a:lnTo>
                  <a:lnTo>
                    <a:pt x="1152" y="0"/>
                  </a:lnTo>
                  <a:close/>
                </a:path>
              </a:pathLst>
            </a:custGeom>
            <a:solidFill>
              <a:schemeClr val="bg2"/>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13" name="Freeform 71"/>
            <p:cNvSpPr/>
            <p:nvPr/>
          </p:nvSpPr>
          <p:spPr bwMode="auto">
            <a:xfrm>
              <a:off x="719138" y="948904"/>
              <a:ext cx="1422400" cy="444500"/>
            </a:xfrm>
            <a:custGeom>
              <a:avLst/>
              <a:gdLst>
                <a:gd name="T0" fmla="*/ 1152 w 1152"/>
                <a:gd name="T1" fmla="*/ 72 h 360"/>
                <a:gd name="T2" fmla="*/ 0 w 1152"/>
                <a:gd name="T3" fmla="*/ 360 h 360"/>
                <a:gd name="T4" fmla="*/ 0 w 1152"/>
                <a:gd name="T5" fmla="*/ 288 h 360"/>
                <a:gd name="T6" fmla="*/ 1152 w 1152"/>
                <a:gd name="T7" fmla="*/ 0 h 360"/>
                <a:gd name="T8" fmla="*/ 1152 w 1152"/>
                <a:gd name="T9" fmla="*/ 72 h 360"/>
              </a:gdLst>
              <a:ahLst/>
              <a:cxnLst>
                <a:cxn ang="0">
                  <a:pos x="T0" y="T1"/>
                </a:cxn>
                <a:cxn ang="0">
                  <a:pos x="T2" y="T3"/>
                </a:cxn>
                <a:cxn ang="0">
                  <a:pos x="T4" y="T5"/>
                </a:cxn>
                <a:cxn ang="0">
                  <a:pos x="T6" y="T7"/>
                </a:cxn>
                <a:cxn ang="0">
                  <a:pos x="T8" y="T9"/>
                </a:cxn>
              </a:cxnLst>
              <a:rect l="0" t="0" r="r" b="b"/>
              <a:pathLst>
                <a:path w="1152" h="360">
                  <a:moveTo>
                    <a:pt x="1152" y="72"/>
                  </a:moveTo>
                  <a:lnTo>
                    <a:pt x="0" y="360"/>
                  </a:lnTo>
                  <a:lnTo>
                    <a:pt x="0" y="288"/>
                  </a:lnTo>
                  <a:lnTo>
                    <a:pt x="1152" y="0"/>
                  </a:lnTo>
                  <a:lnTo>
                    <a:pt x="1152" y="72"/>
                  </a:lnTo>
                  <a:close/>
                </a:path>
              </a:pathLst>
            </a:custGeom>
            <a:solidFill>
              <a:srgbClr val="3A9707"/>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14" name="Freeform 72"/>
            <p:cNvSpPr/>
            <p:nvPr/>
          </p:nvSpPr>
          <p:spPr bwMode="auto">
            <a:xfrm>
              <a:off x="2141538" y="948904"/>
              <a:ext cx="1420813" cy="444500"/>
            </a:xfrm>
            <a:custGeom>
              <a:avLst/>
              <a:gdLst>
                <a:gd name="T0" fmla="*/ 0 w 1152"/>
                <a:gd name="T1" fmla="*/ 0 h 360"/>
                <a:gd name="T2" fmla="*/ 1152 w 1152"/>
                <a:gd name="T3" fmla="*/ 288 h 360"/>
                <a:gd name="T4" fmla="*/ 1152 w 1152"/>
                <a:gd name="T5" fmla="*/ 360 h 360"/>
                <a:gd name="T6" fmla="*/ 0 w 1152"/>
                <a:gd name="T7" fmla="*/ 72 h 360"/>
                <a:gd name="T8" fmla="*/ 0 w 1152"/>
                <a:gd name="T9" fmla="*/ 0 h 360"/>
              </a:gdLst>
              <a:ahLst/>
              <a:cxnLst>
                <a:cxn ang="0">
                  <a:pos x="T0" y="T1"/>
                </a:cxn>
                <a:cxn ang="0">
                  <a:pos x="T2" y="T3"/>
                </a:cxn>
                <a:cxn ang="0">
                  <a:pos x="T4" y="T5"/>
                </a:cxn>
                <a:cxn ang="0">
                  <a:pos x="T6" y="T7"/>
                </a:cxn>
                <a:cxn ang="0">
                  <a:pos x="T8" y="T9"/>
                </a:cxn>
              </a:cxnLst>
              <a:rect l="0" t="0" r="r" b="b"/>
              <a:pathLst>
                <a:path w="1152" h="360">
                  <a:moveTo>
                    <a:pt x="0" y="0"/>
                  </a:moveTo>
                  <a:lnTo>
                    <a:pt x="1152" y="288"/>
                  </a:lnTo>
                  <a:lnTo>
                    <a:pt x="1152" y="360"/>
                  </a:lnTo>
                  <a:lnTo>
                    <a:pt x="0" y="72"/>
                  </a:lnTo>
                  <a:lnTo>
                    <a:pt x="0" y="0"/>
                  </a:lnTo>
                  <a:close/>
                </a:path>
              </a:pathLst>
            </a:custGeom>
            <a:gradFill rotWithShape="1">
              <a:gsLst>
                <a:gs pos="0">
                  <a:schemeClr val="bg2"/>
                </a:gs>
                <a:gs pos="100000">
                  <a:srgbClr val="3A9707"/>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grpSp>
        <p:nvGrpSpPr>
          <p:cNvPr id="25" name="组合 24"/>
          <p:cNvGrpSpPr/>
          <p:nvPr/>
        </p:nvGrpSpPr>
        <p:grpSpPr>
          <a:xfrm>
            <a:off x="719138" y="2457029"/>
            <a:ext cx="2843213" cy="444500"/>
            <a:chOff x="719138" y="2457029"/>
            <a:chExt cx="2843213" cy="444500"/>
          </a:xfrm>
        </p:grpSpPr>
        <p:sp>
          <p:nvSpPr>
            <p:cNvPr id="15" name="Freeform 73"/>
            <p:cNvSpPr/>
            <p:nvPr/>
          </p:nvSpPr>
          <p:spPr bwMode="auto">
            <a:xfrm>
              <a:off x="719138" y="2457029"/>
              <a:ext cx="2843213" cy="355600"/>
            </a:xfrm>
            <a:custGeom>
              <a:avLst/>
              <a:gdLst>
                <a:gd name="T0" fmla="*/ 1152 w 2304"/>
                <a:gd name="T1" fmla="*/ 288 h 288"/>
                <a:gd name="T2" fmla="*/ 2304 w 2304"/>
                <a:gd name="T3" fmla="*/ 144 h 288"/>
                <a:gd name="T4" fmla="*/ 1152 w 2304"/>
                <a:gd name="T5" fmla="*/ 0 h 288"/>
                <a:gd name="T6" fmla="*/ 0 w 2304"/>
                <a:gd name="T7" fmla="*/ 144 h 288"/>
                <a:gd name="T8" fmla="*/ 1152 w 2304"/>
                <a:gd name="T9" fmla="*/ 288 h 288"/>
              </a:gdLst>
              <a:ahLst/>
              <a:cxnLst>
                <a:cxn ang="0">
                  <a:pos x="T0" y="T1"/>
                </a:cxn>
                <a:cxn ang="0">
                  <a:pos x="T2" y="T3"/>
                </a:cxn>
                <a:cxn ang="0">
                  <a:pos x="T4" y="T5"/>
                </a:cxn>
                <a:cxn ang="0">
                  <a:pos x="T6" y="T7"/>
                </a:cxn>
                <a:cxn ang="0">
                  <a:pos x="T8" y="T9"/>
                </a:cxn>
              </a:cxnLst>
              <a:rect l="0" t="0" r="r" b="b"/>
              <a:pathLst>
                <a:path w="2304" h="288">
                  <a:moveTo>
                    <a:pt x="1152" y="288"/>
                  </a:moveTo>
                  <a:lnTo>
                    <a:pt x="2304" y="144"/>
                  </a:lnTo>
                  <a:lnTo>
                    <a:pt x="1152" y="0"/>
                  </a:lnTo>
                  <a:lnTo>
                    <a:pt x="0" y="144"/>
                  </a:lnTo>
                  <a:lnTo>
                    <a:pt x="1152" y="288"/>
                  </a:lnTo>
                  <a:close/>
                </a:path>
              </a:pathLst>
            </a:custGeom>
            <a:solidFill>
              <a:srgbClr val="F8F8F8"/>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6" name="Freeform 74"/>
            <p:cNvSpPr/>
            <p:nvPr/>
          </p:nvSpPr>
          <p:spPr bwMode="auto">
            <a:xfrm>
              <a:off x="2141538" y="2634829"/>
              <a:ext cx="1420813" cy="266700"/>
            </a:xfrm>
            <a:custGeom>
              <a:avLst/>
              <a:gdLst>
                <a:gd name="T0" fmla="*/ 0 w 1152"/>
                <a:gd name="T1" fmla="*/ 144 h 216"/>
                <a:gd name="T2" fmla="*/ 1152 w 1152"/>
                <a:gd name="T3" fmla="*/ 0 h 216"/>
                <a:gd name="T4" fmla="*/ 1152 w 1152"/>
                <a:gd name="T5" fmla="*/ 72 h 216"/>
                <a:gd name="T6" fmla="*/ 0 w 1152"/>
                <a:gd name="T7" fmla="*/ 216 h 216"/>
                <a:gd name="T8" fmla="*/ 0 w 1152"/>
                <a:gd name="T9" fmla="*/ 144 h 216"/>
              </a:gdLst>
              <a:ahLst/>
              <a:cxnLst>
                <a:cxn ang="0">
                  <a:pos x="T0" y="T1"/>
                </a:cxn>
                <a:cxn ang="0">
                  <a:pos x="T2" y="T3"/>
                </a:cxn>
                <a:cxn ang="0">
                  <a:pos x="T4" y="T5"/>
                </a:cxn>
                <a:cxn ang="0">
                  <a:pos x="T6" y="T7"/>
                </a:cxn>
                <a:cxn ang="0">
                  <a:pos x="T8" y="T9"/>
                </a:cxn>
              </a:cxnLst>
              <a:rect l="0" t="0" r="r" b="b"/>
              <a:pathLst>
                <a:path w="1152" h="216">
                  <a:moveTo>
                    <a:pt x="0" y="144"/>
                  </a:moveTo>
                  <a:lnTo>
                    <a:pt x="1152" y="0"/>
                  </a:lnTo>
                  <a:lnTo>
                    <a:pt x="1152" y="72"/>
                  </a:lnTo>
                  <a:lnTo>
                    <a:pt x="0" y="216"/>
                  </a:lnTo>
                  <a:lnTo>
                    <a:pt x="0" y="144"/>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7" name="Freeform 75"/>
            <p:cNvSpPr/>
            <p:nvPr/>
          </p:nvSpPr>
          <p:spPr bwMode="auto">
            <a:xfrm>
              <a:off x="719138" y="2634829"/>
              <a:ext cx="1422400" cy="266700"/>
            </a:xfrm>
            <a:custGeom>
              <a:avLst/>
              <a:gdLst>
                <a:gd name="T0" fmla="*/ 1152 w 1152"/>
                <a:gd name="T1" fmla="*/ 216 h 216"/>
                <a:gd name="T2" fmla="*/ 0 w 1152"/>
                <a:gd name="T3" fmla="*/ 72 h 216"/>
                <a:gd name="T4" fmla="*/ 0 w 1152"/>
                <a:gd name="T5" fmla="*/ 0 h 216"/>
                <a:gd name="T6" fmla="*/ 1152 w 1152"/>
                <a:gd name="T7" fmla="*/ 144 h 216"/>
                <a:gd name="T8" fmla="*/ 1152 w 1152"/>
                <a:gd name="T9" fmla="*/ 216 h 216"/>
              </a:gdLst>
              <a:ahLst/>
              <a:cxnLst>
                <a:cxn ang="0">
                  <a:pos x="T0" y="T1"/>
                </a:cxn>
                <a:cxn ang="0">
                  <a:pos x="T2" y="T3"/>
                </a:cxn>
                <a:cxn ang="0">
                  <a:pos x="T4" y="T5"/>
                </a:cxn>
                <a:cxn ang="0">
                  <a:pos x="T6" y="T7"/>
                </a:cxn>
                <a:cxn ang="0">
                  <a:pos x="T8" y="T9"/>
                </a:cxn>
              </a:cxnLst>
              <a:rect l="0" t="0" r="r" b="b"/>
              <a:pathLst>
                <a:path w="1152" h="216">
                  <a:moveTo>
                    <a:pt x="1152" y="216"/>
                  </a:moveTo>
                  <a:lnTo>
                    <a:pt x="0" y="72"/>
                  </a:lnTo>
                  <a:lnTo>
                    <a:pt x="0" y="0"/>
                  </a:lnTo>
                  <a:lnTo>
                    <a:pt x="1152" y="144"/>
                  </a:lnTo>
                  <a:lnTo>
                    <a:pt x="1152" y="216"/>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32" name="组合 31"/>
          <p:cNvGrpSpPr/>
          <p:nvPr/>
        </p:nvGrpSpPr>
        <p:grpSpPr>
          <a:xfrm>
            <a:off x="719138" y="1569616"/>
            <a:ext cx="2843213" cy="444500"/>
            <a:chOff x="719138" y="1569616"/>
            <a:chExt cx="2843213" cy="444500"/>
          </a:xfrm>
        </p:grpSpPr>
        <p:sp>
          <p:nvSpPr>
            <p:cNvPr id="18" name="Freeform 76"/>
            <p:cNvSpPr/>
            <p:nvPr/>
          </p:nvSpPr>
          <p:spPr bwMode="auto">
            <a:xfrm>
              <a:off x="719138" y="1658516"/>
              <a:ext cx="2843213" cy="355600"/>
            </a:xfrm>
            <a:custGeom>
              <a:avLst/>
              <a:gdLst>
                <a:gd name="T0" fmla="*/ 1152 w 2304"/>
                <a:gd name="T1" fmla="*/ 0 h 288"/>
                <a:gd name="T2" fmla="*/ 2304 w 2304"/>
                <a:gd name="T3" fmla="*/ 144 h 288"/>
                <a:gd name="T4" fmla="*/ 1152 w 2304"/>
                <a:gd name="T5" fmla="*/ 288 h 288"/>
                <a:gd name="T6" fmla="*/ 0 w 2304"/>
                <a:gd name="T7" fmla="*/ 144 h 288"/>
                <a:gd name="T8" fmla="*/ 1152 w 2304"/>
                <a:gd name="T9" fmla="*/ 0 h 288"/>
              </a:gdLst>
              <a:ahLst/>
              <a:cxnLst>
                <a:cxn ang="0">
                  <a:pos x="T0" y="T1"/>
                </a:cxn>
                <a:cxn ang="0">
                  <a:pos x="T2" y="T3"/>
                </a:cxn>
                <a:cxn ang="0">
                  <a:pos x="T4" y="T5"/>
                </a:cxn>
                <a:cxn ang="0">
                  <a:pos x="T6" y="T7"/>
                </a:cxn>
                <a:cxn ang="0">
                  <a:pos x="T8" y="T9"/>
                </a:cxn>
              </a:cxnLst>
              <a:rect l="0" t="0" r="r" b="b"/>
              <a:pathLst>
                <a:path w="2304" h="288">
                  <a:moveTo>
                    <a:pt x="1152" y="0"/>
                  </a:moveTo>
                  <a:lnTo>
                    <a:pt x="2304" y="144"/>
                  </a:lnTo>
                  <a:lnTo>
                    <a:pt x="1152" y="288"/>
                  </a:lnTo>
                  <a:lnTo>
                    <a:pt x="0" y="144"/>
                  </a:lnTo>
                  <a:lnTo>
                    <a:pt x="1152" y="0"/>
                  </a:lnTo>
                  <a:close/>
                </a:path>
              </a:pathLst>
            </a:custGeom>
            <a:solidFill>
              <a:srgbClr val="5F5F5F"/>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9" name="Freeform 77"/>
            <p:cNvSpPr/>
            <p:nvPr/>
          </p:nvSpPr>
          <p:spPr bwMode="auto">
            <a:xfrm>
              <a:off x="2141538" y="1569616"/>
              <a:ext cx="1420813" cy="266700"/>
            </a:xfrm>
            <a:custGeom>
              <a:avLst/>
              <a:gdLst>
                <a:gd name="T0" fmla="*/ 0 w 1152"/>
                <a:gd name="T1" fmla="*/ 0 h 216"/>
                <a:gd name="T2" fmla="*/ 1152 w 1152"/>
                <a:gd name="T3" fmla="*/ 144 h 216"/>
                <a:gd name="T4" fmla="*/ 1152 w 1152"/>
                <a:gd name="T5" fmla="*/ 216 h 216"/>
                <a:gd name="T6" fmla="*/ 0 w 1152"/>
                <a:gd name="T7" fmla="*/ 72 h 216"/>
                <a:gd name="T8" fmla="*/ 0 w 1152"/>
                <a:gd name="T9" fmla="*/ 0 h 216"/>
              </a:gdLst>
              <a:ahLst/>
              <a:cxnLst>
                <a:cxn ang="0">
                  <a:pos x="T0" y="T1"/>
                </a:cxn>
                <a:cxn ang="0">
                  <a:pos x="T2" y="T3"/>
                </a:cxn>
                <a:cxn ang="0">
                  <a:pos x="T4" y="T5"/>
                </a:cxn>
                <a:cxn ang="0">
                  <a:pos x="T6" y="T7"/>
                </a:cxn>
                <a:cxn ang="0">
                  <a:pos x="T8" y="T9"/>
                </a:cxn>
              </a:cxnLst>
              <a:rect l="0" t="0" r="r" b="b"/>
              <a:pathLst>
                <a:path w="1152" h="216">
                  <a:moveTo>
                    <a:pt x="0" y="0"/>
                  </a:moveTo>
                  <a:lnTo>
                    <a:pt x="1152" y="144"/>
                  </a:lnTo>
                  <a:lnTo>
                    <a:pt x="1152" y="216"/>
                  </a:lnTo>
                  <a:lnTo>
                    <a:pt x="0" y="72"/>
                  </a:lnTo>
                  <a:lnTo>
                    <a:pt x="0" y="0"/>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0" name="Freeform 78"/>
            <p:cNvSpPr/>
            <p:nvPr/>
          </p:nvSpPr>
          <p:spPr bwMode="auto">
            <a:xfrm>
              <a:off x="719138" y="1569616"/>
              <a:ext cx="1422400" cy="266700"/>
            </a:xfrm>
            <a:custGeom>
              <a:avLst/>
              <a:gdLst>
                <a:gd name="T0" fmla="*/ 1152 w 1152"/>
                <a:gd name="T1" fmla="*/ 72 h 216"/>
                <a:gd name="T2" fmla="*/ 0 w 1152"/>
                <a:gd name="T3" fmla="*/ 216 h 216"/>
                <a:gd name="T4" fmla="*/ 0 w 1152"/>
                <a:gd name="T5" fmla="*/ 144 h 216"/>
                <a:gd name="T6" fmla="*/ 1152 w 1152"/>
                <a:gd name="T7" fmla="*/ 0 h 216"/>
                <a:gd name="T8" fmla="*/ 1152 w 1152"/>
                <a:gd name="T9" fmla="*/ 72 h 216"/>
              </a:gdLst>
              <a:ahLst/>
              <a:cxnLst>
                <a:cxn ang="0">
                  <a:pos x="T0" y="T1"/>
                </a:cxn>
                <a:cxn ang="0">
                  <a:pos x="T2" y="T3"/>
                </a:cxn>
                <a:cxn ang="0">
                  <a:pos x="T4" y="T5"/>
                </a:cxn>
                <a:cxn ang="0">
                  <a:pos x="T6" y="T7"/>
                </a:cxn>
                <a:cxn ang="0">
                  <a:pos x="T8" y="T9"/>
                </a:cxn>
              </a:cxnLst>
              <a:rect l="0" t="0" r="r" b="b"/>
              <a:pathLst>
                <a:path w="1152" h="216">
                  <a:moveTo>
                    <a:pt x="1152" y="72"/>
                  </a:moveTo>
                  <a:lnTo>
                    <a:pt x="0" y="216"/>
                  </a:lnTo>
                  <a:lnTo>
                    <a:pt x="0" y="144"/>
                  </a:lnTo>
                  <a:lnTo>
                    <a:pt x="1152" y="0"/>
                  </a:lnTo>
                  <a:lnTo>
                    <a:pt x="1152" y="72"/>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6" name="组合 25"/>
          <p:cNvGrpSpPr/>
          <p:nvPr/>
        </p:nvGrpSpPr>
        <p:grpSpPr>
          <a:xfrm>
            <a:off x="719138" y="2191916"/>
            <a:ext cx="2843213" cy="88900"/>
            <a:chOff x="719138" y="2191916"/>
            <a:chExt cx="2843213" cy="88900"/>
          </a:xfrm>
        </p:grpSpPr>
        <p:sp>
          <p:nvSpPr>
            <p:cNvPr id="21" name="Rectangle 79"/>
            <p:cNvSpPr>
              <a:spLocks noChangeArrowheads="1"/>
            </p:cNvSpPr>
            <p:nvPr/>
          </p:nvSpPr>
          <p:spPr bwMode="auto">
            <a:xfrm>
              <a:off x="2141538" y="2191916"/>
              <a:ext cx="1420813" cy="88900"/>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2" name="Rectangle 80"/>
            <p:cNvSpPr>
              <a:spLocks noChangeArrowheads="1"/>
            </p:cNvSpPr>
            <p:nvPr/>
          </p:nvSpPr>
          <p:spPr bwMode="auto">
            <a:xfrm>
              <a:off x="719138" y="2191916"/>
              <a:ext cx="1422400" cy="889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
        <p:nvSpPr>
          <p:cNvPr id="27" name="Freeform 93"/>
          <p:cNvSpPr/>
          <p:nvPr/>
        </p:nvSpPr>
        <p:spPr bwMode="auto">
          <a:xfrm flipV="1">
            <a:off x="2951163" y="1202904"/>
            <a:ext cx="1116013" cy="189706"/>
          </a:xfrm>
          <a:custGeom>
            <a:avLst/>
            <a:gdLst>
              <a:gd name="T0" fmla="*/ 703 w 703"/>
              <a:gd name="T1" fmla="*/ 114 h 114"/>
              <a:gd name="T2" fmla="*/ 545 w 703"/>
              <a:gd name="T3" fmla="*/ 114 h 114"/>
              <a:gd name="T4" fmla="*/ 545 w 703"/>
              <a:gd name="T5" fmla="*/ 0 h 114"/>
              <a:gd name="T6" fmla="*/ 0 w 703"/>
              <a:gd name="T7" fmla="*/ 0 h 114"/>
            </a:gdLst>
            <a:ahLst/>
            <a:cxnLst>
              <a:cxn ang="0">
                <a:pos x="T0" y="T1"/>
              </a:cxn>
              <a:cxn ang="0">
                <a:pos x="T2" y="T3"/>
              </a:cxn>
              <a:cxn ang="0">
                <a:pos x="T4" y="T5"/>
              </a:cxn>
              <a:cxn ang="0">
                <a:pos x="T6" y="T7"/>
              </a:cxn>
            </a:cxnLst>
            <a:rect l="0" t="0" r="r" b="b"/>
            <a:pathLst>
              <a:path w="703" h="114">
                <a:moveTo>
                  <a:pt x="703" y="114"/>
                </a:moveTo>
                <a:lnTo>
                  <a:pt x="545" y="114"/>
                </a:lnTo>
                <a:lnTo>
                  <a:pt x="545" y="0"/>
                </a:lnTo>
                <a:lnTo>
                  <a:pt x="0" y="0"/>
                </a:lnTo>
              </a:path>
            </a:pathLst>
          </a:custGeom>
          <a:noFill/>
          <a:ln w="31750" cap="flat" cmpd="sng">
            <a:solidFill>
              <a:srgbClr val="3A9707"/>
            </a:solidFill>
            <a:prstDash val="solid"/>
            <a:round/>
            <a:headEnd type="oval" w="med" len="med"/>
            <a:tailEnd type="oval" w="med" len="me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28" name="Freeform 94"/>
          <p:cNvSpPr/>
          <p:nvPr/>
        </p:nvSpPr>
        <p:spPr bwMode="auto">
          <a:xfrm flipV="1">
            <a:off x="2951163" y="2787229"/>
            <a:ext cx="1116013" cy="215900"/>
          </a:xfrm>
          <a:custGeom>
            <a:avLst/>
            <a:gdLst>
              <a:gd name="T0" fmla="*/ 703 w 703"/>
              <a:gd name="T1" fmla="*/ 114 h 114"/>
              <a:gd name="T2" fmla="*/ 545 w 703"/>
              <a:gd name="T3" fmla="*/ 114 h 114"/>
              <a:gd name="T4" fmla="*/ 545 w 703"/>
              <a:gd name="T5" fmla="*/ 0 h 114"/>
              <a:gd name="T6" fmla="*/ 0 w 703"/>
              <a:gd name="T7" fmla="*/ 0 h 114"/>
            </a:gdLst>
            <a:ahLst/>
            <a:cxnLst>
              <a:cxn ang="0">
                <a:pos x="T0" y="T1"/>
              </a:cxn>
              <a:cxn ang="0">
                <a:pos x="T2" y="T3"/>
              </a:cxn>
              <a:cxn ang="0">
                <a:pos x="T4" y="T5"/>
              </a:cxn>
              <a:cxn ang="0">
                <a:pos x="T6" y="T7"/>
              </a:cxn>
            </a:cxnLst>
            <a:rect l="0" t="0" r="r" b="b"/>
            <a:pathLst>
              <a:path w="703" h="114">
                <a:moveTo>
                  <a:pt x="703" y="114"/>
                </a:moveTo>
                <a:lnTo>
                  <a:pt x="545" y="114"/>
                </a:lnTo>
                <a:lnTo>
                  <a:pt x="545" y="0"/>
                </a:lnTo>
                <a:lnTo>
                  <a:pt x="0" y="0"/>
                </a:lnTo>
              </a:path>
            </a:pathLst>
          </a:custGeom>
          <a:noFill/>
          <a:ln w="31750" cap="flat" cmpd="sng">
            <a:solidFill>
              <a:srgbClr val="808080"/>
            </a:solidFill>
            <a:prstDash val="solid"/>
            <a:round/>
            <a:headEnd type="oval" w="med" len="med"/>
            <a:tailEnd type="oval" w="med" len="me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29" name="Freeform 95"/>
          <p:cNvSpPr/>
          <p:nvPr/>
        </p:nvSpPr>
        <p:spPr bwMode="auto">
          <a:xfrm>
            <a:off x="2951163" y="4011191"/>
            <a:ext cx="1116013" cy="215900"/>
          </a:xfrm>
          <a:custGeom>
            <a:avLst/>
            <a:gdLst>
              <a:gd name="T0" fmla="*/ 703 w 703"/>
              <a:gd name="T1" fmla="*/ 114 h 114"/>
              <a:gd name="T2" fmla="*/ 545 w 703"/>
              <a:gd name="T3" fmla="*/ 114 h 114"/>
              <a:gd name="T4" fmla="*/ 545 w 703"/>
              <a:gd name="T5" fmla="*/ 0 h 114"/>
              <a:gd name="T6" fmla="*/ 0 w 703"/>
              <a:gd name="T7" fmla="*/ 0 h 114"/>
            </a:gdLst>
            <a:ahLst/>
            <a:cxnLst>
              <a:cxn ang="0">
                <a:pos x="T0" y="T1"/>
              </a:cxn>
              <a:cxn ang="0">
                <a:pos x="T2" y="T3"/>
              </a:cxn>
              <a:cxn ang="0">
                <a:pos x="T4" y="T5"/>
              </a:cxn>
              <a:cxn ang="0">
                <a:pos x="T6" y="T7"/>
              </a:cxn>
            </a:cxnLst>
            <a:rect l="0" t="0" r="r" b="b"/>
            <a:pathLst>
              <a:path w="703" h="114">
                <a:moveTo>
                  <a:pt x="703" y="114"/>
                </a:moveTo>
                <a:lnTo>
                  <a:pt x="545" y="114"/>
                </a:lnTo>
                <a:lnTo>
                  <a:pt x="545" y="0"/>
                </a:lnTo>
                <a:lnTo>
                  <a:pt x="0" y="0"/>
                </a:lnTo>
              </a:path>
            </a:pathLst>
          </a:custGeom>
          <a:noFill/>
          <a:ln w="31750" cap="flat" cmpd="sng">
            <a:solidFill>
              <a:srgbClr val="808080"/>
            </a:solidFill>
            <a:prstDash val="solid"/>
            <a:round/>
            <a:headEnd type="oval" w="med" len="med"/>
            <a:tailEnd type="oval" w="med" len="med"/>
          </a:ln>
          <a:effectLst/>
          <a:extLst>
            <a:ext uri="{909E8E84-426E-40DD-AFC4-6F175D3DCCD1}">
              <a14:hiddenFill xmlns:a14="http://schemas.microsoft.com/office/drawing/2010/main">
                <a:solidFill>
                  <a:srgbClr val="FFCC00"/>
                </a:solidFill>
              </a14:hiddenFill>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30" name="Line 96"/>
          <p:cNvSpPr>
            <a:spLocks noChangeShapeType="1"/>
          </p:cNvSpPr>
          <p:nvPr/>
        </p:nvSpPr>
        <p:spPr bwMode="auto">
          <a:xfrm flipH="1">
            <a:off x="2916238" y="3471441"/>
            <a:ext cx="1150938" cy="0"/>
          </a:xfrm>
          <a:prstGeom prst="line">
            <a:avLst/>
          </a:prstGeom>
          <a:noFill/>
          <a:ln w="31750">
            <a:solidFill>
              <a:srgbClr val="3A9707"/>
            </a:solidFill>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36" name="组合 35"/>
          <p:cNvGrpSpPr/>
          <p:nvPr/>
        </p:nvGrpSpPr>
        <p:grpSpPr>
          <a:xfrm>
            <a:off x="4067176" y="915566"/>
            <a:ext cx="4645025" cy="574675"/>
            <a:chOff x="4067176" y="915566"/>
            <a:chExt cx="4645025" cy="574675"/>
          </a:xfrm>
        </p:grpSpPr>
        <p:sp>
          <p:nvSpPr>
            <p:cNvPr id="31" name="AutoShape 91"/>
            <p:cNvSpPr>
              <a:spLocks noChangeArrowheads="1"/>
            </p:cNvSpPr>
            <p:nvPr/>
          </p:nvSpPr>
          <p:spPr bwMode="auto">
            <a:xfrm>
              <a:off x="4067176" y="915566"/>
              <a:ext cx="4645025" cy="574675"/>
            </a:xfrm>
            <a:prstGeom prst="roundRect">
              <a:avLst>
                <a:gd name="adj" fmla="val 7231"/>
              </a:avLst>
            </a:prstGeom>
            <a:solidFill>
              <a:schemeClr val="tx2">
                <a:alpha val="25000"/>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tx2">
                    <a:lumMod val="75000"/>
                  </a:schemeClr>
                </a:solidFill>
              </a:endParaRPr>
            </a:p>
          </p:txBody>
        </p:sp>
        <p:sp>
          <p:nvSpPr>
            <p:cNvPr id="39" name="Text Box 45"/>
            <p:cNvSpPr txBox="1">
              <a:spLocks noChangeArrowheads="1"/>
            </p:cNvSpPr>
            <p:nvPr/>
          </p:nvSpPr>
          <p:spPr bwMode="auto">
            <a:xfrm>
              <a:off x="4211736" y="942568"/>
              <a:ext cx="3528616" cy="4770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3A9707"/>
                  </a:solidFill>
                  <a:latin typeface="微软雅黑" panose="020B0503020204020204" pitchFamily="34" charset="-122"/>
                  <a:ea typeface="微软雅黑" panose="020B0503020204020204" pitchFamily="34" charset="-122"/>
                </a:rPr>
                <a:t>单击填加标题</a:t>
              </a:r>
              <a:endParaRPr lang="en-US" altLang="ko-KR" sz="1400" b="1" dirty="0">
                <a:solidFill>
                  <a:srgbClr val="3A9707"/>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4067176" y="2499891"/>
            <a:ext cx="4645025" cy="574675"/>
            <a:chOff x="4067176" y="2499891"/>
            <a:chExt cx="4645025" cy="574675"/>
          </a:xfrm>
        </p:grpSpPr>
        <p:sp>
          <p:nvSpPr>
            <p:cNvPr id="35" name="AutoShape 85"/>
            <p:cNvSpPr>
              <a:spLocks noChangeArrowheads="1"/>
            </p:cNvSpPr>
            <p:nvPr/>
          </p:nvSpPr>
          <p:spPr bwMode="auto">
            <a:xfrm>
              <a:off x="4067176" y="2499891"/>
              <a:ext cx="4645025" cy="574675"/>
            </a:xfrm>
            <a:prstGeom prst="roundRect">
              <a:avLst>
                <a:gd name="adj" fmla="val 7231"/>
              </a:avLst>
            </a:prstGeom>
            <a:solidFill>
              <a:schemeClr val="tx2">
                <a:alpha val="25000"/>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tx2">
                    <a:lumMod val="75000"/>
                  </a:schemeClr>
                </a:solidFill>
              </a:endParaRPr>
            </a:p>
          </p:txBody>
        </p:sp>
        <p:sp>
          <p:nvSpPr>
            <p:cNvPr id="40" name="Text Box 45"/>
            <p:cNvSpPr txBox="1">
              <a:spLocks noChangeArrowheads="1"/>
            </p:cNvSpPr>
            <p:nvPr/>
          </p:nvSpPr>
          <p:spPr bwMode="auto">
            <a:xfrm>
              <a:off x="4211736" y="2548701"/>
              <a:ext cx="3528616" cy="4770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grpSp>
      <p:grpSp>
        <p:nvGrpSpPr>
          <p:cNvPr id="44" name="组合 43"/>
          <p:cNvGrpSpPr/>
          <p:nvPr/>
        </p:nvGrpSpPr>
        <p:grpSpPr>
          <a:xfrm>
            <a:off x="4067176" y="3866729"/>
            <a:ext cx="4645025" cy="843775"/>
            <a:chOff x="4067176" y="3866729"/>
            <a:chExt cx="4645025" cy="843775"/>
          </a:xfrm>
        </p:grpSpPr>
        <p:sp>
          <p:nvSpPr>
            <p:cNvPr id="33" name="AutoShape 88"/>
            <p:cNvSpPr>
              <a:spLocks noChangeArrowheads="1"/>
            </p:cNvSpPr>
            <p:nvPr/>
          </p:nvSpPr>
          <p:spPr bwMode="auto">
            <a:xfrm>
              <a:off x="4067176" y="3866729"/>
              <a:ext cx="4645025" cy="720725"/>
            </a:xfrm>
            <a:prstGeom prst="roundRect">
              <a:avLst>
                <a:gd name="adj" fmla="val 7231"/>
              </a:avLst>
            </a:prstGeom>
            <a:solidFill>
              <a:schemeClr val="tx2">
                <a:alpha val="25000"/>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tx2">
                    <a:lumMod val="75000"/>
                  </a:schemeClr>
                </a:solidFill>
              </a:endParaRPr>
            </a:p>
          </p:txBody>
        </p:sp>
        <p:sp>
          <p:nvSpPr>
            <p:cNvPr id="41" name="Text Box 45"/>
            <p:cNvSpPr txBox="1">
              <a:spLocks noChangeArrowheads="1"/>
            </p:cNvSpPr>
            <p:nvPr/>
          </p:nvSpPr>
          <p:spPr bwMode="auto">
            <a:xfrm>
              <a:off x="4211736" y="3894896"/>
              <a:ext cx="3528616" cy="815608"/>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grpSp>
      <p:grpSp>
        <p:nvGrpSpPr>
          <p:cNvPr id="43" name="组合 42"/>
          <p:cNvGrpSpPr/>
          <p:nvPr/>
        </p:nvGrpSpPr>
        <p:grpSpPr>
          <a:xfrm>
            <a:off x="4067176" y="3184104"/>
            <a:ext cx="4645025" cy="574675"/>
            <a:chOff x="4067176" y="3184104"/>
            <a:chExt cx="4645025" cy="574675"/>
          </a:xfrm>
        </p:grpSpPr>
        <p:sp>
          <p:nvSpPr>
            <p:cNvPr id="37" name="AutoShape 82"/>
            <p:cNvSpPr>
              <a:spLocks noChangeArrowheads="1"/>
            </p:cNvSpPr>
            <p:nvPr/>
          </p:nvSpPr>
          <p:spPr bwMode="auto">
            <a:xfrm>
              <a:off x="4067176" y="3184104"/>
              <a:ext cx="4645025" cy="574675"/>
            </a:xfrm>
            <a:prstGeom prst="roundRect">
              <a:avLst>
                <a:gd name="adj" fmla="val 7231"/>
              </a:avLst>
            </a:prstGeom>
            <a:solidFill>
              <a:schemeClr val="tx2">
                <a:alpha val="25000"/>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tx2">
                    <a:lumMod val="75000"/>
                  </a:schemeClr>
                </a:solidFill>
              </a:endParaRPr>
            </a:p>
          </p:txBody>
        </p:sp>
        <p:sp>
          <p:nvSpPr>
            <p:cNvPr id="42" name="Text Box 45"/>
            <p:cNvSpPr txBox="1">
              <a:spLocks noChangeArrowheads="1"/>
            </p:cNvSpPr>
            <p:nvPr/>
          </p:nvSpPr>
          <p:spPr bwMode="auto">
            <a:xfrm>
              <a:off x="4211736" y="3232914"/>
              <a:ext cx="3528616" cy="4770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3A9707"/>
                  </a:solidFill>
                  <a:latin typeface="微软雅黑" panose="020B0503020204020204" pitchFamily="34" charset="-122"/>
                  <a:ea typeface="微软雅黑" panose="020B0503020204020204" pitchFamily="34" charset="-122"/>
                </a:rPr>
                <a:t>单击填加标题</a:t>
              </a:r>
              <a:endParaRPr lang="en-US" altLang="ko-KR" sz="1400" b="1" dirty="0">
                <a:solidFill>
                  <a:srgbClr val="3A9707"/>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750" fill="hold"/>
                                        <p:tgtEl>
                                          <p:spTgt spid="23"/>
                                        </p:tgtEl>
                                        <p:attrNameLst>
                                          <p:attrName>ppt_x</p:attrName>
                                        </p:attrNameLst>
                                      </p:cBhvr>
                                      <p:tavLst>
                                        <p:tav tm="0">
                                          <p:val>
                                            <p:strVal val="#ppt_x"/>
                                          </p:val>
                                        </p:tav>
                                        <p:tav tm="100000">
                                          <p:val>
                                            <p:strVal val="#ppt_x"/>
                                          </p:val>
                                        </p:tav>
                                      </p:tavLst>
                                    </p:anim>
                                    <p:anim calcmode="lin" valueType="num">
                                      <p:cBhvr additive="base">
                                        <p:cTn id="12" dur="750" fill="hold"/>
                                        <p:tgtEl>
                                          <p:spTgt spid="2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750" fill="hold"/>
                                        <p:tgtEl>
                                          <p:spTgt spid="24"/>
                                        </p:tgtEl>
                                        <p:attrNameLst>
                                          <p:attrName>ppt_x</p:attrName>
                                        </p:attrNameLst>
                                      </p:cBhvr>
                                      <p:tavLst>
                                        <p:tav tm="0">
                                          <p:val>
                                            <p:strVal val="#ppt_x"/>
                                          </p:val>
                                        </p:tav>
                                        <p:tav tm="100000">
                                          <p:val>
                                            <p:strVal val="#ppt_x"/>
                                          </p:val>
                                        </p:tav>
                                      </p:tavLst>
                                    </p:anim>
                                    <p:anim calcmode="lin" valueType="num">
                                      <p:cBhvr additive="base">
                                        <p:cTn id="16" dur="750" fill="hold"/>
                                        <p:tgtEl>
                                          <p:spTgt spid="2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750" fill="hold"/>
                                        <p:tgtEl>
                                          <p:spTgt spid="34"/>
                                        </p:tgtEl>
                                        <p:attrNameLst>
                                          <p:attrName>ppt_x</p:attrName>
                                        </p:attrNameLst>
                                      </p:cBhvr>
                                      <p:tavLst>
                                        <p:tav tm="0">
                                          <p:val>
                                            <p:strVal val="#ppt_x"/>
                                          </p:val>
                                        </p:tav>
                                        <p:tav tm="100000">
                                          <p:val>
                                            <p:strVal val="#ppt_x"/>
                                          </p:val>
                                        </p:tav>
                                      </p:tavLst>
                                    </p:anim>
                                    <p:anim calcmode="lin" valueType="num">
                                      <p:cBhvr additive="base">
                                        <p:cTn id="20" dur="750" fill="hold"/>
                                        <p:tgtEl>
                                          <p:spTgt spid="3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750" fill="hold"/>
                                        <p:tgtEl>
                                          <p:spTgt spid="25"/>
                                        </p:tgtEl>
                                        <p:attrNameLst>
                                          <p:attrName>ppt_x</p:attrName>
                                        </p:attrNameLst>
                                      </p:cBhvr>
                                      <p:tavLst>
                                        <p:tav tm="0">
                                          <p:val>
                                            <p:strVal val="#ppt_x"/>
                                          </p:val>
                                        </p:tav>
                                        <p:tav tm="100000">
                                          <p:val>
                                            <p:strVal val="#ppt_x"/>
                                          </p:val>
                                        </p:tav>
                                      </p:tavLst>
                                    </p:anim>
                                    <p:anim calcmode="lin" valueType="num">
                                      <p:cBhvr additive="base">
                                        <p:cTn id="24" dur="750" fill="hold"/>
                                        <p:tgtEl>
                                          <p:spTgt spid="25"/>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750" fill="hold"/>
                                        <p:tgtEl>
                                          <p:spTgt spid="32"/>
                                        </p:tgtEl>
                                        <p:attrNameLst>
                                          <p:attrName>ppt_x</p:attrName>
                                        </p:attrNameLst>
                                      </p:cBhvr>
                                      <p:tavLst>
                                        <p:tav tm="0">
                                          <p:val>
                                            <p:strVal val="#ppt_x"/>
                                          </p:val>
                                        </p:tav>
                                        <p:tav tm="100000">
                                          <p:val>
                                            <p:strVal val="#ppt_x"/>
                                          </p:val>
                                        </p:tav>
                                      </p:tavLst>
                                    </p:anim>
                                    <p:anim calcmode="lin" valueType="num">
                                      <p:cBhvr additive="base">
                                        <p:cTn id="28" dur="750" fill="hold"/>
                                        <p:tgtEl>
                                          <p:spTgt spid="32"/>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 calcmode="lin" valueType="num">
                                      <p:cBhvr additive="base">
                                        <p:cTn id="31" dur="750" fill="hold"/>
                                        <p:tgtEl>
                                          <p:spTgt spid="26"/>
                                        </p:tgtEl>
                                        <p:attrNameLst>
                                          <p:attrName>ppt_x</p:attrName>
                                        </p:attrNameLst>
                                      </p:cBhvr>
                                      <p:tavLst>
                                        <p:tav tm="0">
                                          <p:val>
                                            <p:strVal val="#ppt_x"/>
                                          </p:val>
                                        </p:tav>
                                        <p:tav tm="100000">
                                          <p:val>
                                            <p:strVal val="#ppt_x"/>
                                          </p:val>
                                        </p:tav>
                                      </p:tavLst>
                                    </p:anim>
                                    <p:anim calcmode="lin" valueType="num">
                                      <p:cBhvr additive="base">
                                        <p:cTn id="32" dur="750" fill="hold"/>
                                        <p:tgtEl>
                                          <p:spTgt spid="26"/>
                                        </p:tgtEl>
                                        <p:attrNameLst>
                                          <p:attrName>ppt_y</p:attrName>
                                        </p:attrNameLst>
                                      </p:cBhvr>
                                      <p:tavLst>
                                        <p:tav tm="0">
                                          <p:val>
                                            <p:strVal val="1+#ppt_h/2"/>
                                          </p:val>
                                        </p:tav>
                                        <p:tav tm="100000">
                                          <p:val>
                                            <p:strVal val="#ppt_y"/>
                                          </p:val>
                                        </p:tav>
                                      </p:tavLst>
                                    </p:anim>
                                  </p:childTnLst>
                                </p:cTn>
                              </p:par>
                            </p:childTnLst>
                          </p:cTn>
                        </p:par>
                        <p:par>
                          <p:cTn id="33" fill="hold">
                            <p:stCondLst>
                              <p:cond delay="1000"/>
                            </p:stCondLst>
                            <p:childTnLst>
                              <p:par>
                                <p:cTn id="34" presetID="22" presetClass="entr" presetSubtype="8" fill="hold" grpId="0" nodeType="after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wipe(left)">
                                      <p:cBhvr>
                                        <p:cTn id="36" dur="500"/>
                                        <p:tgtEl>
                                          <p:spTgt spid="27"/>
                                        </p:tgtEl>
                                      </p:cBhvr>
                                    </p:animEffect>
                                  </p:childTnLst>
                                </p:cTn>
                              </p:par>
                            </p:childTnLst>
                          </p:cTn>
                        </p:par>
                        <p:par>
                          <p:cTn id="37" fill="hold">
                            <p:stCondLst>
                              <p:cond delay="1500"/>
                            </p:stCondLst>
                            <p:childTnLst>
                              <p:par>
                                <p:cTn id="38" presetID="2" presetClass="entr" presetSubtype="2" fill="hold" nodeType="afterEffect">
                                  <p:stCondLst>
                                    <p:cond delay="0"/>
                                  </p:stCondLst>
                                  <p:childTnLst>
                                    <p:set>
                                      <p:cBhvr>
                                        <p:cTn id="39" dur="1" fill="hold">
                                          <p:stCondLst>
                                            <p:cond delay="0"/>
                                          </p:stCondLst>
                                        </p:cTn>
                                        <p:tgtEl>
                                          <p:spTgt spid="36"/>
                                        </p:tgtEl>
                                        <p:attrNameLst>
                                          <p:attrName>style.visibility</p:attrName>
                                        </p:attrNameLst>
                                      </p:cBhvr>
                                      <p:to>
                                        <p:strVal val="visible"/>
                                      </p:to>
                                    </p:set>
                                    <p:anim calcmode="lin" valueType="num">
                                      <p:cBhvr additive="base">
                                        <p:cTn id="40" dur="750" fill="hold"/>
                                        <p:tgtEl>
                                          <p:spTgt spid="36"/>
                                        </p:tgtEl>
                                        <p:attrNameLst>
                                          <p:attrName>ppt_x</p:attrName>
                                        </p:attrNameLst>
                                      </p:cBhvr>
                                      <p:tavLst>
                                        <p:tav tm="0">
                                          <p:val>
                                            <p:strVal val="1+#ppt_w/2"/>
                                          </p:val>
                                        </p:tav>
                                        <p:tav tm="100000">
                                          <p:val>
                                            <p:strVal val="#ppt_x"/>
                                          </p:val>
                                        </p:tav>
                                      </p:tavLst>
                                    </p:anim>
                                    <p:anim calcmode="lin" valueType="num">
                                      <p:cBhvr additive="base">
                                        <p:cTn id="41" dur="750" fill="hold"/>
                                        <p:tgtEl>
                                          <p:spTgt spid="36"/>
                                        </p:tgtEl>
                                        <p:attrNameLst>
                                          <p:attrName>ppt_y</p:attrName>
                                        </p:attrNameLst>
                                      </p:cBhvr>
                                      <p:tavLst>
                                        <p:tav tm="0">
                                          <p:val>
                                            <p:strVal val="#ppt_y"/>
                                          </p:val>
                                        </p:tav>
                                        <p:tav tm="100000">
                                          <p:val>
                                            <p:strVal val="#ppt_y"/>
                                          </p:val>
                                        </p:tav>
                                      </p:tavLst>
                                    </p:anim>
                                  </p:childTnLst>
                                </p:cTn>
                              </p:par>
                            </p:childTnLst>
                          </p:cTn>
                        </p:par>
                        <p:par>
                          <p:cTn id="42" fill="hold">
                            <p:stCondLst>
                              <p:cond delay="2500"/>
                            </p:stCondLst>
                            <p:childTnLst>
                              <p:par>
                                <p:cTn id="43" presetID="22" presetClass="entr" presetSubtype="8" fill="hold" grpId="0" nodeType="after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wipe(left)">
                                      <p:cBhvr>
                                        <p:cTn id="45" dur="500"/>
                                        <p:tgtEl>
                                          <p:spTgt spid="28"/>
                                        </p:tgtEl>
                                      </p:cBhvr>
                                    </p:animEffect>
                                  </p:childTnLst>
                                </p:cTn>
                              </p:par>
                            </p:childTnLst>
                          </p:cTn>
                        </p:par>
                        <p:par>
                          <p:cTn id="46" fill="hold">
                            <p:stCondLst>
                              <p:cond delay="3000"/>
                            </p:stCondLst>
                            <p:childTnLst>
                              <p:par>
                                <p:cTn id="47" presetID="2" presetClass="entr" presetSubtype="2" fill="hold" nodeType="afterEffect">
                                  <p:stCondLst>
                                    <p:cond delay="0"/>
                                  </p:stCondLst>
                                  <p:childTnLst>
                                    <p:set>
                                      <p:cBhvr>
                                        <p:cTn id="48" dur="1" fill="hold">
                                          <p:stCondLst>
                                            <p:cond delay="0"/>
                                          </p:stCondLst>
                                        </p:cTn>
                                        <p:tgtEl>
                                          <p:spTgt spid="38"/>
                                        </p:tgtEl>
                                        <p:attrNameLst>
                                          <p:attrName>style.visibility</p:attrName>
                                        </p:attrNameLst>
                                      </p:cBhvr>
                                      <p:to>
                                        <p:strVal val="visible"/>
                                      </p:to>
                                    </p:set>
                                    <p:anim calcmode="lin" valueType="num">
                                      <p:cBhvr additive="base">
                                        <p:cTn id="49" dur="750" fill="hold"/>
                                        <p:tgtEl>
                                          <p:spTgt spid="38"/>
                                        </p:tgtEl>
                                        <p:attrNameLst>
                                          <p:attrName>ppt_x</p:attrName>
                                        </p:attrNameLst>
                                      </p:cBhvr>
                                      <p:tavLst>
                                        <p:tav tm="0">
                                          <p:val>
                                            <p:strVal val="1+#ppt_w/2"/>
                                          </p:val>
                                        </p:tav>
                                        <p:tav tm="100000">
                                          <p:val>
                                            <p:strVal val="#ppt_x"/>
                                          </p:val>
                                        </p:tav>
                                      </p:tavLst>
                                    </p:anim>
                                    <p:anim calcmode="lin" valueType="num">
                                      <p:cBhvr additive="base">
                                        <p:cTn id="50" dur="750" fill="hold"/>
                                        <p:tgtEl>
                                          <p:spTgt spid="38"/>
                                        </p:tgtEl>
                                        <p:attrNameLst>
                                          <p:attrName>ppt_y</p:attrName>
                                        </p:attrNameLst>
                                      </p:cBhvr>
                                      <p:tavLst>
                                        <p:tav tm="0">
                                          <p:val>
                                            <p:strVal val="#ppt_y"/>
                                          </p:val>
                                        </p:tav>
                                        <p:tav tm="100000">
                                          <p:val>
                                            <p:strVal val="#ppt_y"/>
                                          </p:val>
                                        </p:tav>
                                      </p:tavLst>
                                    </p:anim>
                                  </p:childTnLst>
                                </p:cTn>
                              </p:par>
                            </p:childTnLst>
                          </p:cTn>
                        </p:par>
                        <p:par>
                          <p:cTn id="51" fill="hold">
                            <p:stCondLst>
                              <p:cond delay="4000"/>
                            </p:stCondLst>
                            <p:childTnLst>
                              <p:par>
                                <p:cTn id="52" presetID="22" presetClass="entr" presetSubtype="8" fill="hold" grpId="0" nodeType="after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wipe(left)">
                                      <p:cBhvr>
                                        <p:cTn id="54" dur="500"/>
                                        <p:tgtEl>
                                          <p:spTgt spid="30"/>
                                        </p:tgtEl>
                                      </p:cBhvr>
                                    </p:animEffect>
                                  </p:childTnLst>
                                </p:cTn>
                              </p:par>
                            </p:childTnLst>
                          </p:cTn>
                        </p:par>
                        <p:par>
                          <p:cTn id="55" fill="hold">
                            <p:stCondLst>
                              <p:cond delay="4500"/>
                            </p:stCondLst>
                            <p:childTnLst>
                              <p:par>
                                <p:cTn id="56" presetID="2" presetClass="entr" presetSubtype="2" fill="hold" nodeType="afterEffect">
                                  <p:stCondLst>
                                    <p:cond delay="0"/>
                                  </p:stCondLst>
                                  <p:childTnLst>
                                    <p:set>
                                      <p:cBhvr>
                                        <p:cTn id="57" dur="1" fill="hold">
                                          <p:stCondLst>
                                            <p:cond delay="0"/>
                                          </p:stCondLst>
                                        </p:cTn>
                                        <p:tgtEl>
                                          <p:spTgt spid="43"/>
                                        </p:tgtEl>
                                        <p:attrNameLst>
                                          <p:attrName>style.visibility</p:attrName>
                                        </p:attrNameLst>
                                      </p:cBhvr>
                                      <p:to>
                                        <p:strVal val="visible"/>
                                      </p:to>
                                    </p:set>
                                    <p:anim calcmode="lin" valueType="num">
                                      <p:cBhvr additive="base">
                                        <p:cTn id="58" dur="750" fill="hold"/>
                                        <p:tgtEl>
                                          <p:spTgt spid="43"/>
                                        </p:tgtEl>
                                        <p:attrNameLst>
                                          <p:attrName>ppt_x</p:attrName>
                                        </p:attrNameLst>
                                      </p:cBhvr>
                                      <p:tavLst>
                                        <p:tav tm="0">
                                          <p:val>
                                            <p:strVal val="1+#ppt_w/2"/>
                                          </p:val>
                                        </p:tav>
                                        <p:tav tm="100000">
                                          <p:val>
                                            <p:strVal val="#ppt_x"/>
                                          </p:val>
                                        </p:tav>
                                      </p:tavLst>
                                    </p:anim>
                                    <p:anim calcmode="lin" valueType="num">
                                      <p:cBhvr additive="base">
                                        <p:cTn id="59" dur="750" fill="hold"/>
                                        <p:tgtEl>
                                          <p:spTgt spid="43"/>
                                        </p:tgtEl>
                                        <p:attrNameLst>
                                          <p:attrName>ppt_y</p:attrName>
                                        </p:attrNameLst>
                                      </p:cBhvr>
                                      <p:tavLst>
                                        <p:tav tm="0">
                                          <p:val>
                                            <p:strVal val="#ppt_y"/>
                                          </p:val>
                                        </p:tav>
                                        <p:tav tm="100000">
                                          <p:val>
                                            <p:strVal val="#ppt_y"/>
                                          </p:val>
                                        </p:tav>
                                      </p:tavLst>
                                    </p:anim>
                                  </p:childTnLst>
                                </p:cTn>
                              </p:par>
                            </p:childTnLst>
                          </p:cTn>
                        </p:par>
                        <p:par>
                          <p:cTn id="60" fill="hold">
                            <p:stCondLst>
                              <p:cond delay="5500"/>
                            </p:stCondLst>
                            <p:childTnLst>
                              <p:par>
                                <p:cTn id="61" presetID="22" presetClass="entr" presetSubtype="8" fill="hold" grpId="0" nodeType="after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wipe(left)">
                                      <p:cBhvr>
                                        <p:cTn id="63" dur="500"/>
                                        <p:tgtEl>
                                          <p:spTgt spid="29"/>
                                        </p:tgtEl>
                                      </p:cBhvr>
                                    </p:animEffect>
                                  </p:childTnLst>
                                </p:cTn>
                              </p:par>
                            </p:childTnLst>
                          </p:cTn>
                        </p:par>
                        <p:par>
                          <p:cTn id="64" fill="hold">
                            <p:stCondLst>
                              <p:cond delay="6000"/>
                            </p:stCondLst>
                            <p:childTnLst>
                              <p:par>
                                <p:cTn id="65" presetID="2" presetClass="entr" presetSubtype="2" fill="hold" nodeType="afterEffect">
                                  <p:stCondLst>
                                    <p:cond delay="0"/>
                                  </p:stCondLst>
                                  <p:childTnLst>
                                    <p:set>
                                      <p:cBhvr>
                                        <p:cTn id="66" dur="1" fill="hold">
                                          <p:stCondLst>
                                            <p:cond delay="0"/>
                                          </p:stCondLst>
                                        </p:cTn>
                                        <p:tgtEl>
                                          <p:spTgt spid="44"/>
                                        </p:tgtEl>
                                        <p:attrNameLst>
                                          <p:attrName>style.visibility</p:attrName>
                                        </p:attrNameLst>
                                      </p:cBhvr>
                                      <p:to>
                                        <p:strVal val="visible"/>
                                      </p:to>
                                    </p:set>
                                    <p:anim calcmode="lin" valueType="num">
                                      <p:cBhvr additive="base">
                                        <p:cTn id="67" dur="750" fill="hold"/>
                                        <p:tgtEl>
                                          <p:spTgt spid="44"/>
                                        </p:tgtEl>
                                        <p:attrNameLst>
                                          <p:attrName>ppt_x</p:attrName>
                                        </p:attrNameLst>
                                      </p:cBhvr>
                                      <p:tavLst>
                                        <p:tav tm="0">
                                          <p:val>
                                            <p:strVal val="1+#ppt_w/2"/>
                                          </p:val>
                                        </p:tav>
                                        <p:tav tm="100000">
                                          <p:val>
                                            <p:strVal val="#ppt_x"/>
                                          </p:val>
                                        </p:tav>
                                      </p:tavLst>
                                    </p:anim>
                                    <p:anim calcmode="lin" valueType="num">
                                      <p:cBhvr additive="base">
                                        <p:cTn id="68" dur="75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
          <p:cNvGrpSpPr/>
          <p:nvPr/>
        </p:nvGrpSpPr>
        <p:grpSpPr bwMode="auto">
          <a:xfrm>
            <a:off x="4283076" y="1060797"/>
            <a:ext cx="4176713" cy="3829050"/>
            <a:chOff x="1859" y="1160"/>
            <a:chExt cx="2631" cy="2412"/>
          </a:xfrm>
        </p:grpSpPr>
        <p:grpSp>
          <p:nvGrpSpPr>
            <p:cNvPr id="67" name="Group 6"/>
            <p:cNvGrpSpPr/>
            <p:nvPr/>
          </p:nvGrpSpPr>
          <p:grpSpPr bwMode="auto">
            <a:xfrm>
              <a:off x="1859" y="1160"/>
              <a:ext cx="2631" cy="2412"/>
              <a:chOff x="1149" y="1417"/>
              <a:chExt cx="2540" cy="2328"/>
            </a:xfrm>
          </p:grpSpPr>
          <p:sp>
            <p:nvSpPr>
              <p:cNvPr id="69" name="Freeform 7"/>
              <p:cNvSpPr/>
              <p:nvPr/>
            </p:nvSpPr>
            <p:spPr bwMode="auto">
              <a:xfrm>
                <a:off x="2419" y="1840"/>
                <a:ext cx="1270" cy="1905"/>
              </a:xfrm>
              <a:custGeom>
                <a:avLst/>
                <a:gdLst>
                  <a:gd name="T0" fmla="*/ 0 w 1270"/>
                  <a:gd name="T1" fmla="*/ 1905 h 1905"/>
                  <a:gd name="T2" fmla="*/ 0 w 1270"/>
                  <a:gd name="T3" fmla="*/ 1481 h 1905"/>
                  <a:gd name="T4" fmla="*/ 423 w 1270"/>
                  <a:gd name="T5" fmla="*/ 1270 h 1905"/>
                  <a:gd name="T6" fmla="*/ 423 w 1270"/>
                  <a:gd name="T7" fmla="*/ 847 h 1905"/>
                  <a:gd name="T8" fmla="*/ 846 w 1270"/>
                  <a:gd name="T9" fmla="*/ 635 h 1905"/>
                  <a:gd name="T10" fmla="*/ 846 w 1270"/>
                  <a:gd name="T11" fmla="*/ 212 h 1905"/>
                  <a:gd name="T12" fmla="*/ 1270 w 1270"/>
                  <a:gd name="T13" fmla="*/ 0 h 1905"/>
                  <a:gd name="T14" fmla="*/ 1270 w 1270"/>
                  <a:gd name="T15" fmla="*/ 1270 h 1905"/>
                  <a:gd name="T16" fmla="*/ 0 w 1270"/>
                  <a:gd name="T17" fmla="*/ 1905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905">
                    <a:moveTo>
                      <a:pt x="0" y="1905"/>
                    </a:moveTo>
                    <a:lnTo>
                      <a:pt x="0" y="1481"/>
                    </a:lnTo>
                    <a:lnTo>
                      <a:pt x="423" y="1270"/>
                    </a:lnTo>
                    <a:lnTo>
                      <a:pt x="423" y="847"/>
                    </a:lnTo>
                    <a:lnTo>
                      <a:pt x="846" y="635"/>
                    </a:lnTo>
                    <a:lnTo>
                      <a:pt x="846" y="212"/>
                    </a:lnTo>
                    <a:lnTo>
                      <a:pt x="1270" y="0"/>
                    </a:lnTo>
                    <a:lnTo>
                      <a:pt x="1270" y="1270"/>
                    </a:lnTo>
                    <a:lnTo>
                      <a:pt x="0" y="1905"/>
                    </a:lnTo>
                    <a:close/>
                  </a:path>
                </a:pathLst>
              </a:custGeom>
              <a:solidFill>
                <a:schemeClr val="tx1"/>
              </a:solidFill>
              <a:ln>
                <a:noFill/>
              </a:ln>
              <a:extLst>
                <a:ext uri="{91240B29-F687-4F45-9708-019B960494DF}">
                  <a14:hiddenLine xmlns:a14="http://schemas.microsoft.com/office/drawing/2010/main" w="9525">
                    <a:solidFill>
                      <a:srgbClr val="000000"/>
                    </a:solidFill>
                    <a:prstDash val="solid"/>
                    <a:round/>
                  </a14:hiddenLine>
                </a:ext>
              </a:extLst>
            </p:spPr>
            <p:txBody>
              <a:bodyPr/>
              <a:lstStyle/>
              <a:p>
                <a:endParaRPr lang="zh-CN" altLang="en-US"/>
              </a:p>
            </p:txBody>
          </p:sp>
          <p:sp>
            <p:nvSpPr>
              <p:cNvPr id="70" name="Freeform 8"/>
              <p:cNvSpPr/>
              <p:nvPr/>
            </p:nvSpPr>
            <p:spPr bwMode="auto">
              <a:xfrm>
                <a:off x="1149" y="2898"/>
                <a:ext cx="1270" cy="847"/>
              </a:xfrm>
              <a:custGeom>
                <a:avLst/>
                <a:gdLst>
                  <a:gd name="T0" fmla="*/ 1270 w 1270"/>
                  <a:gd name="T1" fmla="*/ 423 h 847"/>
                  <a:gd name="T2" fmla="*/ 0 w 1270"/>
                  <a:gd name="T3" fmla="*/ 0 h 847"/>
                  <a:gd name="T4" fmla="*/ 0 w 1270"/>
                  <a:gd name="T5" fmla="*/ 423 h 847"/>
                  <a:gd name="T6" fmla="*/ 1270 w 1270"/>
                  <a:gd name="T7" fmla="*/ 847 h 847"/>
                  <a:gd name="T8" fmla="*/ 1270 w 1270"/>
                  <a:gd name="T9" fmla="*/ 423 h 847"/>
                </a:gdLst>
                <a:ahLst/>
                <a:cxnLst>
                  <a:cxn ang="0">
                    <a:pos x="T0" y="T1"/>
                  </a:cxn>
                  <a:cxn ang="0">
                    <a:pos x="T2" y="T3"/>
                  </a:cxn>
                  <a:cxn ang="0">
                    <a:pos x="T4" y="T5"/>
                  </a:cxn>
                  <a:cxn ang="0">
                    <a:pos x="T6" y="T7"/>
                  </a:cxn>
                  <a:cxn ang="0">
                    <a:pos x="T8" y="T9"/>
                  </a:cxn>
                </a:cxnLst>
                <a:rect l="0" t="0" r="r" b="b"/>
                <a:pathLst>
                  <a:path w="1270" h="847">
                    <a:moveTo>
                      <a:pt x="1270" y="423"/>
                    </a:moveTo>
                    <a:lnTo>
                      <a:pt x="0" y="0"/>
                    </a:lnTo>
                    <a:lnTo>
                      <a:pt x="0" y="423"/>
                    </a:lnTo>
                    <a:lnTo>
                      <a:pt x="1270" y="847"/>
                    </a:lnTo>
                    <a:lnTo>
                      <a:pt x="1270" y="423"/>
                    </a:lnTo>
                    <a:close/>
                  </a:path>
                </a:pathLst>
              </a:custGeom>
              <a:solidFill>
                <a:srgbClr val="80808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1" name="Freeform 9"/>
              <p:cNvSpPr/>
              <p:nvPr/>
            </p:nvSpPr>
            <p:spPr bwMode="auto">
              <a:xfrm>
                <a:off x="1573" y="2263"/>
                <a:ext cx="1269" cy="847"/>
              </a:xfrm>
              <a:custGeom>
                <a:avLst/>
                <a:gdLst>
                  <a:gd name="T0" fmla="*/ 1269 w 1269"/>
                  <a:gd name="T1" fmla="*/ 424 h 847"/>
                  <a:gd name="T2" fmla="*/ 0 w 1269"/>
                  <a:gd name="T3" fmla="*/ 0 h 847"/>
                  <a:gd name="T4" fmla="*/ 0 w 1269"/>
                  <a:gd name="T5" fmla="*/ 424 h 847"/>
                  <a:gd name="T6" fmla="*/ 1269 w 1269"/>
                  <a:gd name="T7" fmla="*/ 847 h 847"/>
                  <a:gd name="T8" fmla="*/ 1269 w 1269"/>
                  <a:gd name="T9" fmla="*/ 424 h 847"/>
                </a:gdLst>
                <a:ahLst/>
                <a:cxnLst>
                  <a:cxn ang="0">
                    <a:pos x="T0" y="T1"/>
                  </a:cxn>
                  <a:cxn ang="0">
                    <a:pos x="T2" y="T3"/>
                  </a:cxn>
                  <a:cxn ang="0">
                    <a:pos x="T4" y="T5"/>
                  </a:cxn>
                  <a:cxn ang="0">
                    <a:pos x="T6" y="T7"/>
                  </a:cxn>
                  <a:cxn ang="0">
                    <a:pos x="T8" y="T9"/>
                  </a:cxn>
                </a:cxnLst>
                <a:rect l="0" t="0" r="r" b="b"/>
                <a:pathLst>
                  <a:path w="1269" h="847">
                    <a:moveTo>
                      <a:pt x="1269" y="424"/>
                    </a:moveTo>
                    <a:lnTo>
                      <a:pt x="0" y="0"/>
                    </a:lnTo>
                    <a:lnTo>
                      <a:pt x="0" y="424"/>
                    </a:lnTo>
                    <a:lnTo>
                      <a:pt x="1269" y="847"/>
                    </a:lnTo>
                    <a:lnTo>
                      <a:pt x="1269" y="424"/>
                    </a:lnTo>
                    <a:close/>
                  </a:path>
                </a:pathLst>
              </a:custGeom>
              <a:solidFill>
                <a:srgbClr val="80808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 name="Freeform 10"/>
              <p:cNvSpPr/>
              <p:nvPr/>
            </p:nvSpPr>
            <p:spPr bwMode="auto">
              <a:xfrm>
                <a:off x="1996" y="1629"/>
                <a:ext cx="1269" cy="846"/>
              </a:xfrm>
              <a:custGeom>
                <a:avLst/>
                <a:gdLst>
                  <a:gd name="T0" fmla="*/ 1269 w 1269"/>
                  <a:gd name="T1" fmla="*/ 423 h 846"/>
                  <a:gd name="T2" fmla="*/ 0 w 1269"/>
                  <a:gd name="T3" fmla="*/ 0 h 846"/>
                  <a:gd name="T4" fmla="*/ 0 w 1269"/>
                  <a:gd name="T5" fmla="*/ 423 h 846"/>
                  <a:gd name="T6" fmla="*/ 1269 w 1269"/>
                  <a:gd name="T7" fmla="*/ 846 h 846"/>
                  <a:gd name="T8" fmla="*/ 1269 w 1269"/>
                  <a:gd name="T9" fmla="*/ 423 h 846"/>
                </a:gdLst>
                <a:ahLst/>
                <a:cxnLst>
                  <a:cxn ang="0">
                    <a:pos x="T0" y="T1"/>
                  </a:cxn>
                  <a:cxn ang="0">
                    <a:pos x="T2" y="T3"/>
                  </a:cxn>
                  <a:cxn ang="0">
                    <a:pos x="T4" y="T5"/>
                  </a:cxn>
                  <a:cxn ang="0">
                    <a:pos x="T6" y="T7"/>
                  </a:cxn>
                  <a:cxn ang="0">
                    <a:pos x="T8" y="T9"/>
                  </a:cxn>
                </a:cxnLst>
                <a:rect l="0" t="0" r="r" b="b"/>
                <a:pathLst>
                  <a:path w="1269" h="846">
                    <a:moveTo>
                      <a:pt x="1269" y="423"/>
                    </a:moveTo>
                    <a:lnTo>
                      <a:pt x="0" y="0"/>
                    </a:lnTo>
                    <a:lnTo>
                      <a:pt x="0" y="423"/>
                    </a:lnTo>
                    <a:lnTo>
                      <a:pt x="1269" y="846"/>
                    </a:lnTo>
                    <a:lnTo>
                      <a:pt x="1269" y="423"/>
                    </a:lnTo>
                    <a:close/>
                  </a:path>
                </a:pathLst>
              </a:custGeom>
              <a:solidFill>
                <a:srgbClr val="80808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73" name="Freeform 11"/>
              <p:cNvSpPr/>
              <p:nvPr/>
            </p:nvSpPr>
            <p:spPr bwMode="auto">
              <a:xfrm>
                <a:off x="1996" y="1417"/>
                <a:ext cx="1693" cy="635"/>
              </a:xfrm>
              <a:custGeom>
                <a:avLst/>
                <a:gdLst>
                  <a:gd name="T0" fmla="*/ 1693 w 1693"/>
                  <a:gd name="T1" fmla="*/ 423 h 635"/>
                  <a:gd name="T2" fmla="*/ 423 w 1693"/>
                  <a:gd name="T3" fmla="*/ 0 h 635"/>
                  <a:gd name="T4" fmla="*/ 0 w 1693"/>
                  <a:gd name="T5" fmla="*/ 212 h 635"/>
                  <a:gd name="T6" fmla="*/ 1269 w 1693"/>
                  <a:gd name="T7" fmla="*/ 635 h 635"/>
                  <a:gd name="T8" fmla="*/ 1693 w 1693"/>
                  <a:gd name="T9" fmla="*/ 423 h 635"/>
                </a:gdLst>
                <a:ahLst/>
                <a:cxnLst>
                  <a:cxn ang="0">
                    <a:pos x="T0" y="T1"/>
                  </a:cxn>
                  <a:cxn ang="0">
                    <a:pos x="T2" y="T3"/>
                  </a:cxn>
                  <a:cxn ang="0">
                    <a:pos x="T4" y="T5"/>
                  </a:cxn>
                  <a:cxn ang="0">
                    <a:pos x="T6" y="T7"/>
                  </a:cxn>
                  <a:cxn ang="0">
                    <a:pos x="T8" y="T9"/>
                  </a:cxn>
                </a:cxnLst>
                <a:rect l="0" t="0" r="r" b="b"/>
                <a:pathLst>
                  <a:path w="1693" h="635">
                    <a:moveTo>
                      <a:pt x="1693" y="423"/>
                    </a:moveTo>
                    <a:lnTo>
                      <a:pt x="423" y="0"/>
                    </a:lnTo>
                    <a:lnTo>
                      <a:pt x="0" y="212"/>
                    </a:lnTo>
                    <a:lnTo>
                      <a:pt x="1269" y="635"/>
                    </a:lnTo>
                    <a:lnTo>
                      <a:pt x="1693" y="423"/>
                    </a:lnTo>
                    <a:close/>
                  </a:path>
                </a:pathLst>
              </a:custGeom>
              <a:gradFill rotWithShape="1">
                <a:gsLst>
                  <a:gs pos="0">
                    <a:srgbClr val="C0C0C0">
                      <a:gamma/>
                      <a:tint val="0"/>
                      <a:invGamma/>
                    </a:srgbClr>
                  </a:gs>
                  <a:gs pos="100000">
                    <a:srgbClr val="C0C0C0"/>
                  </a:gs>
                </a:gsLst>
                <a:lin ang="0" scaled="1"/>
              </a:gradFill>
              <a:ln>
                <a:noFill/>
              </a:ln>
              <a:extLst>
                <a:ext uri="{91240B29-F687-4F45-9708-019B960494DF}">
                  <a14:hiddenLine xmlns:a14="http://schemas.microsoft.com/office/drawing/2010/main" w="9525">
                    <a:solidFill>
                      <a:srgbClr val="000000"/>
                    </a:solidFill>
                    <a:prstDash val="solid"/>
                    <a:round/>
                  </a14:hiddenLine>
                </a:ext>
              </a:extLst>
            </p:spPr>
            <p:txBody>
              <a:bodyPr/>
              <a:lstStyle/>
              <a:p>
                <a:endParaRPr lang="zh-CN" altLang="en-US"/>
              </a:p>
            </p:txBody>
          </p:sp>
          <p:sp>
            <p:nvSpPr>
              <p:cNvPr id="74" name="Freeform 12"/>
              <p:cNvSpPr/>
              <p:nvPr/>
            </p:nvSpPr>
            <p:spPr bwMode="auto">
              <a:xfrm>
                <a:off x="1573" y="2052"/>
                <a:ext cx="1692" cy="635"/>
              </a:xfrm>
              <a:custGeom>
                <a:avLst/>
                <a:gdLst>
                  <a:gd name="T0" fmla="*/ 1692 w 1692"/>
                  <a:gd name="T1" fmla="*/ 423 h 635"/>
                  <a:gd name="T2" fmla="*/ 423 w 1692"/>
                  <a:gd name="T3" fmla="*/ 0 h 635"/>
                  <a:gd name="T4" fmla="*/ 0 w 1692"/>
                  <a:gd name="T5" fmla="*/ 211 h 635"/>
                  <a:gd name="T6" fmla="*/ 1269 w 1692"/>
                  <a:gd name="T7" fmla="*/ 635 h 635"/>
                  <a:gd name="T8" fmla="*/ 1692 w 1692"/>
                  <a:gd name="T9" fmla="*/ 423 h 635"/>
                </a:gdLst>
                <a:ahLst/>
                <a:cxnLst>
                  <a:cxn ang="0">
                    <a:pos x="T0" y="T1"/>
                  </a:cxn>
                  <a:cxn ang="0">
                    <a:pos x="T2" y="T3"/>
                  </a:cxn>
                  <a:cxn ang="0">
                    <a:pos x="T4" y="T5"/>
                  </a:cxn>
                  <a:cxn ang="0">
                    <a:pos x="T6" y="T7"/>
                  </a:cxn>
                  <a:cxn ang="0">
                    <a:pos x="T8" y="T9"/>
                  </a:cxn>
                </a:cxnLst>
                <a:rect l="0" t="0" r="r" b="b"/>
                <a:pathLst>
                  <a:path w="1692" h="635">
                    <a:moveTo>
                      <a:pt x="1692" y="423"/>
                    </a:moveTo>
                    <a:lnTo>
                      <a:pt x="423" y="0"/>
                    </a:lnTo>
                    <a:lnTo>
                      <a:pt x="0" y="211"/>
                    </a:lnTo>
                    <a:lnTo>
                      <a:pt x="1269" y="635"/>
                    </a:lnTo>
                    <a:lnTo>
                      <a:pt x="1692" y="423"/>
                    </a:lnTo>
                    <a:close/>
                  </a:path>
                </a:pathLst>
              </a:custGeom>
              <a:gradFill rotWithShape="1">
                <a:gsLst>
                  <a:gs pos="0">
                    <a:srgbClr val="C0C0C0">
                      <a:gamma/>
                      <a:tint val="0"/>
                      <a:invGamma/>
                    </a:srgbClr>
                  </a:gs>
                  <a:gs pos="100000">
                    <a:srgbClr val="C0C0C0"/>
                  </a:gs>
                </a:gsLst>
                <a:lin ang="0" scaled="1"/>
              </a:gradFill>
              <a:ln>
                <a:noFill/>
              </a:ln>
              <a:extLst>
                <a:ext uri="{91240B29-F687-4F45-9708-019B960494DF}">
                  <a14:hiddenLine xmlns:a14="http://schemas.microsoft.com/office/drawing/2010/main" w="9525">
                    <a:solidFill>
                      <a:srgbClr val="000000"/>
                    </a:solidFill>
                    <a:prstDash val="solid"/>
                    <a:round/>
                  </a14:hiddenLine>
                </a:ext>
              </a:extLst>
            </p:spPr>
            <p:txBody>
              <a:bodyPr/>
              <a:lstStyle/>
              <a:p>
                <a:endParaRPr lang="zh-CN" altLang="en-US"/>
              </a:p>
            </p:txBody>
          </p:sp>
          <p:sp>
            <p:nvSpPr>
              <p:cNvPr id="75" name="Freeform 13"/>
              <p:cNvSpPr/>
              <p:nvPr/>
            </p:nvSpPr>
            <p:spPr bwMode="auto">
              <a:xfrm>
                <a:off x="1149" y="2687"/>
                <a:ext cx="1693" cy="634"/>
              </a:xfrm>
              <a:custGeom>
                <a:avLst/>
                <a:gdLst>
                  <a:gd name="T0" fmla="*/ 1693 w 1693"/>
                  <a:gd name="T1" fmla="*/ 423 h 634"/>
                  <a:gd name="T2" fmla="*/ 424 w 1693"/>
                  <a:gd name="T3" fmla="*/ 0 h 634"/>
                  <a:gd name="T4" fmla="*/ 0 w 1693"/>
                  <a:gd name="T5" fmla="*/ 211 h 634"/>
                  <a:gd name="T6" fmla="*/ 1270 w 1693"/>
                  <a:gd name="T7" fmla="*/ 634 h 634"/>
                  <a:gd name="T8" fmla="*/ 1693 w 1693"/>
                  <a:gd name="T9" fmla="*/ 423 h 634"/>
                </a:gdLst>
                <a:ahLst/>
                <a:cxnLst>
                  <a:cxn ang="0">
                    <a:pos x="T0" y="T1"/>
                  </a:cxn>
                  <a:cxn ang="0">
                    <a:pos x="T2" y="T3"/>
                  </a:cxn>
                  <a:cxn ang="0">
                    <a:pos x="T4" y="T5"/>
                  </a:cxn>
                  <a:cxn ang="0">
                    <a:pos x="T6" y="T7"/>
                  </a:cxn>
                  <a:cxn ang="0">
                    <a:pos x="T8" y="T9"/>
                  </a:cxn>
                </a:cxnLst>
                <a:rect l="0" t="0" r="r" b="b"/>
                <a:pathLst>
                  <a:path w="1693" h="634">
                    <a:moveTo>
                      <a:pt x="1693" y="423"/>
                    </a:moveTo>
                    <a:lnTo>
                      <a:pt x="424" y="0"/>
                    </a:lnTo>
                    <a:lnTo>
                      <a:pt x="0" y="211"/>
                    </a:lnTo>
                    <a:lnTo>
                      <a:pt x="1270" y="634"/>
                    </a:lnTo>
                    <a:lnTo>
                      <a:pt x="1693" y="423"/>
                    </a:lnTo>
                    <a:close/>
                  </a:path>
                </a:pathLst>
              </a:custGeom>
              <a:gradFill rotWithShape="1">
                <a:gsLst>
                  <a:gs pos="0">
                    <a:srgbClr val="C0C0C0">
                      <a:gamma/>
                      <a:tint val="0"/>
                      <a:invGamma/>
                    </a:srgbClr>
                  </a:gs>
                  <a:gs pos="100000">
                    <a:srgbClr val="C0C0C0"/>
                  </a:gs>
                </a:gsLst>
                <a:lin ang="0" scaled="1"/>
              </a:gradFill>
              <a:ln>
                <a:noFill/>
              </a:ln>
              <a:extLst>
                <a:ext uri="{91240B29-F687-4F45-9708-019B960494DF}">
                  <a14:hiddenLine xmlns:a14="http://schemas.microsoft.com/office/drawing/2010/main" w="9525">
                    <a:solidFill>
                      <a:srgbClr val="000000"/>
                    </a:solidFill>
                    <a:prstDash val="solid"/>
                    <a:round/>
                  </a14:hiddenLine>
                </a:ext>
              </a:extLst>
            </p:spPr>
            <p:txBody>
              <a:bodyPr/>
              <a:lstStyle/>
              <a:p>
                <a:endParaRPr lang="zh-CN" altLang="en-US"/>
              </a:p>
            </p:txBody>
          </p:sp>
        </p:grpSp>
        <p:sp>
          <p:nvSpPr>
            <p:cNvPr id="68" name="Freeform 14"/>
            <p:cNvSpPr/>
            <p:nvPr/>
          </p:nvSpPr>
          <p:spPr bwMode="auto">
            <a:xfrm>
              <a:off x="3175" y="1593"/>
              <a:ext cx="1315" cy="1974"/>
            </a:xfrm>
            <a:custGeom>
              <a:avLst/>
              <a:gdLst>
                <a:gd name="T0" fmla="*/ 0 w 1270"/>
                <a:gd name="T1" fmla="*/ 1905 h 1905"/>
                <a:gd name="T2" fmla="*/ 0 w 1270"/>
                <a:gd name="T3" fmla="*/ 1481 h 1905"/>
                <a:gd name="T4" fmla="*/ 423 w 1270"/>
                <a:gd name="T5" fmla="*/ 1270 h 1905"/>
                <a:gd name="T6" fmla="*/ 423 w 1270"/>
                <a:gd name="T7" fmla="*/ 847 h 1905"/>
                <a:gd name="T8" fmla="*/ 846 w 1270"/>
                <a:gd name="T9" fmla="*/ 635 h 1905"/>
                <a:gd name="T10" fmla="*/ 846 w 1270"/>
                <a:gd name="T11" fmla="*/ 212 h 1905"/>
                <a:gd name="T12" fmla="*/ 1270 w 1270"/>
                <a:gd name="T13" fmla="*/ 0 h 1905"/>
                <a:gd name="T14" fmla="*/ 1270 w 1270"/>
                <a:gd name="T15" fmla="*/ 1270 h 1905"/>
                <a:gd name="T16" fmla="*/ 0 w 1270"/>
                <a:gd name="T17" fmla="*/ 1905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0" h="1905">
                  <a:moveTo>
                    <a:pt x="0" y="1905"/>
                  </a:moveTo>
                  <a:lnTo>
                    <a:pt x="0" y="1481"/>
                  </a:lnTo>
                  <a:lnTo>
                    <a:pt x="423" y="1270"/>
                  </a:lnTo>
                  <a:lnTo>
                    <a:pt x="423" y="847"/>
                  </a:lnTo>
                  <a:lnTo>
                    <a:pt x="846" y="635"/>
                  </a:lnTo>
                  <a:lnTo>
                    <a:pt x="846" y="212"/>
                  </a:lnTo>
                  <a:lnTo>
                    <a:pt x="1270" y="0"/>
                  </a:lnTo>
                  <a:lnTo>
                    <a:pt x="1270" y="1270"/>
                  </a:lnTo>
                  <a:lnTo>
                    <a:pt x="0" y="1905"/>
                  </a:lnTo>
                  <a:close/>
                </a:path>
              </a:pathLst>
            </a:custGeom>
            <a:gradFill rotWithShape="1">
              <a:gsLst>
                <a:gs pos="0">
                  <a:schemeClr val="tx1">
                    <a:alpha val="0"/>
                  </a:schemeClr>
                </a:gs>
                <a:gs pos="100000">
                  <a:schemeClr val="tx1">
                    <a:gamma/>
                    <a:tint val="51373"/>
                    <a:invGamma/>
                  </a:schemeClr>
                </a:gs>
              </a:gsLst>
              <a:lin ang="2700000" scaled="1"/>
            </a:gradFill>
            <a:ln>
              <a:noFill/>
            </a:ln>
            <a:extLst>
              <a:ext uri="{91240B29-F687-4F45-9708-019B960494DF}">
                <a14:hiddenLine xmlns:a14="http://schemas.microsoft.com/office/drawing/2010/main" w="9525">
                  <a:solidFill>
                    <a:srgbClr val="000000"/>
                  </a:solidFill>
                  <a:prstDash val="solid"/>
                  <a:round/>
                </a14:hiddenLine>
              </a:ext>
            </a:extLst>
          </p:spPr>
          <p:txBody>
            <a:bodyPr/>
            <a:lstStyle/>
            <a:p>
              <a:endParaRPr lang="zh-CN" altLang="en-US"/>
            </a:p>
          </p:txBody>
        </p:sp>
      </p:grpSp>
      <p:grpSp>
        <p:nvGrpSpPr>
          <p:cNvPr id="4" name="Group 15"/>
          <p:cNvGrpSpPr/>
          <p:nvPr/>
        </p:nvGrpSpPr>
        <p:grpSpPr bwMode="auto">
          <a:xfrm>
            <a:off x="4500563" y="3905597"/>
            <a:ext cx="974725" cy="1114425"/>
            <a:chOff x="2924" y="2115"/>
            <a:chExt cx="614" cy="702"/>
          </a:xfrm>
        </p:grpSpPr>
        <p:sp>
          <p:nvSpPr>
            <p:cNvPr id="59" name="Oval 16"/>
            <p:cNvSpPr>
              <a:spLocks noChangeArrowheads="1"/>
            </p:cNvSpPr>
            <p:nvPr/>
          </p:nvSpPr>
          <p:spPr bwMode="auto">
            <a:xfrm>
              <a:off x="2924" y="2613"/>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60" name="Group 17"/>
            <p:cNvGrpSpPr/>
            <p:nvPr/>
          </p:nvGrpSpPr>
          <p:grpSpPr bwMode="auto">
            <a:xfrm>
              <a:off x="2925" y="2115"/>
              <a:ext cx="613" cy="613"/>
              <a:chOff x="1157" y="1798"/>
              <a:chExt cx="613" cy="613"/>
            </a:xfrm>
          </p:grpSpPr>
          <p:grpSp>
            <p:nvGrpSpPr>
              <p:cNvPr id="61" name="Group 18"/>
              <p:cNvGrpSpPr/>
              <p:nvPr/>
            </p:nvGrpSpPr>
            <p:grpSpPr bwMode="auto">
              <a:xfrm>
                <a:off x="1157" y="1798"/>
                <a:ext cx="613" cy="613"/>
                <a:chOff x="2335" y="1139"/>
                <a:chExt cx="1089" cy="1089"/>
              </a:xfrm>
            </p:grpSpPr>
            <p:sp>
              <p:nvSpPr>
                <p:cNvPr id="63" name="Oval 19"/>
                <p:cNvSpPr>
                  <a:spLocks noChangeArrowheads="1"/>
                </p:cNvSpPr>
                <p:nvPr/>
              </p:nvSpPr>
              <p:spPr bwMode="auto">
                <a:xfrm>
                  <a:off x="2335" y="1139"/>
                  <a:ext cx="1089" cy="1089"/>
                </a:xfrm>
                <a:prstGeom prst="ellipse">
                  <a:avLst/>
                </a:prstGeom>
                <a:solidFill>
                  <a:srgbClr val="3A9707"/>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64" name="Group 20"/>
                <p:cNvGrpSpPr/>
                <p:nvPr/>
              </p:nvGrpSpPr>
              <p:grpSpPr bwMode="auto">
                <a:xfrm>
                  <a:off x="2426" y="1169"/>
                  <a:ext cx="908" cy="296"/>
                  <a:chOff x="1431" y="1843"/>
                  <a:chExt cx="907" cy="295"/>
                </a:xfrm>
              </p:grpSpPr>
              <p:sp>
                <p:nvSpPr>
                  <p:cNvPr id="65" name="Freeform 21"/>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6" name="Oval 22"/>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62" name="Text Box 23"/>
              <p:cNvSpPr txBox="1">
                <a:spLocks noChangeArrowheads="1"/>
              </p:cNvSpPr>
              <p:nvPr/>
            </p:nvSpPr>
            <p:spPr bwMode="auto">
              <a:xfrm>
                <a:off x="1306" y="1970"/>
                <a:ext cx="310" cy="29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5" name="Group 24"/>
          <p:cNvGrpSpPr/>
          <p:nvPr/>
        </p:nvGrpSpPr>
        <p:grpSpPr bwMode="auto">
          <a:xfrm>
            <a:off x="5216526" y="2826097"/>
            <a:ext cx="974725" cy="1114425"/>
            <a:chOff x="2924" y="2115"/>
            <a:chExt cx="614" cy="702"/>
          </a:xfrm>
        </p:grpSpPr>
        <p:sp>
          <p:nvSpPr>
            <p:cNvPr id="51" name="Oval 25"/>
            <p:cNvSpPr>
              <a:spLocks noChangeArrowheads="1"/>
            </p:cNvSpPr>
            <p:nvPr/>
          </p:nvSpPr>
          <p:spPr bwMode="auto">
            <a:xfrm>
              <a:off x="2924" y="2613"/>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52" name="Group 26"/>
            <p:cNvGrpSpPr/>
            <p:nvPr/>
          </p:nvGrpSpPr>
          <p:grpSpPr bwMode="auto">
            <a:xfrm>
              <a:off x="2925" y="2115"/>
              <a:ext cx="613" cy="613"/>
              <a:chOff x="1157" y="1798"/>
              <a:chExt cx="613" cy="613"/>
            </a:xfrm>
          </p:grpSpPr>
          <p:grpSp>
            <p:nvGrpSpPr>
              <p:cNvPr id="53" name="Group 27"/>
              <p:cNvGrpSpPr/>
              <p:nvPr/>
            </p:nvGrpSpPr>
            <p:grpSpPr bwMode="auto">
              <a:xfrm>
                <a:off x="1157" y="1798"/>
                <a:ext cx="613" cy="613"/>
                <a:chOff x="2335" y="1139"/>
                <a:chExt cx="1089" cy="1089"/>
              </a:xfrm>
            </p:grpSpPr>
            <p:sp>
              <p:nvSpPr>
                <p:cNvPr id="55" name="Oval 28"/>
                <p:cNvSpPr>
                  <a:spLocks noChangeArrowheads="1"/>
                </p:cNvSpPr>
                <p:nvPr/>
              </p:nvSpPr>
              <p:spPr bwMode="auto">
                <a:xfrm>
                  <a:off x="2335" y="1139"/>
                  <a:ext cx="1089" cy="1089"/>
                </a:xfrm>
                <a:prstGeom prst="ellipse">
                  <a:avLst/>
                </a:prstGeom>
                <a:solidFill>
                  <a:srgbClr val="9E9E9E"/>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56" name="Group 29"/>
                <p:cNvGrpSpPr/>
                <p:nvPr/>
              </p:nvGrpSpPr>
              <p:grpSpPr bwMode="auto">
                <a:xfrm>
                  <a:off x="2426" y="1169"/>
                  <a:ext cx="908" cy="296"/>
                  <a:chOff x="1431" y="1843"/>
                  <a:chExt cx="907" cy="295"/>
                </a:xfrm>
              </p:grpSpPr>
              <p:sp>
                <p:nvSpPr>
                  <p:cNvPr id="57" name="Freeform 30"/>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8" name="Oval 31"/>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54" name="Text Box 32"/>
              <p:cNvSpPr txBox="1">
                <a:spLocks noChangeArrowheads="1"/>
              </p:cNvSpPr>
              <p:nvPr/>
            </p:nvSpPr>
            <p:spPr bwMode="auto">
              <a:xfrm>
                <a:off x="1306" y="1970"/>
                <a:ext cx="310" cy="29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6" name="Group 33"/>
          <p:cNvGrpSpPr/>
          <p:nvPr/>
        </p:nvGrpSpPr>
        <p:grpSpPr bwMode="auto">
          <a:xfrm>
            <a:off x="6588126" y="736947"/>
            <a:ext cx="974725" cy="1114425"/>
            <a:chOff x="2924" y="2115"/>
            <a:chExt cx="614" cy="702"/>
          </a:xfrm>
        </p:grpSpPr>
        <p:sp>
          <p:nvSpPr>
            <p:cNvPr id="43" name="Oval 34"/>
            <p:cNvSpPr>
              <a:spLocks noChangeArrowheads="1"/>
            </p:cNvSpPr>
            <p:nvPr/>
          </p:nvSpPr>
          <p:spPr bwMode="auto">
            <a:xfrm>
              <a:off x="2924" y="2613"/>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44" name="Group 35"/>
            <p:cNvGrpSpPr/>
            <p:nvPr/>
          </p:nvGrpSpPr>
          <p:grpSpPr bwMode="auto">
            <a:xfrm>
              <a:off x="2925" y="2115"/>
              <a:ext cx="613" cy="613"/>
              <a:chOff x="1157" y="1798"/>
              <a:chExt cx="613" cy="613"/>
            </a:xfrm>
          </p:grpSpPr>
          <p:grpSp>
            <p:nvGrpSpPr>
              <p:cNvPr id="45" name="Group 36"/>
              <p:cNvGrpSpPr/>
              <p:nvPr/>
            </p:nvGrpSpPr>
            <p:grpSpPr bwMode="auto">
              <a:xfrm>
                <a:off x="1157" y="1798"/>
                <a:ext cx="613" cy="613"/>
                <a:chOff x="2335" y="1139"/>
                <a:chExt cx="1089" cy="1089"/>
              </a:xfrm>
            </p:grpSpPr>
            <p:sp>
              <p:nvSpPr>
                <p:cNvPr id="47" name="Oval 37"/>
                <p:cNvSpPr>
                  <a:spLocks noChangeArrowheads="1"/>
                </p:cNvSpPr>
                <p:nvPr/>
              </p:nvSpPr>
              <p:spPr bwMode="auto">
                <a:xfrm>
                  <a:off x="2335" y="1139"/>
                  <a:ext cx="1089" cy="1089"/>
                </a:xfrm>
                <a:prstGeom prst="ellipse">
                  <a:avLst/>
                </a:prstGeom>
                <a:solidFill>
                  <a:srgbClr val="3A9707"/>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48" name="Group 38"/>
                <p:cNvGrpSpPr/>
                <p:nvPr/>
              </p:nvGrpSpPr>
              <p:grpSpPr bwMode="auto">
                <a:xfrm>
                  <a:off x="2426" y="1169"/>
                  <a:ext cx="908" cy="296"/>
                  <a:chOff x="1431" y="1843"/>
                  <a:chExt cx="907" cy="295"/>
                </a:xfrm>
              </p:grpSpPr>
              <p:sp>
                <p:nvSpPr>
                  <p:cNvPr id="49" name="Freeform 39"/>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0" name="Oval 40"/>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46" name="Text Box 41"/>
              <p:cNvSpPr txBox="1">
                <a:spLocks noChangeArrowheads="1"/>
              </p:cNvSpPr>
              <p:nvPr/>
            </p:nvSpPr>
            <p:spPr bwMode="auto">
              <a:xfrm>
                <a:off x="1306" y="1970"/>
                <a:ext cx="310" cy="29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7" name="Group 42"/>
          <p:cNvGrpSpPr/>
          <p:nvPr/>
        </p:nvGrpSpPr>
        <p:grpSpPr bwMode="auto">
          <a:xfrm>
            <a:off x="5903913" y="1781522"/>
            <a:ext cx="974725" cy="1114425"/>
            <a:chOff x="2924" y="2115"/>
            <a:chExt cx="614" cy="702"/>
          </a:xfrm>
        </p:grpSpPr>
        <p:sp>
          <p:nvSpPr>
            <p:cNvPr id="35" name="Oval 43"/>
            <p:cNvSpPr>
              <a:spLocks noChangeArrowheads="1"/>
            </p:cNvSpPr>
            <p:nvPr/>
          </p:nvSpPr>
          <p:spPr bwMode="auto">
            <a:xfrm>
              <a:off x="2924" y="2613"/>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36" name="Group 44"/>
            <p:cNvGrpSpPr/>
            <p:nvPr/>
          </p:nvGrpSpPr>
          <p:grpSpPr bwMode="auto">
            <a:xfrm>
              <a:off x="2925" y="2115"/>
              <a:ext cx="613" cy="613"/>
              <a:chOff x="1157" y="1798"/>
              <a:chExt cx="613" cy="613"/>
            </a:xfrm>
          </p:grpSpPr>
          <p:grpSp>
            <p:nvGrpSpPr>
              <p:cNvPr id="37" name="Group 45"/>
              <p:cNvGrpSpPr/>
              <p:nvPr/>
            </p:nvGrpSpPr>
            <p:grpSpPr bwMode="auto">
              <a:xfrm>
                <a:off x="1157" y="1798"/>
                <a:ext cx="613" cy="613"/>
                <a:chOff x="2335" y="1139"/>
                <a:chExt cx="1089" cy="1089"/>
              </a:xfrm>
            </p:grpSpPr>
            <p:sp>
              <p:nvSpPr>
                <p:cNvPr id="39" name="Oval 46"/>
                <p:cNvSpPr>
                  <a:spLocks noChangeArrowheads="1"/>
                </p:cNvSpPr>
                <p:nvPr/>
              </p:nvSpPr>
              <p:spPr bwMode="auto">
                <a:xfrm>
                  <a:off x="2335" y="1139"/>
                  <a:ext cx="1089" cy="1089"/>
                </a:xfrm>
                <a:prstGeom prst="ellipse">
                  <a:avLst/>
                </a:prstGeom>
                <a:solidFill>
                  <a:srgbClr val="9E9E9E"/>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40" name="Group 47"/>
                <p:cNvGrpSpPr/>
                <p:nvPr/>
              </p:nvGrpSpPr>
              <p:grpSpPr bwMode="auto">
                <a:xfrm>
                  <a:off x="2426" y="1169"/>
                  <a:ext cx="908" cy="296"/>
                  <a:chOff x="1431" y="1843"/>
                  <a:chExt cx="907" cy="295"/>
                </a:xfrm>
              </p:grpSpPr>
              <p:sp>
                <p:nvSpPr>
                  <p:cNvPr id="41" name="Freeform 48"/>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2" name="Oval 49"/>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38" name="Text Box 50"/>
              <p:cNvSpPr txBox="1">
                <a:spLocks noChangeArrowheads="1"/>
              </p:cNvSpPr>
              <p:nvPr/>
            </p:nvSpPr>
            <p:spPr bwMode="auto">
              <a:xfrm>
                <a:off x="1306" y="1970"/>
                <a:ext cx="310" cy="29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sp>
        <p:nvSpPr>
          <p:cNvPr id="8" name="AutoShape 51"/>
          <p:cNvSpPr>
            <a:spLocks noChangeArrowheads="1"/>
          </p:cNvSpPr>
          <p:nvPr/>
        </p:nvSpPr>
        <p:spPr bwMode="auto">
          <a:xfrm rot="15300000">
            <a:off x="4356101" y="2716560"/>
            <a:ext cx="749300" cy="749300"/>
          </a:xfrm>
          <a:custGeom>
            <a:avLst/>
            <a:gdLst>
              <a:gd name="G0" fmla="+- 0 0 0"/>
              <a:gd name="G1" fmla="+- -6597710 0 0"/>
              <a:gd name="G2" fmla="+- 0 0 -6597710"/>
              <a:gd name="G3" fmla="+- 10800 0 0"/>
              <a:gd name="G4" fmla="+- 0 0 0"/>
              <a:gd name="T0" fmla="*/ 360 256 1"/>
              <a:gd name="T1" fmla="*/ 0 256 1"/>
              <a:gd name="G5" fmla="+- G2 T0 T1"/>
              <a:gd name="G6" fmla="?: G2 G2 G5"/>
              <a:gd name="G7" fmla="+- 0 0 G6"/>
              <a:gd name="G8" fmla="+- 5400 0 0"/>
              <a:gd name="G9" fmla="+- 0 0 -659771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6597710"/>
              <a:gd name="G36" fmla="sin G34 -6597710"/>
              <a:gd name="G37" fmla="+/ -659771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7693 w 21600"/>
              <a:gd name="T5" fmla="*/ 2486 h 21600"/>
              <a:gd name="T6" fmla="*/ 9299 w 21600"/>
              <a:gd name="T7" fmla="*/ 2840 h 21600"/>
              <a:gd name="T8" fmla="*/ 14246 w 21600"/>
              <a:gd name="T9" fmla="*/ 6643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464" y="5399"/>
                  <a:pt x="10129" y="5431"/>
                  <a:pt x="9799" y="5493"/>
                </a:cubicBezTo>
                <a:lnTo>
                  <a:pt x="8799" y="186"/>
                </a:lnTo>
                <a:cubicBezTo>
                  <a:pt x="9459" y="62"/>
                  <a:pt x="1012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tx1">
              <a:alpha val="2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 name="AutoShape 52"/>
          <p:cNvSpPr>
            <a:spLocks noChangeArrowheads="1"/>
          </p:cNvSpPr>
          <p:nvPr/>
        </p:nvSpPr>
        <p:spPr bwMode="auto">
          <a:xfrm rot="15300000">
            <a:off x="5040313" y="1708497"/>
            <a:ext cx="749300" cy="749300"/>
          </a:xfrm>
          <a:custGeom>
            <a:avLst/>
            <a:gdLst>
              <a:gd name="G0" fmla="+- 0 0 0"/>
              <a:gd name="G1" fmla="+- -6597710 0 0"/>
              <a:gd name="G2" fmla="+- 0 0 -6597710"/>
              <a:gd name="G3" fmla="+- 10800 0 0"/>
              <a:gd name="G4" fmla="+- 0 0 0"/>
              <a:gd name="T0" fmla="*/ 360 256 1"/>
              <a:gd name="T1" fmla="*/ 0 256 1"/>
              <a:gd name="G5" fmla="+- G2 T0 T1"/>
              <a:gd name="G6" fmla="?: G2 G2 G5"/>
              <a:gd name="G7" fmla="+- 0 0 G6"/>
              <a:gd name="G8" fmla="+- 5400 0 0"/>
              <a:gd name="G9" fmla="+- 0 0 -659771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6597710"/>
              <a:gd name="G36" fmla="sin G34 -6597710"/>
              <a:gd name="G37" fmla="+/ -659771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7693 w 21600"/>
              <a:gd name="T5" fmla="*/ 2486 h 21600"/>
              <a:gd name="T6" fmla="*/ 9299 w 21600"/>
              <a:gd name="T7" fmla="*/ 2840 h 21600"/>
              <a:gd name="T8" fmla="*/ 14246 w 21600"/>
              <a:gd name="T9" fmla="*/ 6643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464" y="5399"/>
                  <a:pt x="10129" y="5431"/>
                  <a:pt x="9799" y="5493"/>
                </a:cubicBezTo>
                <a:lnTo>
                  <a:pt x="8799" y="186"/>
                </a:lnTo>
                <a:cubicBezTo>
                  <a:pt x="9459" y="62"/>
                  <a:pt x="1012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tx1">
              <a:alpha val="2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 name="AutoShape 53"/>
          <p:cNvSpPr>
            <a:spLocks noChangeArrowheads="1"/>
          </p:cNvSpPr>
          <p:nvPr/>
        </p:nvSpPr>
        <p:spPr bwMode="auto">
          <a:xfrm rot="15300000">
            <a:off x="3635376" y="3724622"/>
            <a:ext cx="749300" cy="749300"/>
          </a:xfrm>
          <a:custGeom>
            <a:avLst/>
            <a:gdLst>
              <a:gd name="G0" fmla="+- 0 0 0"/>
              <a:gd name="G1" fmla="+- -6597710 0 0"/>
              <a:gd name="G2" fmla="+- 0 0 -6597710"/>
              <a:gd name="G3" fmla="+- 10800 0 0"/>
              <a:gd name="G4" fmla="+- 0 0 0"/>
              <a:gd name="T0" fmla="*/ 360 256 1"/>
              <a:gd name="T1" fmla="*/ 0 256 1"/>
              <a:gd name="G5" fmla="+- G2 T0 T1"/>
              <a:gd name="G6" fmla="?: G2 G2 G5"/>
              <a:gd name="G7" fmla="+- 0 0 G6"/>
              <a:gd name="G8" fmla="+- 5400 0 0"/>
              <a:gd name="G9" fmla="+- 0 0 -659771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6597710"/>
              <a:gd name="G36" fmla="sin G34 -6597710"/>
              <a:gd name="G37" fmla="+/ -659771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7693 w 21600"/>
              <a:gd name="T5" fmla="*/ 2486 h 21600"/>
              <a:gd name="T6" fmla="*/ 9299 w 21600"/>
              <a:gd name="T7" fmla="*/ 2840 h 21600"/>
              <a:gd name="T8" fmla="*/ 14246 w 21600"/>
              <a:gd name="T9" fmla="*/ 6643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464" y="5399"/>
                  <a:pt x="10129" y="5431"/>
                  <a:pt x="9799" y="5493"/>
                </a:cubicBezTo>
                <a:lnTo>
                  <a:pt x="8799" y="186"/>
                </a:lnTo>
                <a:cubicBezTo>
                  <a:pt x="9459" y="62"/>
                  <a:pt x="1012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tx1">
              <a:alpha val="2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4" name="Group 57"/>
          <p:cNvGrpSpPr/>
          <p:nvPr/>
        </p:nvGrpSpPr>
        <p:grpSpPr bwMode="auto">
          <a:xfrm>
            <a:off x="921617" y="1371504"/>
            <a:ext cx="407988" cy="466725"/>
            <a:chOff x="2744" y="-584"/>
            <a:chExt cx="614" cy="702"/>
          </a:xfrm>
        </p:grpSpPr>
        <p:sp>
          <p:nvSpPr>
            <p:cNvPr id="29" name="Oval 58"/>
            <p:cNvSpPr>
              <a:spLocks noChangeArrowheads="1"/>
            </p:cNvSpPr>
            <p:nvPr/>
          </p:nvSpPr>
          <p:spPr bwMode="auto">
            <a:xfrm>
              <a:off x="2744" y="-86"/>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30" name="Group 59"/>
            <p:cNvGrpSpPr/>
            <p:nvPr/>
          </p:nvGrpSpPr>
          <p:grpSpPr bwMode="auto">
            <a:xfrm>
              <a:off x="2745" y="-584"/>
              <a:ext cx="613" cy="613"/>
              <a:chOff x="2335" y="1139"/>
              <a:chExt cx="1089" cy="1089"/>
            </a:xfrm>
          </p:grpSpPr>
          <p:sp>
            <p:nvSpPr>
              <p:cNvPr id="31" name="Oval 60"/>
              <p:cNvSpPr>
                <a:spLocks noChangeArrowheads="1"/>
              </p:cNvSpPr>
              <p:nvPr/>
            </p:nvSpPr>
            <p:spPr bwMode="auto">
              <a:xfrm>
                <a:off x="2335" y="1139"/>
                <a:ext cx="1089" cy="1089"/>
              </a:xfrm>
              <a:prstGeom prst="ellipse">
                <a:avLst/>
              </a:prstGeom>
              <a:solidFill>
                <a:srgbClr val="3A9707"/>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32" name="Group 61"/>
              <p:cNvGrpSpPr/>
              <p:nvPr/>
            </p:nvGrpSpPr>
            <p:grpSpPr bwMode="auto">
              <a:xfrm>
                <a:off x="2426" y="1169"/>
                <a:ext cx="908" cy="296"/>
                <a:chOff x="1431" y="1843"/>
                <a:chExt cx="907" cy="295"/>
              </a:xfrm>
            </p:grpSpPr>
            <p:sp>
              <p:nvSpPr>
                <p:cNvPr id="33" name="Freeform 6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4" name="Oval 6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nvGrpSpPr>
          <p:cNvPr id="15" name="Group 64"/>
          <p:cNvGrpSpPr/>
          <p:nvPr/>
        </p:nvGrpSpPr>
        <p:grpSpPr bwMode="auto">
          <a:xfrm>
            <a:off x="921617" y="2489104"/>
            <a:ext cx="407988" cy="466725"/>
            <a:chOff x="3061" y="-879"/>
            <a:chExt cx="614" cy="702"/>
          </a:xfrm>
        </p:grpSpPr>
        <p:sp>
          <p:nvSpPr>
            <p:cNvPr id="23" name="Oval 65"/>
            <p:cNvSpPr>
              <a:spLocks noChangeArrowheads="1"/>
            </p:cNvSpPr>
            <p:nvPr/>
          </p:nvSpPr>
          <p:spPr bwMode="auto">
            <a:xfrm>
              <a:off x="3061" y="-381"/>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24" name="Group 66"/>
            <p:cNvGrpSpPr/>
            <p:nvPr/>
          </p:nvGrpSpPr>
          <p:grpSpPr bwMode="auto">
            <a:xfrm>
              <a:off x="3062" y="-879"/>
              <a:ext cx="613" cy="613"/>
              <a:chOff x="2335" y="1139"/>
              <a:chExt cx="1089" cy="1089"/>
            </a:xfrm>
          </p:grpSpPr>
          <p:sp>
            <p:nvSpPr>
              <p:cNvPr id="25" name="Oval 67"/>
              <p:cNvSpPr>
                <a:spLocks noChangeArrowheads="1"/>
              </p:cNvSpPr>
              <p:nvPr/>
            </p:nvSpPr>
            <p:spPr bwMode="auto">
              <a:xfrm>
                <a:off x="2335" y="1139"/>
                <a:ext cx="1089" cy="1089"/>
              </a:xfrm>
              <a:prstGeom prst="ellipse">
                <a:avLst/>
              </a:prstGeom>
              <a:solidFill>
                <a:srgbClr val="9E9E9E"/>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26" name="Group 68"/>
              <p:cNvGrpSpPr/>
              <p:nvPr/>
            </p:nvGrpSpPr>
            <p:grpSpPr bwMode="auto">
              <a:xfrm>
                <a:off x="2426" y="1169"/>
                <a:ext cx="908" cy="296"/>
                <a:chOff x="1431" y="1843"/>
                <a:chExt cx="907" cy="295"/>
              </a:xfrm>
            </p:grpSpPr>
            <p:sp>
              <p:nvSpPr>
                <p:cNvPr id="27" name="Freeform 69"/>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8" name="Oval 70"/>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sp>
        <p:nvSpPr>
          <p:cNvPr id="76" name="Text Box 45"/>
          <p:cNvSpPr txBox="1">
            <a:spLocks noChangeArrowheads="1"/>
          </p:cNvSpPr>
          <p:nvPr/>
        </p:nvSpPr>
        <p:spPr bwMode="auto">
          <a:xfrm>
            <a:off x="1389607" y="1446642"/>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3A9707"/>
                </a:solidFill>
                <a:latin typeface="微软雅黑" panose="020B0503020204020204" pitchFamily="34" charset="-122"/>
                <a:ea typeface="微软雅黑" panose="020B0503020204020204" pitchFamily="34" charset="-122"/>
              </a:rPr>
              <a:t>单击填加标题</a:t>
            </a:r>
            <a:endParaRPr lang="en-US" altLang="ko-KR" sz="1400" b="1" dirty="0">
              <a:solidFill>
                <a:srgbClr val="3A9707"/>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77" name="Text Box 45"/>
          <p:cNvSpPr txBox="1">
            <a:spLocks noChangeArrowheads="1"/>
          </p:cNvSpPr>
          <p:nvPr/>
        </p:nvSpPr>
        <p:spPr bwMode="auto">
          <a:xfrm>
            <a:off x="1403424" y="2573491"/>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par>
                          <p:cTn id="8" fill="hold">
                            <p:stCondLst>
                              <p:cond delay="1000"/>
                            </p:stCondLst>
                            <p:childTnLst>
                              <p:par>
                                <p:cTn id="9" presetID="26"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435">
                                          <p:stCondLst>
                                            <p:cond delay="0"/>
                                          </p:stCondLst>
                                        </p:cTn>
                                        <p:tgtEl>
                                          <p:spTgt spid="4"/>
                                        </p:tgtEl>
                                      </p:cBhvr>
                                    </p:animEffect>
                                    <p:anim calcmode="lin" valueType="num">
                                      <p:cBhvr>
                                        <p:cTn id="12" dur="1367"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13" dur="498"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4" dur="498" tmFilter="0, 0; 0.125,0.2665; 0.25,0.4; 0.375,0.465; 0.5,0.5;  0.625,0.535; 0.75,0.6; 0.875,0.7335; 1,1">
                                          <p:stCondLst>
                                            <p:cond delay="498"/>
                                          </p:stCondLst>
                                        </p:cTn>
                                        <p:tgtEl>
                                          <p:spTgt spid="4"/>
                                        </p:tgtEl>
                                        <p:attrNameLst>
                                          <p:attrName>ppt_y</p:attrName>
                                        </p:attrNameLst>
                                      </p:cBhvr>
                                      <p:tavLst>
                                        <p:tav tm="0" fmla="#ppt_y-sin(pi*$)/9">
                                          <p:val>
                                            <p:fltVal val="0"/>
                                          </p:val>
                                        </p:tav>
                                        <p:tav tm="100000">
                                          <p:val>
                                            <p:fltVal val="1"/>
                                          </p:val>
                                        </p:tav>
                                      </p:tavLst>
                                    </p:anim>
                                    <p:anim calcmode="lin" valueType="num">
                                      <p:cBhvr>
                                        <p:cTn id="15" dur="249" tmFilter="0, 0; 0.125,0.2665; 0.25,0.4; 0.375,0.465; 0.5,0.5;  0.625,0.535; 0.75,0.6; 0.875,0.7335; 1,1">
                                          <p:stCondLst>
                                            <p:cond delay="993"/>
                                          </p:stCondLst>
                                        </p:cTn>
                                        <p:tgtEl>
                                          <p:spTgt spid="4"/>
                                        </p:tgtEl>
                                        <p:attrNameLst>
                                          <p:attrName>ppt_y</p:attrName>
                                        </p:attrNameLst>
                                      </p:cBhvr>
                                      <p:tavLst>
                                        <p:tav tm="0" fmla="#ppt_y-sin(pi*$)/27">
                                          <p:val>
                                            <p:fltVal val="0"/>
                                          </p:val>
                                        </p:tav>
                                        <p:tav tm="100000">
                                          <p:val>
                                            <p:fltVal val="1"/>
                                          </p:val>
                                        </p:tav>
                                      </p:tavLst>
                                    </p:anim>
                                    <p:anim calcmode="lin" valueType="num">
                                      <p:cBhvr>
                                        <p:cTn id="16" dur="123" tmFilter="0, 0; 0.125,0.2665; 0.25,0.4; 0.375,0.465; 0.5,0.5;  0.625,0.535; 0.75,0.6; 0.875,0.7335; 1,1">
                                          <p:stCondLst>
                                            <p:cond delay="1242"/>
                                          </p:stCondLst>
                                        </p:cTn>
                                        <p:tgtEl>
                                          <p:spTgt spid="4"/>
                                        </p:tgtEl>
                                        <p:attrNameLst>
                                          <p:attrName>ppt_y</p:attrName>
                                        </p:attrNameLst>
                                      </p:cBhvr>
                                      <p:tavLst>
                                        <p:tav tm="0" fmla="#ppt_y-sin(pi*$)/81">
                                          <p:val>
                                            <p:fltVal val="0"/>
                                          </p:val>
                                        </p:tav>
                                        <p:tav tm="100000">
                                          <p:val>
                                            <p:fltVal val="1"/>
                                          </p:val>
                                        </p:tav>
                                      </p:tavLst>
                                    </p:anim>
                                    <p:animScale>
                                      <p:cBhvr>
                                        <p:cTn id="17" dur="20">
                                          <p:stCondLst>
                                            <p:cond delay="487"/>
                                          </p:stCondLst>
                                        </p:cTn>
                                        <p:tgtEl>
                                          <p:spTgt spid="4"/>
                                        </p:tgtEl>
                                      </p:cBhvr>
                                      <p:to x="100000" y="60000"/>
                                    </p:animScale>
                                    <p:animScale>
                                      <p:cBhvr>
                                        <p:cTn id="18" dur="124" decel="50000">
                                          <p:stCondLst>
                                            <p:cond delay="507"/>
                                          </p:stCondLst>
                                        </p:cTn>
                                        <p:tgtEl>
                                          <p:spTgt spid="4"/>
                                        </p:tgtEl>
                                      </p:cBhvr>
                                      <p:to x="100000" y="100000"/>
                                    </p:animScale>
                                    <p:animScale>
                                      <p:cBhvr>
                                        <p:cTn id="19" dur="20">
                                          <p:stCondLst>
                                            <p:cond delay="984"/>
                                          </p:stCondLst>
                                        </p:cTn>
                                        <p:tgtEl>
                                          <p:spTgt spid="4"/>
                                        </p:tgtEl>
                                      </p:cBhvr>
                                      <p:to x="100000" y="80000"/>
                                    </p:animScale>
                                    <p:animScale>
                                      <p:cBhvr>
                                        <p:cTn id="20" dur="124" decel="50000">
                                          <p:stCondLst>
                                            <p:cond delay="1004"/>
                                          </p:stCondLst>
                                        </p:cTn>
                                        <p:tgtEl>
                                          <p:spTgt spid="4"/>
                                        </p:tgtEl>
                                      </p:cBhvr>
                                      <p:to x="100000" y="100000"/>
                                    </p:animScale>
                                    <p:animScale>
                                      <p:cBhvr>
                                        <p:cTn id="21" dur="20">
                                          <p:stCondLst>
                                            <p:cond delay="1231"/>
                                          </p:stCondLst>
                                        </p:cTn>
                                        <p:tgtEl>
                                          <p:spTgt spid="4"/>
                                        </p:tgtEl>
                                      </p:cBhvr>
                                      <p:to x="100000" y="90000"/>
                                    </p:animScale>
                                    <p:animScale>
                                      <p:cBhvr>
                                        <p:cTn id="22" dur="124" decel="50000">
                                          <p:stCondLst>
                                            <p:cond delay="1251"/>
                                          </p:stCondLst>
                                        </p:cTn>
                                        <p:tgtEl>
                                          <p:spTgt spid="4"/>
                                        </p:tgtEl>
                                      </p:cBhvr>
                                      <p:to x="100000" y="100000"/>
                                    </p:animScale>
                                    <p:animScale>
                                      <p:cBhvr>
                                        <p:cTn id="23" dur="20">
                                          <p:stCondLst>
                                            <p:cond delay="1356"/>
                                          </p:stCondLst>
                                        </p:cTn>
                                        <p:tgtEl>
                                          <p:spTgt spid="4"/>
                                        </p:tgtEl>
                                      </p:cBhvr>
                                      <p:to x="100000" y="95000"/>
                                    </p:animScale>
                                    <p:animScale>
                                      <p:cBhvr>
                                        <p:cTn id="24" dur="124" decel="50000">
                                          <p:stCondLst>
                                            <p:cond delay="1376"/>
                                          </p:stCondLst>
                                        </p:cTn>
                                        <p:tgtEl>
                                          <p:spTgt spid="4"/>
                                        </p:tgtEl>
                                      </p:cBhvr>
                                      <p:to x="100000" y="100000"/>
                                    </p:animScale>
                                  </p:childTnLst>
                                </p:cTn>
                              </p:par>
                              <p:par>
                                <p:cTn id="25" presetID="26" presetClass="entr" presetSubtype="0" fill="hold" nodeType="withEffect">
                                  <p:stCondLst>
                                    <p:cond delay="500"/>
                                  </p:stCondLst>
                                  <p:childTnLst>
                                    <p:set>
                                      <p:cBhvr>
                                        <p:cTn id="26" dur="1" fill="hold">
                                          <p:stCondLst>
                                            <p:cond delay="0"/>
                                          </p:stCondLst>
                                        </p:cTn>
                                        <p:tgtEl>
                                          <p:spTgt spid="5"/>
                                        </p:tgtEl>
                                        <p:attrNameLst>
                                          <p:attrName>style.visibility</p:attrName>
                                        </p:attrNameLst>
                                      </p:cBhvr>
                                      <p:to>
                                        <p:strVal val="visible"/>
                                      </p:to>
                                    </p:set>
                                    <p:animEffect transition="in" filter="wipe(down)">
                                      <p:cBhvr>
                                        <p:cTn id="27" dur="435">
                                          <p:stCondLst>
                                            <p:cond delay="0"/>
                                          </p:stCondLst>
                                        </p:cTn>
                                        <p:tgtEl>
                                          <p:spTgt spid="5"/>
                                        </p:tgtEl>
                                      </p:cBhvr>
                                    </p:animEffect>
                                    <p:anim calcmode="lin" valueType="num">
                                      <p:cBhvr>
                                        <p:cTn id="28" dur="1367"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29" dur="498"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30" dur="498" tmFilter="0, 0; 0.125,0.2665; 0.25,0.4; 0.375,0.465; 0.5,0.5;  0.625,0.535; 0.75,0.6; 0.875,0.7335; 1,1">
                                          <p:stCondLst>
                                            <p:cond delay="498"/>
                                          </p:stCondLst>
                                        </p:cTn>
                                        <p:tgtEl>
                                          <p:spTgt spid="5"/>
                                        </p:tgtEl>
                                        <p:attrNameLst>
                                          <p:attrName>ppt_y</p:attrName>
                                        </p:attrNameLst>
                                      </p:cBhvr>
                                      <p:tavLst>
                                        <p:tav tm="0" fmla="#ppt_y-sin(pi*$)/9">
                                          <p:val>
                                            <p:fltVal val="0"/>
                                          </p:val>
                                        </p:tav>
                                        <p:tav tm="100000">
                                          <p:val>
                                            <p:fltVal val="1"/>
                                          </p:val>
                                        </p:tav>
                                      </p:tavLst>
                                    </p:anim>
                                    <p:anim calcmode="lin" valueType="num">
                                      <p:cBhvr>
                                        <p:cTn id="31" dur="249" tmFilter="0, 0; 0.125,0.2665; 0.25,0.4; 0.375,0.465; 0.5,0.5;  0.625,0.535; 0.75,0.6; 0.875,0.7335; 1,1">
                                          <p:stCondLst>
                                            <p:cond delay="993"/>
                                          </p:stCondLst>
                                        </p:cTn>
                                        <p:tgtEl>
                                          <p:spTgt spid="5"/>
                                        </p:tgtEl>
                                        <p:attrNameLst>
                                          <p:attrName>ppt_y</p:attrName>
                                        </p:attrNameLst>
                                      </p:cBhvr>
                                      <p:tavLst>
                                        <p:tav tm="0" fmla="#ppt_y-sin(pi*$)/27">
                                          <p:val>
                                            <p:fltVal val="0"/>
                                          </p:val>
                                        </p:tav>
                                        <p:tav tm="100000">
                                          <p:val>
                                            <p:fltVal val="1"/>
                                          </p:val>
                                        </p:tav>
                                      </p:tavLst>
                                    </p:anim>
                                    <p:anim calcmode="lin" valueType="num">
                                      <p:cBhvr>
                                        <p:cTn id="32" dur="123" tmFilter="0, 0; 0.125,0.2665; 0.25,0.4; 0.375,0.465; 0.5,0.5;  0.625,0.535; 0.75,0.6; 0.875,0.7335; 1,1">
                                          <p:stCondLst>
                                            <p:cond delay="1242"/>
                                          </p:stCondLst>
                                        </p:cTn>
                                        <p:tgtEl>
                                          <p:spTgt spid="5"/>
                                        </p:tgtEl>
                                        <p:attrNameLst>
                                          <p:attrName>ppt_y</p:attrName>
                                        </p:attrNameLst>
                                      </p:cBhvr>
                                      <p:tavLst>
                                        <p:tav tm="0" fmla="#ppt_y-sin(pi*$)/81">
                                          <p:val>
                                            <p:fltVal val="0"/>
                                          </p:val>
                                        </p:tav>
                                        <p:tav tm="100000">
                                          <p:val>
                                            <p:fltVal val="1"/>
                                          </p:val>
                                        </p:tav>
                                      </p:tavLst>
                                    </p:anim>
                                    <p:animScale>
                                      <p:cBhvr>
                                        <p:cTn id="33" dur="20">
                                          <p:stCondLst>
                                            <p:cond delay="487"/>
                                          </p:stCondLst>
                                        </p:cTn>
                                        <p:tgtEl>
                                          <p:spTgt spid="5"/>
                                        </p:tgtEl>
                                      </p:cBhvr>
                                      <p:to x="100000" y="60000"/>
                                    </p:animScale>
                                    <p:animScale>
                                      <p:cBhvr>
                                        <p:cTn id="34" dur="124" decel="50000">
                                          <p:stCondLst>
                                            <p:cond delay="507"/>
                                          </p:stCondLst>
                                        </p:cTn>
                                        <p:tgtEl>
                                          <p:spTgt spid="5"/>
                                        </p:tgtEl>
                                      </p:cBhvr>
                                      <p:to x="100000" y="100000"/>
                                    </p:animScale>
                                    <p:animScale>
                                      <p:cBhvr>
                                        <p:cTn id="35" dur="20">
                                          <p:stCondLst>
                                            <p:cond delay="984"/>
                                          </p:stCondLst>
                                        </p:cTn>
                                        <p:tgtEl>
                                          <p:spTgt spid="5"/>
                                        </p:tgtEl>
                                      </p:cBhvr>
                                      <p:to x="100000" y="80000"/>
                                    </p:animScale>
                                    <p:animScale>
                                      <p:cBhvr>
                                        <p:cTn id="36" dur="124" decel="50000">
                                          <p:stCondLst>
                                            <p:cond delay="1004"/>
                                          </p:stCondLst>
                                        </p:cTn>
                                        <p:tgtEl>
                                          <p:spTgt spid="5"/>
                                        </p:tgtEl>
                                      </p:cBhvr>
                                      <p:to x="100000" y="100000"/>
                                    </p:animScale>
                                    <p:animScale>
                                      <p:cBhvr>
                                        <p:cTn id="37" dur="20">
                                          <p:stCondLst>
                                            <p:cond delay="1231"/>
                                          </p:stCondLst>
                                        </p:cTn>
                                        <p:tgtEl>
                                          <p:spTgt spid="5"/>
                                        </p:tgtEl>
                                      </p:cBhvr>
                                      <p:to x="100000" y="90000"/>
                                    </p:animScale>
                                    <p:animScale>
                                      <p:cBhvr>
                                        <p:cTn id="38" dur="124" decel="50000">
                                          <p:stCondLst>
                                            <p:cond delay="1251"/>
                                          </p:stCondLst>
                                        </p:cTn>
                                        <p:tgtEl>
                                          <p:spTgt spid="5"/>
                                        </p:tgtEl>
                                      </p:cBhvr>
                                      <p:to x="100000" y="100000"/>
                                    </p:animScale>
                                    <p:animScale>
                                      <p:cBhvr>
                                        <p:cTn id="39" dur="20">
                                          <p:stCondLst>
                                            <p:cond delay="1356"/>
                                          </p:stCondLst>
                                        </p:cTn>
                                        <p:tgtEl>
                                          <p:spTgt spid="5"/>
                                        </p:tgtEl>
                                      </p:cBhvr>
                                      <p:to x="100000" y="95000"/>
                                    </p:animScale>
                                    <p:animScale>
                                      <p:cBhvr>
                                        <p:cTn id="40" dur="124" decel="50000">
                                          <p:stCondLst>
                                            <p:cond delay="1376"/>
                                          </p:stCondLst>
                                        </p:cTn>
                                        <p:tgtEl>
                                          <p:spTgt spid="5"/>
                                        </p:tgtEl>
                                      </p:cBhvr>
                                      <p:to x="100000" y="100000"/>
                                    </p:animScale>
                                  </p:childTnLst>
                                </p:cTn>
                              </p:par>
                              <p:par>
                                <p:cTn id="41" presetID="26" presetClass="entr" presetSubtype="0" fill="hold" nodeType="withEffect">
                                  <p:stCondLst>
                                    <p:cond delay="1000"/>
                                  </p:stCondLst>
                                  <p:childTnLst>
                                    <p:set>
                                      <p:cBhvr>
                                        <p:cTn id="42" dur="1" fill="hold">
                                          <p:stCondLst>
                                            <p:cond delay="0"/>
                                          </p:stCondLst>
                                        </p:cTn>
                                        <p:tgtEl>
                                          <p:spTgt spid="7"/>
                                        </p:tgtEl>
                                        <p:attrNameLst>
                                          <p:attrName>style.visibility</p:attrName>
                                        </p:attrNameLst>
                                      </p:cBhvr>
                                      <p:to>
                                        <p:strVal val="visible"/>
                                      </p:to>
                                    </p:set>
                                    <p:animEffect transition="in" filter="wipe(down)">
                                      <p:cBhvr>
                                        <p:cTn id="43" dur="435">
                                          <p:stCondLst>
                                            <p:cond delay="0"/>
                                          </p:stCondLst>
                                        </p:cTn>
                                        <p:tgtEl>
                                          <p:spTgt spid="7"/>
                                        </p:tgtEl>
                                      </p:cBhvr>
                                    </p:animEffect>
                                    <p:anim calcmode="lin" valueType="num">
                                      <p:cBhvr>
                                        <p:cTn id="44" dur="1367"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45" dur="498"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46" dur="498" tmFilter="0, 0; 0.125,0.2665; 0.25,0.4; 0.375,0.465; 0.5,0.5;  0.625,0.535; 0.75,0.6; 0.875,0.7335; 1,1">
                                          <p:stCondLst>
                                            <p:cond delay="498"/>
                                          </p:stCondLst>
                                        </p:cTn>
                                        <p:tgtEl>
                                          <p:spTgt spid="7"/>
                                        </p:tgtEl>
                                        <p:attrNameLst>
                                          <p:attrName>ppt_y</p:attrName>
                                        </p:attrNameLst>
                                      </p:cBhvr>
                                      <p:tavLst>
                                        <p:tav tm="0" fmla="#ppt_y-sin(pi*$)/9">
                                          <p:val>
                                            <p:fltVal val="0"/>
                                          </p:val>
                                        </p:tav>
                                        <p:tav tm="100000">
                                          <p:val>
                                            <p:fltVal val="1"/>
                                          </p:val>
                                        </p:tav>
                                      </p:tavLst>
                                    </p:anim>
                                    <p:anim calcmode="lin" valueType="num">
                                      <p:cBhvr>
                                        <p:cTn id="47" dur="249" tmFilter="0, 0; 0.125,0.2665; 0.25,0.4; 0.375,0.465; 0.5,0.5;  0.625,0.535; 0.75,0.6; 0.875,0.7335; 1,1">
                                          <p:stCondLst>
                                            <p:cond delay="993"/>
                                          </p:stCondLst>
                                        </p:cTn>
                                        <p:tgtEl>
                                          <p:spTgt spid="7"/>
                                        </p:tgtEl>
                                        <p:attrNameLst>
                                          <p:attrName>ppt_y</p:attrName>
                                        </p:attrNameLst>
                                      </p:cBhvr>
                                      <p:tavLst>
                                        <p:tav tm="0" fmla="#ppt_y-sin(pi*$)/27">
                                          <p:val>
                                            <p:fltVal val="0"/>
                                          </p:val>
                                        </p:tav>
                                        <p:tav tm="100000">
                                          <p:val>
                                            <p:fltVal val="1"/>
                                          </p:val>
                                        </p:tav>
                                      </p:tavLst>
                                    </p:anim>
                                    <p:anim calcmode="lin" valueType="num">
                                      <p:cBhvr>
                                        <p:cTn id="48" dur="123" tmFilter="0, 0; 0.125,0.2665; 0.25,0.4; 0.375,0.465; 0.5,0.5;  0.625,0.535; 0.75,0.6; 0.875,0.7335; 1,1">
                                          <p:stCondLst>
                                            <p:cond delay="1242"/>
                                          </p:stCondLst>
                                        </p:cTn>
                                        <p:tgtEl>
                                          <p:spTgt spid="7"/>
                                        </p:tgtEl>
                                        <p:attrNameLst>
                                          <p:attrName>ppt_y</p:attrName>
                                        </p:attrNameLst>
                                      </p:cBhvr>
                                      <p:tavLst>
                                        <p:tav tm="0" fmla="#ppt_y-sin(pi*$)/81">
                                          <p:val>
                                            <p:fltVal val="0"/>
                                          </p:val>
                                        </p:tav>
                                        <p:tav tm="100000">
                                          <p:val>
                                            <p:fltVal val="1"/>
                                          </p:val>
                                        </p:tav>
                                      </p:tavLst>
                                    </p:anim>
                                    <p:animScale>
                                      <p:cBhvr>
                                        <p:cTn id="49" dur="20">
                                          <p:stCondLst>
                                            <p:cond delay="487"/>
                                          </p:stCondLst>
                                        </p:cTn>
                                        <p:tgtEl>
                                          <p:spTgt spid="7"/>
                                        </p:tgtEl>
                                      </p:cBhvr>
                                      <p:to x="100000" y="60000"/>
                                    </p:animScale>
                                    <p:animScale>
                                      <p:cBhvr>
                                        <p:cTn id="50" dur="124" decel="50000">
                                          <p:stCondLst>
                                            <p:cond delay="507"/>
                                          </p:stCondLst>
                                        </p:cTn>
                                        <p:tgtEl>
                                          <p:spTgt spid="7"/>
                                        </p:tgtEl>
                                      </p:cBhvr>
                                      <p:to x="100000" y="100000"/>
                                    </p:animScale>
                                    <p:animScale>
                                      <p:cBhvr>
                                        <p:cTn id="51" dur="20">
                                          <p:stCondLst>
                                            <p:cond delay="984"/>
                                          </p:stCondLst>
                                        </p:cTn>
                                        <p:tgtEl>
                                          <p:spTgt spid="7"/>
                                        </p:tgtEl>
                                      </p:cBhvr>
                                      <p:to x="100000" y="80000"/>
                                    </p:animScale>
                                    <p:animScale>
                                      <p:cBhvr>
                                        <p:cTn id="52" dur="124" decel="50000">
                                          <p:stCondLst>
                                            <p:cond delay="1004"/>
                                          </p:stCondLst>
                                        </p:cTn>
                                        <p:tgtEl>
                                          <p:spTgt spid="7"/>
                                        </p:tgtEl>
                                      </p:cBhvr>
                                      <p:to x="100000" y="100000"/>
                                    </p:animScale>
                                    <p:animScale>
                                      <p:cBhvr>
                                        <p:cTn id="53" dur="20">
                                          <p:stCondLst>
                                            <p:cond delay="1231"/>
                                          </p:stCondLst>
                                        </p:cTn>
                                        <p:tgtEl>
                                          <p:spTgt spid="7"/>
                                        </p:tgtEl>
                                      </p:cBhvr>
                                      <p:to x="100000" y="90000"/>
                                    </p:animScale>
                                    <p:animScale>
                                      <p:cBhvr>
                                        <p:cTn id="54" dur="124" decel="50000">
                                          <p:stCondLst>
                                            <p:cond delay="1251"/>
                                          </p:stCondLst>
                                        </p:cTn>
                                        <p:tgtEl>
                                          <p:spTgt spid="7"/>
                                        </p:tgtEl>
                                      </p:cBhvr>
                                      <p:to x="100000" y="100000"/>
                                    </p:animScale>
                                    <p:animScale>
                                      <p:cBhvr>
                                        <p:cTn id="55" dur="20">
                                          <p:stCondLst>
                                            <p:cond delay="1356"/>
                                          </p:stCondLst>
                                        </p:cTn>
                                        <p:tgtEl>
                                          <p:spTgt spid="7"/>
                                        </p:tgtEl>
                                      </p:cBhvr>
                                      <p:to x="100000" y="95000"/>
                                    </p:animScale>
                                    <p:animScale>
                                      <p:cBhvr>
                                        <p:cTn id="56" dur="124" decel="50000">
                                          <p:stCondLst>
                                            <p:cond delay="1376"/>
                                          </p:stCondLst>
                                        </p:cTn>
                                        <p:tgtEl>
                                          <p:spTgt spid="7"/>
                                        </p:tgtEl>
                                      </p:cBhvr>
                                      <p:to x="100000" y="100000"/>
                                    </p:animScale>
                                  </p:childTnLst>
                                </p:cTn>
                              </p:par>
                              <p:par>
                                <p:cTn id="57" presetID="26" presetClass="entr" presetSubtype="0" fill="hold" nodeType="withEffect">
                                  <p:stCondLst>
                                    <p:cond delay="1500"/>
                                  </p:stCondLst>
                                  <p:childTnLst>
                                    <p:set>
                                      <p:cBhvr>
                                        <p:cTn id="58" dur="1" fill="hold">
                                          <p:stCondLst>
                                            <p:cond delay="0"/>
                                          </p:stCondLst>
                                        </p:cTn>
                                        <p:tgtEl>
                                          <p:spTgt spid="6"/>
                                        </p:tgtEl>
                                        <p:attrNameLst>
                                          <p:attrName>style.visibility</p:attrName>
                                        </p:attrNameLst>
                                      </p:cBhvr>
                                      <p:to>
                                        <p:strVal val="visible"/>
                                      </p:to>
                                    </p:set>
                                    <p:animEffect transition="in" filter="wipe(down)">
                                      <p:cBhvr>
                                        <p:cTn id="59" dur="435">
                                          <p:stCondLst>
                                            <p:cond delay="0"/>
                                          </p:stCondLst>
                                        </p:cTn>
                                        <p:tgtEl>
                                          <p:spTgt spid="6"/>
                                        </p:tgtEl>
                                      </p:cBhvr>
                                    </p:animEffect>
                                    <p:anim calcmode="lin" valueType="num">
                                      <p:cBhvr>
                                        <p:cTn id="60" dur="1367"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61" dur="498"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62" dur="498" tmFilter="0, 0; 0.125,0.2665; 0.25,0.4; 0.375,0.465; 0.5,0.5;  0.625,0.535; 0.75,0.6; 0.875,0.7335; 1,1">
                                          <p:stCondLst>
                                            <p:cond delay="498"/>
                                          </p:stCondLst>
                                        </p:cTn>
                                        <p:tgtEl>
                                          <p:spTgt spid="6"/>
                                        </p:tgtEl>
                                        <p:attrNameLst>
                                          <p:attrName>ppt_y</p:attrName>
                                        </p:attrNameLst>
                                      </p:cBhvr>
                                      <p:tavLst>
                                        <p:tav tm="0" fmla="#ppt_y-sin(pi*$)/9">
                                          <p:val>
                                            <p:fltVal val="0"/>
                                          </p:val>
                                        </p:tav>
                                        <p:tav tm="100000">
                                          <p:val>
                                            <p:fltVal val="1"/>
                                          </p:val>
                                        </p:tav>
                                      </p:tavLst>
                                    </p:anim>
                                    <p:anim calcmode="lin" valueType="num">
                                      <p:cBhvr>
                                        <p:cTn id="63" dur="249" tmFilter="0, 0; 0.125,0.2665; 0.25,0.4; 0.375,0.465; 0.5,0.5;  0.625,0.535; 0.75,0.6; 0.875,0.7335; 1,1">
                                          <p:stCondLst>
                                            <p:cond delay="993"/>
                                          </p:stCondLst>
                                        </p:cTn>
                                        <p:tgtEl>
                                          <p:spTgt spid="6"/>
                                        </p:tgtEl>
                                        <p:attrNameLst>
                                          <p:attrName>ppt_y</p:attrName>
                                        </p:attrNameLst>
                                      </p:cBhvr>
                                      <p:tavLst>
                                        <p:tav tm="0" fmla="#ppt_y-sin(pi*$)/27">
                                          <p:val>
                                            <p:fltVal val="0"/>
                                          </p:val>
                                        </p:tav>
                                        <p:tav tm="100000">
                                          <p:val>
                                            <p:fltVal val="1"/>
                                          </p:val>
                                        </p:tav>
                                      </p:tavLst>
                                    </p:anim>
                                    <p:anim calcmode="lin" valueType="num">
                                      <p:cBhvr>
                                        <p:cTn id="64" dur="123" tmFilter="0, 0; 0.125,0.2665; 0.25,0.4; 0.375,0.465; 0.5,0.5;  0.625,0.535; 0.75,0.6; 0.875,0.7335; 1,1">
                                          <p:stCondLst>
                                            <p:cond delay="1242"/>
                                          </p:stCondLst>
                                        </p:cTn>
                                        <p:tgtEl>
                                          <p:spTgt spid="6"/>
                                        </p:tgtEl>
                                        <p:attrNameLst>
                                          <p:attrName>ppt_y</p:attrName>
                                        </p:attrNameLst>
                                      </p:cBhvr>
                                      <p:tavLst>
                                        <p:tav tm="0" fmla="#ppt_y-sin(pi*$)/81">
                                          <p:val>
                                            <p:fltVal val="0"/>
                                          </p:val>
                                        </p:tav>
                                        <p:tav tm="100000">
                                          <p:val>
                                            <p:fltVal val="1"/>
                                          </p:val>
                                        </p:tav>
                                      </p:tavLst>
                                    </p:anim>
                                    <p:animScale>
                                      <p:cBhvr>
                                        <p:cTn id="65" dur="20">
                                          <p:stCondLst>
                                            <p:cond delay="487"/>
                                          </p:stCondLst>
                                        </p:cTn>
                                        <p:tgtEl>
                                          <p:spTgt spid="6"/>
                                        </p:tgtEl>
                                      </p:cBhvr>
                                      <p:to x="100000" y="60000"/>
                                    </p:animScale>
                                    <p:animScale>
                                      <p:cBhvr>
                                        <p:cTn id="66" dur="124" decel="50000">
                                          <p:stCondLst>
                                            <p:cond delay="507"/>
                                          </p:stCondLst>
                                        </p:cTn>
                                        <p:tgtEl>
                                          <p:spTgt spid="6"/>
                                        </p:tgtEl>
                                      </p:cBhvr>
                                      <p:to x="100000" y="100000"/>
                                    </p:animScale>
                                    <p:animScale>
                                      <p:cBhvr>
                                        <p:cTn id="67" dur="20">
                                          <p:stCondLst>
                                            <p:cond delay="984"/>
                                          </p:stCondLst>
                                        </p:cTn>
                                        <p:tgtEl>
                                          <p:spTgt spid="6"/>
                                        </p:tgtEl>
                                      </p:cBhvr>
                                      <p:to x="100000" y="80000"/>
                                    </p:animScale>
                                    <p:animScale>
                                      <p:cBhvr>
                                        <p:cTn id="68" dur="124" decel="50000">
                                          <p:stCondLst>
                                            <p:cond delay="1004"/>
                                          </p:stCondLst>
                                        </p:cTn>
                                        <p:tgtEl>
                                          <p:spTgt spid="6"/>
                                        </p:tgtEl>
                                      </p:cBhvr>
                                      <p:to x="100000" y="100000"/>
                                    </p:animScale>
                                    <p:animScale>
                                      <p:cBhvr>
                                        <p:cTn id="69" dur="20">
                                          <p:stCondLst>
                                            <p:cond delay="1231"/>
                                          </p:stCondLst>
                                        </p:cTn>
                                        <p:tgtEl>
                                          <p:spTgt spid="6"/>
                                        </p:tgtEl>
                                      </p:cBhvr>
                                      <p:to x="100000" y="90000"/>
                                    </p:animScale>
                                    <p:animScale>
                                      <p:cBhvr>
                                        <p:cTn id="70" dur="124" decel="50000">
                                          <p:stCondLst>
                                            <p:cond delay="1251"/>
                                          </p:stCondLst>
                                        </p:cTn>
                                        <p:tgtEl>
                                          <p:spTgt spid="6"/>
                                        </p:tgtEl>
                                      </p:cBhvr>
                                      <p:to x="100000" y="100000"/>
                                    </p:animScale>
                                    <p:animScale>
                                      <p:cBhvr>
                                        <p:cTn id="71" dur="20">
                                          <p:stCondLst>
                                            <p:cond delay="1356"/>
                                          </p:stCondLst>
                                        </p:cTn>
                                        <p:tgtEl>
                                          <p:spTgt spid="6"/>
                                        </p:tgtEl>
                                      </p:cBhvr>
                                      <p:to x="100000" y="95000"/>
                                    </p:animScale>
                                    <p:animScale>
                                      <p:cBhvr>
                                        <p:cTn id="72" dur="124" decel="50000">
                                          <p:stCondLst>
                                            <p:cond delay="1376"/>
                                          </p:stCondLst>
                                        </p:cTn>
                                        <p:tgtEl>
                                          <p:spTgt spid="6"/>
                                        </p:tgtEl>
                                      </p:cBhvr>
                                      <p:to x="100000" y="100000"/>
                                    </p:animScale>
                                  </p:childTnLst>
                                </p:cTn>
                              </p:par>
                            </p:childTnLst>
                          </p:cTn>
                        </p:par>
                        <p:par>
                          <p:cTn id="73" fill="hold">
                            <p:stCondLst>
                              <p:cond delay="2500"/>
                            </p:stCondLst>
                            <p:childTnLst>
                              <p:par>
                                <p:cTn id="74" presetID="42"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fade">
                                      <p:cBhvr>
                                        <p:cTn id="76" dur="500"/>
                                        <p:tgtEl>
                                          <p:spTgt spid="14"/>
                                        </p:tgtEl>
                                      </p:cBhvr>
                                    </p:animEffect>
                                    <p:anim calcmode="lin" valueType="num">
                                      <p:cBhvr>
                                        <p:cTn id="77" dur="500" fill="hold"/>
                                        <p:tgtEl>
                                          <p:spTgt spid="14"/>
                                        </p:tgtEl>
                                        <p:attrNameLst>
                                          <p:attrName>ppt_x</p:attrName>
                                        </p:attrNameLst>
                                      </p:cBhvr>
                                      <p:tavLst>
                                        <p:tav tm="0">
                                          <p:val>
                                            <p:strVal val="#ppt_x"/>
                                          </p:val>
                                        </p:tav>
                                        <p:tav tm="100000">
                                          <p:val>
                                            <p:strVal val="#ppt_x"/>
                                          </p:val>
                                        </p:tav>
                                      </p:tavLst>
                                    </p:anim>
                                    <p:anim calcmode="lin" valueType="num">
                                      <p:cBhvr>
                                        <p:cTn id="78" dur="500" fill="hold"/>
                                        <p:tgtEl>
                                          <p:spTgt spid="14"/>
                                        </p:tgtEl>
                                        <p:attrNameLst>
                                          <p:attrName>ppt_y</p:attrName>
                                        </p:attrNameLst>
                                      </p:cBhvr>
                                      <p:tavLst>
                                        <p:tav tm="0">
                                          <p:val>
                                            <p:strVal val="#ppt_y+.1"/>
                                          </p:val>
                                        </p:tav>
                                        <p:tav tm="100000">
                                          <p:val>
                                            <p:strVal val="#ppt_y"/>
                                          </p:val>
                                        </p:tav>
                                      </p:tavLst>
                                    </p:anim>
                                  </p:childTnLst>
                                </p:cTn>
                              </p:par>
                            </p:childTnLst>
                          </p:cTn>
                        </p:par>
                        <p:par>
                          <p:cTn id="79" fill="hold">
                            <p:stCondLst>
                              <p:cond delay="3000"/>
                            </p:stCondLst>
                            <p:childTnLst>
                              <p:par>
                                <p:cTn id="80" presetID="42" presetClass="entr" presetSubtype="0" fill="hold" grpId="0" nodeType="afterEffect">
                                  <p:stCondLst>
                                    <p:cond delay="0"/>
                                  </p:stCondLst>
                                  <p:childTnLst>
                                    <p:set>
                                      <p:cBhvr>
                                        <p:cTn id="81" dur="1" fill="hold">
                                          <p:stCondLst>
                                            <p:cond delay="0"/>
                                          </p:stCondLst>
                                        </p:cTn>
                                        <p:tgtEl>
                                          <p:spTgt spid="76"/>
                                        </p:tgtEl>
                                        <p:attrNameLst>
                                          <p:attrName>style.visibility</p:attrName>
                                        </p:attrNameLst>
                                      </p:cBhvr>
                                      <p:to>
                                        <p:strVal val="visible"/>
                                      </p:to>
                                    </p:set>
                                    <p:animEffect transition="in" filter="fade">
                                      <p:cBhvr>
                                        <p:cTn id="82" dur="500"/>
                                        <p:tgtEl>
                                          <p:spTgt spid="76"/>
                                        </p:tgtEl>
                                      </p:cBhvr>
                                    </p:animEffect>
                                    <p:anim calcmode="lin" valueType="num">
                                      <p:cBhvr>
                                        <p:cTn id="83" dur="500" fill="hold"/>
                                        <p:tgtEl>
                                          <p:spTgt spid="76"/>
                                        </p:tgtEl>
                                        <p:attrNameLst>
                                          <p:attrName>ppt_x</p:attrName>
                                        </p:attrNameLst>
                                      </p:cBhvr>
                                      <p:tavLst>
                                        <p:tav tm="0">
                                          <p:val>
                                            <p:strVal val="#ppt_x"/>
                                          </p:val>
                                        </p:tav>
                                        <p:tav tm="100000">
                                          <p:val>
                                            <p:strVal val="#ppt_x"/>
                                          </p:val>
                                        </p:tav>
                                      </p:tavLst>
                                    </p:anim>
                                    <p:anim calcmode="lin" valueType="num">
                                      <p:cBhvr>
                                        <p:cTn id="84" dur="500" fill="hold"/>
                                        <p:tgtEl>
                                          <p:spTgt spid="76"/>
                                        </p:tgtEl>
                                        <p:attrNameLst>
                                          <p:attrName>ppt_y</p:attrName>
                                        </p:attrNameLst>
                                      </p:cBhvr>
                                      <p:tavLst>
                                        <p:tav tm="0">
                                          <p:val>
                                            <p:strVal val="#ppt_y+.1"/>
                                          </p:val>
                                        </p:tav>
                                        <p:tav tm="100000">
                                          <p:val>
                                            <p:strVal val="#ppt_y"/>
                                          </p:val>
                                        </p:tav>
                                      </p:tavLst>
                                    </p:anim>
                                  </p:childTnLst>
                                </p:cTn>
                              </p:par>
                            </p:childTnLst>
                          </p:cTn>
                        </p:par>
                        <p:par>
                          <p:cTn id="85" fill="hold">
                            <p:stCondLst>
                              <p:cond delay="3500"/>
                            </p:stCondLst>
                            <p:childTnLst>
                              <p:par>
                                <p:cTn id="86" presetID="42" presetClass="entr" presetSubtype="0" fill="hold" nodeType="afterEffect">
                                  <p:stCondLst>
                                    <p:cond delay="0"/>
                                  </p:stCondLst>
                                  <p:childTnLst>
                                    <p:set>
                                      <p:cBhvr>
                                        <p:cTn id="87" dur="1" fill="hold">
                                          <p:stCondLst>
                                            <p:cond delay="0"/>
                                          </p:stCondLst>
                                        </p:cTn>
                                        <p:tgtEl>
                                          <p:spTgt spid="15"/>
                                        </p:tgtEl>
                                        <p:attrNameLst>
                                          <p:attrName>style.visibility</p:attrName>
                                        </p:attrNameLst>
                                      </p:cBhvr>
                                      <p:to>
                                        <p:strVal val="visible"/>
                                      </p:to>
                                    </p:set>
                                    <p:animEffect transition="in" filter="fade">
                                      <p:cBhvr>
                                        <p:cTn id="88" dur="500"/>
                                        <p:tgtEl>
                                          <p:spTgt spid="15"/>
                                        </p:tgtEl>
                                      </p:cBhvr>
                                    </p:animEffect>
                                    <p:anim calcmode="lin" valueType="num">
                                      <p:cBhvr>
                                        <p:cTn id="89" dur="500" fill="hold"/>
                                        <p:tgtEl>
                                          <p:spTgt spid="15"/>
                                        </p:tgtEl>
                                        <p:attrNameLst>
                                          <p:attrName>ppt_x</p:attrName>
                                        </p:attrNameLst>
                                      </p:cBhvr>
                                      <p:tavLst>
                                        <p:tav tm="0">
                                          <p:val>
                                            <p:strVal val="#ppt_x"/>
                                          </p:val>
                                        </p:tav>
                                        <p:tav tm="100000">
                                          <p:val>
                                            <p:strVal val="#ppt_x"/>
                                          </p:val>
                                        </p:tav>
                                      </p:tavLst>
                                    </p:anim>
                                    <p:anim calcmode="lin" valueType="num">
                                      <p:cBhvr>
                                        <p:cTn id="90" dur="500" fill="hold"/>
                                        <p:tgtEl>
                                          <p:spTgt spid="15"/>
                                        </p:tgtEl>
                                        <p:attrNameLst>
                                          <p:attrName>ppt_y</p:attrName>
                                        </p:attrNameLst>
                                      </p:cBhvr>
                                      <p:tavLst>
                                        <p:tav tm="0">
                                          <p:val>
                                            <p:strVal val="#ppt_y+.1"/>
                                          </p:val>
                                        </p:tav>
                                        <p:tav tm="100000">
                                          <p:val>
                                            <p:strVal val="#ppt_y"/>
                                          </p:val>
                                        </p:tav>
                                      </p:tavLst>
                                    </p:anim>
                                  </p:childTnLst>
                                </p:cTn>
                              </p:par>
                            </p:childTnLst>
                          </p:cTn>
                        </p:par>
                        <p:par>
                          <p:cTn id="91" fill="hold">
                            <p:stCondLst>
                              <p:cond delay="4000"/>
                            </p:stCondLst>
                            <p:childTnLst>
                              <p:par>
                                <p:cTn id="92" presetID="42" presetClass="entr" presetSubtype="0" fill="hold" grpId="0" nodeType="afterEffect">
                                  <p:stCondLst>
                                    <p:cond delay="0"/>
                                  </p:stCondLst>
                                  <p:childTnLst>
                                    <p:set>
                                      <p:cBhvr>
                                        <p:cTn id="93" dur="1" fill="hold">
                                          <p:stCondLst>
                                            <p:cond delay="0"/>
                                          </p:stCondLst>
                                        </p:cTn>
                                        <p:tgtEl>
                                          <p:spTgt spid="77"/>
                                        </p:tgtEl>
                                        <p:attrNameLst>
                                          <p:attrName>style.visibility</p:attrName>
                                        </p:attrNameLst>
                                      </p:cBhvr>
                                      <p:to>
                                        <p:strVal val="visible"/>
                                      </p:to>
                                    </p:set>
                                    <p:animEffect transition="in" filter="fade">
                                      <p:cBhvr>
                                        <p:cTn id="94" dur="500"/>
                                        <p:tgtEl>
                                          <p:spTgt spid="77"/>
                                        </p:tgtEl>
                                      </p:cBhvr>
                                    </p:animEffect>
                                    <p:anim calcmode="lin" valueType="num">
                                      <p:cBhvr>
                                        <p:cTn id="95" dur="500" fill="hold"/>
                                        <p:tgtEl>
                                          <p:spTgt spid="77"/>
                                        </p:tgtEl>
                                        <p:attrNameLst>
                                          <p:attrName>ppt_x</p:attrName>
                                        </p:attrNameLst>
                                      </p:cBhvr>
                                      <p:tavLst>
                                        <p:tav tm="0">
                                          <p:val>
                                            <p:strVal val="#ppt_x"/>
                                          </p:val>
                                        </p:tav>
                                        <p:tav tm="100000">
                                          <p:val>
                                            <p:strVal val="#ppt_x"/>
                                          </p:val>
                                        </p:tav>
                                      </p:tavLst>
                                    </p:anim>
                                    <p:anim calcmode="lin" valueType="num">
                                      <p:cBhvr>
                                        <p:cTn id="96" dur="500" fill="hold"/>
                                        <p:tgtEl>
                                          <p:spTgt spid="7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左箭头 15"/>
          <p:cNvSpPr/>
          <p:nvPr/>
        </p:nvSpPr>
        <p:spPr>
          <a:xfrm flipH="1">
            <a:off x="6044088" y="553770"/>
            <a:ext cx="2491650" cy="231367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17" name="椭圆 16"/>
          <p:cNvSpPr/>
          <p:nvPr/>
        </p:nvSpPr>
        <p:spPr bwMode="auto">
          <a:xfrm>
            <a:off x="6242829" y="267494"/>
            <a:ext cx="1779750" cy="1779750"/>
          </a:xfrm>
          <a:prstGeom prst="ellipse">
            <a:avLst/>
          </a:prstGeom>
          <a:solidFill>
            <a:schemeClr val="bg2"/>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endParaRPr lang="zh-CN" altLang="en-US" sz="1500" b="1" dirty="0">
              <a:solidFill>
                <a:schemeClr val="bg1"/>
              </a:solidFill>
              <a:effectLst/>
              <a:latin typeface="微软雅黑" panose="020B0503020204020204" pitchFamily="34" charset="-122"/>
              <a:ea typeface="微软雅黑" panose="020B0503020204020204" pitchFamily="34" charset="-122"/>
            </a:endParaRPr>
          </a:p>
        </p:txBody>
      </p:sp>
      <p:sp>
        <p:nvSpPr>
          <p:cNvPr id="18" name="TextBox 17"/>
          <p:cNvSpPr txBox="1"/>
          <p:nvPr/>
        </p:nvSpPr>
        <p:spPr bwMode="auto">
          <a:xfrm>
            <a:off x="6231761" y="1012272"/>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
        <p:nvSpPr>
          <p:cNvPr id="19" name="矩形 18"/>
          <p:cNvSpPr/>
          <p:nvPr/>
        </p:nvSpPr>
        <p:spPr bwMode="auto">
          <a:xfrm>
            <a:off x="6219532" y="2043145"/>
            <a:ext cx="1601775" cy="1958791"/>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20" name="矩形 19"/>
          <p:cNvSpPr/>
          <p:nvPr/>
        </p:nvSpPr>
        <p:spPr>
          <a:xfrm>
            <a:off x="6383306" y="2492310"/>
            <a:ext cx="1414246" cy="954107"/>
          </a:xfrm>
          <a:prstGeom prst="rect">
            <a:avLst/>
          </a:prstGeom>
        </p:spPr>
        <p:txBody>
          <a:bodyPr>
            <a:spAutoFit/>
          </a:bodyPr>
          <a:lstStyle/>
          <a:p>
            <a:pPr marL="0" lvl="2"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点击添加文本</a:t>
            </a:r>
          </a:p>
        </p:txBody>
      </p:sp>
      <p:sp>
        <p:nvSpPr>
          <p:cNvPr id="21" name="左箭头 20"/>
          <p:cNvSpPr/>
          <p:nvPr/>
        </p:nvSpPr>
        <p:spPr>
          <a:xfrm flipH="1">
            <a:off x="3471840" y="923864"/>
            <a:ext cx="2491650" cy="231367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22" name="椭圆 21"/>
          <p:cNvSpPr/>
          <p:nvPr/>
        </p:nvSpPr>
        <p:spPr bwMode="auto">
          <a:xfrm>
            <a:off x="3640724" y="682008"/>
            <a:ext cx="1779750" cy="1779750"/>
          </a:xfrm>
          <a:prstGeom prst="ellipse">
            <a:avLst/>
          </a:prstGeom>
          <a:solidFill>
            <a:srgbClr val="3A9707"/>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effectLst/>
              <a:latin typeface="微软雅黑" panose="020B0503020204020204" pitchFamily="34" charset="-122"/>
              <a:ea typeface="微软雅黑" panose="020B0503020204020204" pitchFamily="34" charset="-122"/>
            </a:endParaRPr>
          </a:p>
        </p:txBody>
      </p:sp>
      <p:sp>
        <p:nvSpPr>
          <p:cNvPr id="23" name="TextBox 22"/>
          <p:cNvSpPr txBox="1"/>
          <p:nvPr/>
        </p:nvSpPr>
        <p:spPr bwMode="auto">
          <a:xfrm>
            <a:off x="3652835" y="1395870"/>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
        <p:nvSpPr>
          <p:cNvPr id="24" name="矩形 23"/>
          <p:cNvSpPr/>
          <p:nvPr/>
        </p:nvSpPr>
        <p:spPr bwMode="auto">
          <a:xfrm>
            <a:off x="3649946" y="2411928"/>
            <a:ext cx="1601775" cy="1958791"/>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accent2"/>
              </a:solidFill>
              <a:effectLst/>
              <a:latin typeface="微软雅黑" panose="020B0503020204020204" pitchFamily="34" charset="-122"/>
              <a:ea typeface="微软雅黑" panose="020B0503020204020204" pitchFamily="34" charset="-122"/>
            </a:endParaRPr>
          </a:p>
        </p:txBody>
      </p:sp>
      <p:sp>
        <p:nvSpPr>
          <p:cNvPr id="25" name="矩形 24"/>
          <p:cNvSpPr/>
          <p:nvPr/>
        </p:nvSpPr>
        <p:spPr>
          <a:xfrm>
            <a:off x="3791018" y="2853037"/>
            <a:ext cx="1414246" cy="954107"/>
          </a:xfrm>
          <a:prstGeom prst="rect">
            <a:avLst/>
          </a:prstGeom>
        </p:spPr>
        <p:txBody>
          <a:bodyPr>
            <a:spAutoFit/>
          </a:bodyPr>
          <a:lstStyle/>
          <a:p>
            <a:pPr marL="0" lvl="2"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点击添加文本</a:t>
            </a:r>
          </a:p>
        </p:txBody>
      </p:sp>
      <p:sp>
        <p:nvSpPr>
          <p:cNvPr id="26" name="左箭头 25"/>
          <p:cNvSpPr/>
          <p:nvPr/>
        </p:nvSpPr>
        <p:spPr>
          <a:xfrm flipH="1">
            <a:off x="899592" y="1343925"/>
            <a:ext cx="2491650" cy="2313675"/>
          </a:xfrm>
          <a:prstGeom prst="leftArrow">
            <a:avLst>
              <a:gd name="adj1" fmla="val 70395"/>
              <a:gd name="adj2" fmla="val 30068"/>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073600" lon="0" rev="0"/>
            </a:camera>
            <a:lightRig rig="flat" dir="t"/>
          </a:scene3d>
          <a:sp3d extrusionH="1016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27" name="椭圆 26"/>
          <p:cNvSpPr/>
          <p:nvPr/>
        </p:nvSpPr>
        <p:spPr bwMode="auto">
          <a:xfrm>
            <a:off x="1062529" y="1086763"/>
            <a:ext cx="1779750" cy="1779750"/>
          </a:xfrm>
          <a:prstGeom prst="ellipse">
            <a:avLst/>
          </a:prstGeom>
          <a:solidFill>
            <a:srgbClr val="7D7D7D"/>
          </a:solidFill>
          <a:ln w="0">
            <a:noFill/>
          </a:ln>
          <a:effectLst>
            <a:outerShdw blurRad="225425" dist="38100" dir="5220000" algn="ctr">
              <a:srgbClr val="000000">
                <a:alpha val="33000"/>
              </a:srgbClr>
            </a:outerShdw>
          </a:effectLst>
          <a:scene3d>
            <a:camera prst="orthographicFront">
              <a:rot lat="17399997" lon="0" rev="0"/>
            </a:camera>
            <a:lightRig rig="flat" dir="t"/>
          </a:scene3d>
          <a:sp3d extrusionH="127000">
            <a:bevelT w="254000" h="254000" prst="artDeco"/>
            <a:extrusionClr>
              <a:schemeClr val="bg1">
                <a:lumMod val="85000"/>
              </a:schemeClr>
            </a:extrusionClr>
            <a:contourClr>
              <a:srgbClr val="89FF8C"/>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effectLst/>
              <a:latin typeface="微软雅黑" panose="020B0503020204020204" pitchFamily="34" charset="-122"/>
              <a:ea typeface="微软雅黑" panose="020B0503020204020204" pitchFamily="34" charset="-122"/>
            </a:endParaRPr>
          </a:p>
        </p:txBody>
      </p:sp>
      <p:sp>
        <p:nvSpPr>
          <p:cNvPr id="28" name="TextBox 27"/>
          <p:cNvSpPr txBox="1"/>
          <p:nvPr/>
        </p:nvSpPr>
        <p:spPr bwMode="auto">
          <a:xfrm>
            <a:off x="1074639" y="1804032"/>
            <a:ext cx="1755530" cy="338554"/>
          </a:xfrm>
          <a:prstGeom prst="rect">
            <a:avLst/>
          </a:prstGeom>
          <a:noFill/>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
        <p:nvSpPr>
          <p:cNvPr id="29" name="矩形 28"/>
          <p:cNvSpPr/>
          <p:nvPr/>
        </p:nvSpPr>
        <p:spPr bwMode="auto">
          <a:xfrm>
            <a:off x="1080363" y="2845207"/>
            <a:ext cx="1601775" cy="1958791"/>
          </a:xfrm>
          <a:prstGeom prst="rect">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accent2"/>
              </a:solidFill>
              <a:effectLst/>
              <a:latin typeface="微软雅黑" panose="020B0503020204020204" pitchFamily="34" charset="-122"/>
              <a:ea typeface="微软雅黑" panose="020B0503020204020204" pitchFamily="34" charset="-122"/>
            </a:endParaRPr>
          </a:p>
        </p:txBody>
      </p:sp>
      <p:sp>
        <p:nvSpPr>
          <p:cNvPr id="30" name="矩形 29"/>
          <p:cNvSpPr/>
          <p:nvPr/>
        </p:nvSpPr>
        <p:spPr>
          <a:xfrm>
            <a:off x="1198730" y="3284711"/>
            <a:ext cx="1414246" cy="954107"/>
          </a:xfrm>
          <a:prstGeom prst="rect">
            <a:avLst/>
          </a:prstGeom>
        </p:spPr>
        <p:txBody>
          <a:bodyPr>
            <a:spAutoFit/>
          </a:bodyPr>
          <a:lstStyle/>
          <a:p>
            <a:pPr marL="0" lvl="2"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点击添加文本</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slide(fromBottom)">
                                      <p:cBhvr>
                                        <p:cTn id="12" dur="500"/>
                                        <p:tgtEl>
                                          <p:spTgt spid="28"/>
                                        </p:tgtEl>
                                      </p:cBhvr>
                                    </p:animEffect>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 calcmode="lin" valueType="num">
                                      <p:cBhvr additive="base">
                                        <p:cTn id="16" dur="500" fill="hold"/>
                                        <p:tgtEl>
                                          <p:spTgt spid="26"/>
                                        </p:tgtEl>
                                        <p:attrNameLst>
                                          <p:attrName>ppt_x</p:attrName>
                                        </p:attrNameLst>
                                      </p:cBhvr>
                                      <p:tavLst>
                                        <p:tav tm="0">
                                          <p:val>
                                            <p:strVal val="0-#ppt_w/2"/>
                                          </p:val>
                                        </p:tav>
                                        <p:tav tm="100000">
                                          <p:val>
                                            <p:strVal val="#ppt_x"/>
                                          </p:val>
                                        </p:tav>
                                      </p:tavLst>
                                    </p:anim>
                                    <p:anim calcmode="lin" valueType="num">
                                      <p:cBhvr additive="base">
                                        <p:cTn id="17" dur="500" fill="hold"/>
                                        <p:tgtEl>
                                          <p:spTgt spid="26"/>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2" presetClass="entr" presetSubtype="1"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slide(fromTop)">
                                      <p:cBhvr>
                                        <p:cTn id="21" dur="500"/>
                                        <p:tgtEl>
                                          <p:spTgt spid="29"/>
                                        </p:tgtEl>
                                      </p:cBhvr>
                                    </p:animEffect>
                                  </p:childTnLst>
                                </p:cTn>
                              </p:par>
                            </p:childTnLst>
                          </p:cTn>
                        </p:par>
                        <p:par>
                          <p:cTn id="22" fill="hold">
                            <p:stCondLst>
                              <p:cond delay="2000"/>
                            </p:stCondLst>
                            <p:childTnLst>
                              <p:par>
                                <p:cTn id="23" presetID="12" presetClass="entr" presetSubtype="4"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slide(fromBottom)">
                                      <p:cBhvr>
                                        <p:cTn id="25" dur="500"/>
                                        <p:tgtEl>
                                          <p:spTgt spid="30"/>
                                        </p:tgtEl>
                                      </p:cBhvr>
                                    </p:animEffect>
                                  </p:childTnLst>
                                </p:cTn>
                              </p:par>
                            </p:childTnLst>
                          </p:cTn>
                        </p:par>
                        <p:par>
                          <p:cTn id="26" fill="hold">
                            <p:stCondLst>
                              <p:cond delay="2500"/>
                            </p:stCondLst>
                            <p:childTnLst>
                              <p:par>
                                <p:cTn id="27" presetID="2" presetClass="entr" presetSubtype="8"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500" fill="hold"/>
                                        <p:tgtEl>
                                          <p:spTgt spid="22"/>
                                        </p:tgtEl>
                                        <p:attrNameLst>
                                          <p:attrName>ppt_x</p:attrName>
                                        </p:attrNameLst>
                                      </p:cBhvr>
                                      <p:tavLst>
                                        <p:tav tm="0">
                                          <p:val>
                                            <p:strVal val="0-#ppt_w/2"/>
                                          </p:val>
                                        </p:tav>
                                        <p:tav tm="100000">
                                          <p:val>
                                            <p:strVal val="#ppt_x"/>
                                          </p:val>
                                        </p:tav>
                                      </p:tavLst>
                                    </p:anim>
                                    <p:anim calcmode="lin" valueType="num">
                                      <p:cBhvr additive="base">
                                        <p:cTn id="30" dur="500" fill="hold"/>
                                        <p:tgtEl>
                                          <p:spTgt spid="22"/>
                                        </p:tgtEl>
                                        <p:attrNameLst>
                                          <p:attrName>ppt_y</p:attrName>
                                        </p:attrNameLst>
                                      </p:cBhvr>
                                      <p:tavLst>
                                        <p:tav tm="0">
                                          <p:val>
                                            <p:strVal val="#ppt_y"/>
                                          </p:val>
                                        </p:tav>
                                        <p:tav tm="100000">
                                          <p:val>
                                            <p:strVal val="#ppt_y"/>
                                          </p:val>
                                        </p:tav>
                                      </p:tavLst>
                                    </p:anim>
                                  </p:childTnLst>
                                </p:cTn>
                              </p:par>
                            </p:childTnLst>
                          </p:cTn>
                        </p:par>
                        <p:par>
                          <p:cTn id="31" fill="hold">
                            <p:stCondLst>
                              <p:cond delay="3000"/>
                            </p:stCondLst>
                            <p:childTnLst>
                              <p:par>
                                <p:cTn id="32" presetID="12" presetClass="entr" presetSubtype="4"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slide(fromBottom)">
                                      <p:cBhvr>
                                        <p:cTn id="34" dur="500"/>
                                        <p:tgtEl>
                                          <p:spTgt spid="23"/>
                                        </p:tgtEl>
                                      </p:cBhvr>
                                    </p:animEffect>
                                  </p:childTnLst>
                                </p:cTn>
                              </p:par>
                            </p:childTnLst>
                          </p:cTn>
                        </p:par>
                        <p:par>
                          <p:cTn id="35" fill="hold">
                            <p:stCondLst>
                              <p:cond delay="3500"/>
                            </p:stCondLst>
                            <p:childTnLst>
                              <p:par>
                                <p:cTn id="36" presetID="2" presetClass="entr" presetSubtype="8"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anim calcmode="lin" valueType="num">
                                      <p:cBhvr additive="base">
                                        <p:cTn id="38" dur="500" fill="hold"/>
                                        <p:tgtEl>
                                          <p:spTgt spid="21"/>
                                        </p:tgtEl>
                                        <p:attrNameLst>
                                          <p:attrName>ppt_x</p:attrName>
                                        </p:attrNameLst>
                                      </p:cBhvr>
                                      <p:tavLst>
                                        <p:tav tm="0">
                                          <p:val>
                                            <p:strVal val="0-#ppt_w/2"/>
                                          </p:val>
                                        </p:tav>
                                        <p:tav tm="100000">
                                          <p:val>
                                            <p:strVal val="#ppt_x"/>
                                          </p:val>
                                        </p:tav>
                                      </p:tavLst>
                                    </p:anim>
                                    <p:anim calcmode="lin" valueType="num">
                                      <p:cBhvr additive="base">
                                        <p:cTn id="39" dur="500" fill="hold"/>
                                        <p:tgtEl>
                                          <p:spTgt spid="21"/>
                                        </p:tgtEl>
                                        <p:attrNameLst>
                                          <p:attrName>ppt_y</p:attrName>
                                        </p:attrNameLst>
                                      </p:cBhvr>
                                      <p:tavLst>
                                        <p:tav tm="0">
                                          <p:val>
                                            <p:strVal val="#ppt_y"/>
                                          </p:val>
                                        </p:tav>
                                        <p:tav tm="100000">
                                          <p:val>
                                            <p:strVal val="#ppt_y"/>
                                          </p:val>
                                        </p:tav>
                                      </p:tavLst>
                                    </p:anim>
                                  </p:childTnLst>
                                </p:cTn>
                              </p:par>
                            </p:childTnLst>
                          </p:cTn>
                        </p:par>
                        <p:par>
                          <p:cTn id="40" fill="hold">
                            <p:stCondLst>
                              <p:cond delay="4000"/>
                            </p:stCondLst>
                            <p:childTnLst>
                              <p:par>
                                <p:cTn id="41" presetID="12" presetClass="entr" presetSubtype="1" fill="hold" grpId="0"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slide(fromTop)">
                                      <p:cBhvr>
                                        <p:cTn id="43" dur="500"/>
                                        <p:tgtEl>
                                          <p:spTgt spid="24"/>
                                        </p:tgtEl>
                                      </p:cBhvr>
                                    </p:animEffect>
                                  </p:childTnLst>
                                </p:cTn>
                              </p:par>
                            </p:childTnLst>
                          </p:cTn>
                        </p:par>
                        <p:par>
                          <p:cTn id="44" fill="hold">
                            <p:stCondLst>
                              <p:cond delay="4500"/>
                            </p:stCondLst>
                            <p:childTnLst>
                              <p:par>
                                <p:cTn id="45" presetID="12" presetClass="entr" presetSubtype="4" fill="hold" grpId="0" nodeType="after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slide(fromBottom)">
                                      <p:cBhvr>
                                        <p:cTn id="47" dur="500"/>
                                        <p:tgtEl>
                                          <p:spTgt spid="25"/>
                                        </p:tgtEl>
                                      </p:cBhvr>
                                    </p:animEffect>
                                  </p:childTnLst>
                                </p:cTn>
                              </p:par>
                            </p:childTnLst>
                          </p:cTn>
                        </p:par>
                        <p:par>
                          <p:cTn id="48" fill="hold">
                            <p:stCondLst>
                              <p:cond delay="5000"/>
                            </p:stCondLst>
                            <p:childTnLst>
                              <p:par>
                                <p:cTn id="49" presetID="2" presetClass="entr" presetSubtype="8" fill="hold" grpId="0" nodeType="afterEffect">
                                  <p:stCondLst>
                                    <p:cond delay="0"/>
                                  </p:stCondLst>
                                  <p:childTnLst>
                                    <p:set>
                                      <p:cBhvr>
                                        <p:cTn id="50" dur="1" fill="hold">
                                          <p:stCondLst>
                                            <p:cond delay="0"/>
                                          </p:stCondLst>
                                        </p:cTn>
                                        <p:tgtEl>
                                          <p:spTgt spid="17"/>
                                        </p:tgtEl>
                                        <p:attrNameLst>
                                          <p:attrName>style.visibility</p:attrName>
                                        </p:attrNameLst>
                                      </p:cBhvr>
                                      <p:to>
                                        <p:strVal val="visible"/>
                                      </p:to>
                                    </p:set>
                                    <p:anim calcmode="lin" valueType="num">
                                      <p:cBhvr additive="base">
                                        <p:cTn id="51" dur="500" fill="hold"/>
                                        <p:tgtEl>
                                          <p:spTgt spid="17"/>
                                        </p:tgtEl>
                                        <p:attrNameLst>
                                          <p:attrName>ppt_x</p:attrName>
                                        </p:attrNameLst>
                                      </p:cBhvr>
                                      <p:tavLst>
                                        <p:tav tm="0">
                                          <p:val>
                                            <p:strVal val="0-#ppt_w/2"/>
                                          </p:val>
                                        </p:tav>
                                        <p:tav tm="100000">
                                          <p:val>
                                            <p:strVal val="#ppt_x"/>
                                          </p:val>
                                        </p:tav>
                                      </p:tavLst>
                                    </p:anim>
                                    <p:anim calcmode="lin" valueType="num">
                                      <p:cBhvr additive="base">
                                        <p:cTn id="52" dur="500" fill="hold"/>
                                        <p:tgtEl>
                                          <p:spTgt spid="17"/>
                                        </p:tgtEl>
                                        <p:attrNameLst>
                                          <p:attrName>ppt_y</p:attrName>
                                        </p:attrNameLst>
                                      </p:cBhvr>
                                      <p:tavLst>
                                        <p:tav tm="0">
                                          <p:val>
                                            <p:strVal val="#ppt_y"/>
                                          </p:val>
                                        </p:tav>
                                        <p:tav tm="100000">
                                          <p:val>
                                            <p:strVal val="#ppt_y"/>
                                          </p:val>
                                        </p:tav>
                                      </p:tavLst>
                                    </p:anim>
                                  </p:childTnLst>
                                </p:cTn>
                              </p:par>
                            </p:childTnLst>
                          </p:cTn>
                        </p:par>
                        <p:par>
                          <p:cTn id="53" fill="hold">
                            <p:stCondLst>
                              <p:cond delay="5500"/>
                            </p:stCondLst>
                            <p:childTnLst>
                              <p:par>
                                <p:cTn id="54" presetID="12" presetClass="entr" presetSubtype="4"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slide(fromBottom)">
                                      <p:cBhvr>
                                        <p:cTn id="56" dur="500"/>
                                        <p:tgtEl>
                                          <p:spTgt spid="18"/>
                                        </p:tgtEl>
                                      </p:cBhvr>
                                    </p:animEffect>
                                  </p:childTnLst>
                                </p:cTn>
                              </p:par>
                            </p:childTnLst>
                          </p:cTn>
                        </p:par>
                        <p:par>
                          <p:cTn id="57" fill="hold">
                            <p:stCondLst>
                              <p:cond delay="6000"/>
                            </p:stCondLst>
                            <p:childTnLst>
                              <p:par>
                                <p:cTn id="58" presetID="2" presetClass="entr" presetSubtype="8" fill="hold" grpId="0" nodeType="afterEffect">
                                  <p:stCondLst>
                                    <p:cond delay="0"/>
                                  </p:stCondLst>
                                  <p:childTnLst>
                                    <p:set>
                                      <p:cBhvr>
                                        <p:cTn id="59" dur="1" fill="hold">
                                          <p:stCondLst>
                                            <p:cond delay="0"/>
                                          </p:stCondLst>
                                        </p:cTn>
                                        <p:tgtEl>
                                          <p:spTgt spid="16"/>
                                        </p:tgtEl>
                                        <p:attrNameLst>
                                          <p:attrName>style.visibility</p:attrName>
                                        </p:attrNameLst>
                                      </p:cBhvr>
                                      <p:to>
                                        <p:strVal val="visible"/>
                                      </p:to>
                                    </p:set>
                                    <p:anim calcmode="lin" valueType="num">
                                      <p:cBhvr additive="base">
                                        <p:cTn id="60" dur="500" fill="hold"/>
                                        <p:tgtEl>
                                          <p:spTgt spid="16"/>
                                        </p:tgtEl>
                                        <p:attrNameLst>
                                          <p:attrName>ppt_x</p:attrName>
                                        </p:attrNameLst>
                                      </p:cBhvr>
                                      <p:tavLst>
                                        <p:tav tm="0">
                                          <p:val>
                                            <p:strVal val="0-#ppt_w/2"/>
                                          </p:val>
                                        </p:tav>
                                        <p:tav tm="100000">
                                          <p:val>
                                            <p:strVal val="#ppt_x"/>
                                          </p:val>
                                        </p:tav>
                                      </p:tavLst>
                                    </p:anim>
                                    <p:anim calcmode="lin" valueType="num">
                                      <p:cBhvr additive="base">
                                        <p:cTn id="61" dur="500" fill="hold"/>
                                        <p:tgtEl>
                                          <p:spTgt spid="16"/>
                                        </p:tgtEl>
                                        <p:attrNameLst>
                                          <p:attrName>ppt_y</p:attrName>
                                        </p:attrNameLst>
                                      </p:cBhvr>
                                      <p:tavLst>
                                        <p:tav tm="0">
                                          <p:val>
                                            <p:strVal val="#ppt_y"/>
                                          </p:val>
                                        </p:tav>
                                        <p:tav tm="100000">
                                          <p:val>
                                            <p:strVal val="#ppt_y"/>
                                          </p:val>
                                        </p:tav>
                                      </p:tavLst>
                                    </p:anim>
                                  </p:childTnLst>
                                </p:cTn>
                              </p:par>
                            </p:childTnLst>
                          </p:cTn>
                        </p:par>
                        <p:par>
                          <p:cTn id="62" fill="hold">
                            <p:stCondLst>
                              <p:cond delay="6500"/>
                            </p:stCondLst>
                            <p:childTnLst>
                              <p:par>
                                <p:cTn id="63" presetID="12" presetClass="entr" presetSubtype="1" fill="hold" grpId="0" nodeType="afterEffect">
                                  <p:stCondLst>
                                    <p:cond delay="0"/>
                                  </p:stCondLst>
                                  <p:childTnLst>
                                    <p:set>
                                      <p:cBhvr>
                                        <p:cTn id="64" dur="1" fill="hold">
                                          <p:stCondLst>
                                            <p:cond delay="0"/>
                                          </p:stCondLst>
                                        </p:cTn>
                                        <p:tgtEl>
                                          <p:spTgt spid="19"/>
                                        </p:tgtEl>
                                        <p:attrNameLst>
                                          <p:attrName>style.visibility</p:attrName>
                                        </p:attrNameLst>
                                      </p:cBhvr>
                                      <p:to>
                                        <p:strVal val="visible"/>
                                      </p:to>
                                    </p:set>
                                    <p:animEffect transition="in" filter="slide(fromTop)">
                                      <p:cBhvr>
                                        <p:cTn id="65" dur="500"/>
                                        <p:tgtEl>
                                          <p:spTgt spid="19"/>
                                        </p:tgtEl>
                                      </p:cBhvr>
                                    </p:animEffect>
                                  </p:childTnLst>
                                </p:cTn>
                              </p:par>
                            </p:childTnLst>
                          </p:cTn>
                        </p:par>
                        <p:par>
                          <p:cTn id="66" fill="hold">
                            <p:stCondLst>
                              <p:cond delay="7000"/>
                            </p:stCondLst>
                            <p:childTnLst>
                              <p:par>
                                <p:cTn id="67" presetID="12" presetClass="entr" presetSubtype="4" fill="hold" grpId="0" nodeType="afterEffect">
                                  <p:stCondLst>
                                    <p:cond delay="0"/>
                                  </p:stCondLst>
                                  <p:childTnLst>
                                    <p:set>
                                      <p:cBhvr>
                                        <p:cTn id="68" dur="1" fill="hold">
                                          <p:stCondLst>
                                            <p:cond delay="0"/>
                                          </p:stCondLst>
                                        </p:cTn>
                                        <p:tgtEl>
                                          <p:spTgt spid="20"/>
                                        </p:tgtEl>
                                        <p:attrNameLst>
                                          <p:attrName>style.visibility</p:attrName>
                                        </p:attrNameLst>
                                      </p:cBhvr>
                                      <p:to>
                                        <p:strVal val="visible"/>
                                      </p:to>
                                    </p:set>
                                    <p:animEffect transition="in" filter="slide(fromBottom)">
                                      <p:cBhvr>
                                        <p:cTn id="6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p:bldP spid="19" grpId="0" animBg="1"/>
      <p:bldP spid="20" grpId="0"/>
      <p:bldP spid="21" grpId="0" animBg="1"/>
      <p:bldP spid="22" grpId="0" animBg="1"/>
      <p:bldP spid="23" grpId="0"/>
      <p:bldP spid="24" grpId="0" animBg="1"/>
      <p:bldP spid="25" grpId="0"/>
      <p:bldP spid="26" grpId="0" animBg="1"/>
      <p:bldP spid="27" grpId="0" animBg="1"/>
      <p:bldP spid="28" grpId="0"/>
      <p:bldP spid="29" grpId="0" animBg="1"/>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bwMode="auto">
          <a:xfrm>
            <a:off x="3699440" y="3471950"/>
            <a:ext cx="4377760" cy="900000"/>
          </a:xfrm>
          <a:prstGeom prst="roundRect">
            <a:avLst>
              <a:gd name="adj" fmla="val 9992"/>
            </a:avLst>
          </a:prstGeom>
          <a:effectLst/>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3" name="圆角矩形 2"/>
          <p:cNvSpPr/>
          <p:nvPr/>
        </p:nvSpPr>
        <p:spPr bwMode="auto">
          <a:xfrm>
            <a:off x="3699440" y="2343184"/>
            <a:ext cx="4377760" cy="900000"/>
          </a:xfrm>
          <a:prstGeom prst="roundRect">
            <a:avLst>
              <a:gd name="adj" fmla="val 9992"/>
            </a:avLst>
          </a:prstGeom>
          <a:effectLst/>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 name="圆角矩形 3"/>
          <p:cNvSpPr/>
          <p:nvPr/>
        </p:nvSpPr>
        <p:spPr bwMode="auto">
          <a:xfrm>
            <a:off x="3699440" y="1202937"/>
            <a:ext cx="4377760" cy="900000"/>
          </a:xfrm>
          <a:prstGeom prst="roundRect">
            <a:avLst>
              <a:gd name="adj" fmla="val 9992"/>
            </a:avLst>
          </a:prstGeom>
          <a:effectLst/>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solidFill>
                <a:schemeClr val="tx1"/>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3031348" y="1427844"/>
            <a:ext cx="1486270" cy="453571"/>
            <a:chOff x="3107548" y="2313694"/>
            <a:chExt cx="1486270" cy="453571"/>
          </a:xfr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effectLst/>
          <a:scene3d>
            <a:camera prst="orthographicFront">
              <a:rot lat="0" lon="0" rev="0"/>
            </a:camera>
            <a:lightRig rig="balanced" dir="t">
              <a:rot lat="0" lon="0" rev="8700000"/>
            </a:lightRig>
          </a:scene3d>
        </p:grpSpPr>
        <p:sp>
          <p:nvSpPr>
            <p:cNvPr id="6" name="五边形 5"/>
            <p:cNvSpPr/>
            <p:nvPr/>
          </p:nvSpPr>
          <p:spPr bwMode="auto">
            <a:xfrm>
              <a:off x="3107548" y="2313694"/>
              <a:ext cx="1486270" cy="453571"/>
            </a:xfrm>
            <a:prstGeom prst="homePlat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 name="TextBox 22"/>
            <p:cNvSpPr txBox="1">
              <a:spLocks noChangeArrowheads="1"/>
            </p:cNvSpPr>
            <p:nvPr/>
          </p:nvSpPr>
          <p:spPr bwMode="auto">
            <a:xfrm>
              <a:off x="3184525" y="2385862"/>
              <a:ext cx="1241425" cy="307975"/>
            </a:xfrm>
            <a:prstGeom prst="rect">
              <a:avLst/>
            </a:prstGeom>
            <a:noFill/>
            <a:ln w="9525">
              <a:noFill/>
              <a:miter lim="800000"/>
            </a:ln>
            <a:effectLst>
              <a:outerShdw blurRad="44450" dist="27940" dir="5400000" algn="ctr">
                <a:srgbClr val="000000">
                  <a:alpha val="32000"/>
                </a:srgbClr>
              </a:outerShdw>
            </a:effectLst>
            <a:sp3d>
              <a:bevelT w="190500" h="38100"/>
            </a:sp3d>
          </p:spPr>
          <p:txBody>
            <a:bodyPr>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文本</a:t>
              </a:r>
            </a:p>
          </p:txBody>
        </p:sp>
      </p:grpSp>
      <p:grpSp>
        <p:nvGrpSpPr>
          <p:cNvPr id="8" name="组合 7"/>
          <p:cNvGrpSpPr/>
          <p:nvPr/>
        </p:nvGrpSpPr>
        <p:grpSpPr>
          <a:xfrm>
            <a:off x="3031348" y="2569528"/>
            <a:ext cx="1486270" cy="453572"/>
            <a:chOff x="3107548" y="3455378"/>
            <a:chExt cx="1486270" cy="453572"/>
          </a:xfr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effectLst/>
          <a:scene3d>
            <a:camera prst="orthographicFront">
              <a:rot lat="0" lon="0" rev="0"/>
            </a:camera>
            <a:lightRig rig="balanced" dir="t">
              <a:rot lat="0" lon="0" rev="8700000"/>
            </a:lightRig>
          </a:scene3d>
        </p:grpSpPr>
        <p:sp>
          <p:nvSpPr>
            <p:cNvPr id="9" name="五边形 8"/>
            <p:cNvSpPr/>
            <p:nvPr/>
          </p:nvSpPr>
          <p:spPr bwMode="auto">
            <a:xfrm>
              <a:off x="3107548" y="3455378"/>
              <a:ext cx="1486270" cy="453572"/>
            </a:xfrm>
            <a:prstGeom prst="homePlat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0" name="TextBox 22"/>
            <p:cNvSpPr txBox="1">
              <a:spLocks noChangeArrowheads="1"/>
            </p:cNvSpPr>
            <p:nvPr/>
          </p:nvSpPr>
          <p:spPr bwMode="auto">
            <a:xfrm>
              <a:off x="3184525" y="3529608"/>
              <a:ext cx="1241425" cy="307975"/>
            </a:xfrm>
            <a:prstGeom prst="rect">
              <a:avLst/>
            </a:prstGeom>
            <a:noFill/>
            <a:ln w="9525">
              <a:noFill/>
              <a:miter lim="800000"/>
            </a:ln>
            <a:effectLst>
              <a:outerShdw blurRad="44450" dist="27940" dir="5400000" algn="ctr">
                <a:srgbClr val="000000">
                  <a:alpha val="32000"/>
                </a:srgbClr>
              </a:outerShdw>
            </a:effectLst>
            <a:sp3d>
              <a:bevelT w="190500" h="38100"/>
            </a:sp3d>
          </p:spPr>
          <p:txBody>
            <a:bodyPr>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文本</a:t>
              </a:r>
            </a:p>
          </p:txBody>
        </p:sp>
      </p:grpSp>
      <p:grpSp>
        <p:nvGrpSpPr>
          <p:cNvPr id="11" name="组合 10"/>
          <p:cNvGrpSpPr/>
          <p:nvPr/>
        </p:nvGrpSpPr>
        <p:grpSpPr>
          <a:xfrm>
            <a:off x="3031348" y="3711187"/>
            <a:ext cx="1486270" cy="453572"/>
            <a:chOff x="3107548" y="4597037"/>
            <a:chExt cx="1486270" cy="453572"/>
          </a:xfrm>
          <a:gradFill flip="none" rotWithShape="1">
            <a:gsLst>
              <a:gs pos="0">
                <a:srgbClr val="0099FF">
                  <a:shade val="30000"/>
                  <a:satMod val="115000"/>
                </a:srgbClr>
              </a:gs>
              <a:gs pos="50000">
                <a:srgbClr val="0099FF">
                  <a:shade val="67500"/>
                  <a:satMod val="115000"/>
                </a:srgbClr>
              </a:gs>
              <a:gs pos="100000">
                <a:srgbClr val="0099FF">
                  <a:shade val="100000"/>
                  <a:satMod val="115000"/>
                </a:srgbClr>
              </a:gs>
            </a:gsLst>
            <a:lin ang="16200000" scaled="1"/>
            <a:tileRect/>
          </a:gradFill>
          <a:effectLst/>
          <a:scene3d>
            <a:camera prst="orthographicFront">
              <a:rot lat="0" lon="0" rev="0"/>
            </a:camera>
            <a:lightRig rig="balanced" dir="t">
              <a:rot lat="0" lon="0" rev="8700000"/>
            </a:lightRig>
          </a:scene3d>
        </p:grpSpPr>
        <p:sp>
          <p:nvSpPr>
            <p:cNvPr id="12" name="五边形 11"/>
            <p:cNvSpPr/>
            <p:nvPr/>
          </p:nvSpPr>
          <p:spPr bwMode="auto">
            <a:xfrm>
              <a:off x="3107548" y="4597037"/>
              <a:ext cx="1486270" cy="453572"/>
            </a:xfrm>
            <a:prstGeom prst="homePlat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3" name="TextBox 22"/>
            <p:cNvSpPr txBox="1">
              <a:spLocks noChangeArrowheads="1"/>
            </p:cNvSpPr>
            <p:nvPr/>
          </p:nvSpPr>
          <p:spPr bwMode="auto">
            <a:xfrm>
              <a:off x="3184525" y="4670274"/>
              <a:ext cx="1241425" cy="307975"/>
            </a:xfrm>
            <a:prstGeom prst="rect">
              <a:avLst/>
            </a:prstGeom>
            <a:noFill/>
            <a:ln w="9525">
              <a:noFill/>
              <a:miter lim="800000"/>
            </a:ln>
            <a:effectLst>
              <a:outerShdw blurRad="44450" dist="27940" dir="5400000" algn="ctr">
                <a:srgbClr val="000000">
                  <a:alpha val="32000"/>
                </a:srgbClr>
              </a:outerShdw>
            </a:effectLst>
            <a:sp3d>
              <a:bevelT w="190500" h="38100"/>
            </a:sp3d>
          </p:spPr>
          <p:txBody>
            <a:bodyPr>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文本</a:t>
              </a:r>
            </a:p>
          </p:txBody>
        </p:sp>
      </p:grpSp>
      <p:grpSp>
        <p:nvGrpSpPr>
          <p:cNvPr id="14" name="组合 13"/>
          <p:cNvGrpSpPr/>
          <p:nvPr/>
        </p:nvGrpSpPr>
        <p:grpSpPr>
          <a:xfrm>
            <a:off x="4947856" y="1353962"/>
            <a:ext cx="2229232" cy="307975"/>
            <a:chOff x="5024056" y="2239812"/>
            <a:chExt cx="2229232" cy="307975"/>
          </a:xfrm>
          <a:effectLst/>
        </p:grpSpPr>
        <p:sp>
          <p:nvSpPr>
            <p:cNvPr id="15" name="TextBox 32"/>
            <p:cNvSpPr txBox="1">
              <a:spLocks noChangeArrowheads="1"/>
            </p:cNvSpPr>
            <p:nvPr/>
          </p:nvSpPr>
          <p:spPr bwMode="auto">
            <a:xfrm>
              <a:off x="5106988" y="2239812"/>
              <a:ext cx="2146300" cy="307975"/>
            </a:xfrm>
            <a:prstGeom prst="rect">
              <a:avLst/>
            </a:prstGeom>
            <a:noFill/>
            <a:ln w="9525">
              <a:noFill/>
              <a:miter lim="800000"/>
            </a:ln>
          </p:spPr>
          <p:txBody>
            <a:bodyPr>
              <a:spAutoFit/>
            </a:bodyPr>
            <a:lstStyle/>
            <a:p>
              <a:r>
                <a:rPr lang="zh-CN" altLang="en-US" sz="1400" dirty="0">
                  <a:solidFill>
                    <a:schemeClr val="accent2"/>
                  </a:solidFill>
                  <a:latin typeface="微软雅黑" panose="020B0503020204020204" pitchFamily="34" charset="-122"/>
                  <a:ea typeface="微软雅黑" panose="020B0503020204020204" pitchFamily="34" charset="-122"/>
                </a:rPr>
                <a:t>点击添加文本一</a:t>
              </a:r>
            </a:p>
          </p:txBody>
        </p:sp>
        <p:sp>
          <p:nvSpPr>
            <p:cNvPr id="16" name="椭圆 15"/>
            <p:cNvSpPr/>
            <p:nvPr/>
          </p:nvSpPr>
          <p:spPr bwMode="auto">
            <a:xfrm>
              <a:off x="5024056" y="2336096"/>
              <a:ext cx="111922" cy="116174"/>
            </a:xfrm>
            <a:prstGeom prst="ellipse">
              <a:avLst/>
            </a:prstGeom>
            <a:solidFill>
              <a:schemeClr val="bg2"/>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accent2"/>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4947856" y="1673049"/>
            <a:ext cx="2229232" cy="307975"/>
            <a:chOff x="5024056" y="2558899"/>
            <a:chExt cx="2229232" cy="307975"/>
          </a:xfrm>
          <a:effectLst/>
        </p:grpSpPr>
        <p:sp>
          <p:nvSpPr>
            <p:cNvPr id="18" name="TextBox 32"/>
            <p:cNvSpPr txBox="1">
              <a:spLocks noChangeArrowheads="1"/>
            </p:cNvSpPr>
            <p:nvPr/>
          </p:nvSpPr>
          <p:spPr bwMode="auto">
            <a:xfrm>
              <a:off x="5106988" y="2558899"/>
              <a:ext cx="2146300" cy="307975"/>
            </a:xfrm>
            <a:prstGeom prst="rect">
              <a:avLst/>
            </a:prstGeom>
            <a:noFill/>
            <a:ln w="9525">
              <a:noFill/>
              <a:miter lim="800000"/>
            </a:ln>
          </p:spPr>
          <p:txBody>
            <a:bodyPr>
              <a:spAutoFit/>
            </a:bodyPr>
            <a:lstStyle/>
            <a:p>
              <a:r>
                <a:rPr lang="zh-CN" altLang="en-US" sz="1400" dirty="0">
                  <a:solidFill>
                    <a:schemeClr val="accent2"/>
                  </a:solidFill>
                  <a:latin typeface="微软雅黑" panose="020B0503020204020204" pitchFamily="34" charset="-122"/>
                  <a:ea typeface="微软雅黑" panose="020B0503020204020204" pitchFamily="34" charset="-122"/>
                </a:rPr>
                <a:t>点击添加文本二</a:t>
              </a:r>
            </a:p>
          </p:txBody>
        </p:sp>
        <p:sp>
          <p:nvSpPr>
            <p:cNvPr id="19" name="椭圆 18"/>
            <p:cNvSpPr/>
            <p:nvPr/>
          </p:nvSpPr>
          <p:spPr bwMode="auto">
            <a:xfrm>
              <a:off x="5024056" y="2654398"/>
              <a:ext cx="111922" cy="116174"/>
            </a:xfrm>
            <a:prstGeom prst="ellipse">
              <a:avLst/>
            </a:prstGeom>
            <a:solidFill>
              <a:schemeClr val="bg2"/>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accent2"/>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4947856" y="2489024"/>
            <a:ext cx="2229232" cy="307975"/>
            <a:chOff x="5024056" y="3374874"/>
            <a:chExt cx="2229232" cy="307975"/>
          </a:xfrm>
          <a:effectLst/>
        </p:grpSpPr>
        <p:sp>
          <p:nvSpPr>
            <p:cNvPr id="21" name="TextBox 32"/>
            <p:cNvSpPr txBox="1">
              <a:spLocks noChangeArrowheads="1"/>
            </p:cNvSpPr>
            <p:nvPr/>
          </p:nvSpPr>
          <p:spPr bwMode="auto">
            <a:xfrm>
              <a:off x="5106988" y="3374874"/>
              <a:ext cx="2146300" cy="307975"/>
            </a:xfrm>
            <a:prstGeom prst="rect">
              <a:avLst/>
            </a:prstGeom>
            <a:noFill/>
            <a:ln w="9525">
              <a:noFill/>
              <a:miter lim="800000"/>
            </a:ln>
          </p:spPr>
          <p:txBody>
            <a:bodyPr>
              <a:spAutoFit/>
            </a:bodyPr>
            <a:lstStyle/>
            <a:p>
              <a:r>
                <a:rPr lang="zh-CN" altLang="en-US" sz="1400" dirty="0">
                  <a:solidFill>
                    <a:schemeClr val="accent2"/>
                  </a:solidFill>
                  <a:latin typeface="微软雅黑" panose="020B0503020204020204" pitchFamily="34" charset="-122"/>
                  <a:ea typeface="微软雅黑" panose="020B0503020204020204" pitchFamily="34" charset="-122"/>
                </a:rPr>
                <a:t>点击添加文本三</a:t>
              </a:r>
            </a:p>
          </p:txBody>
        </p:sp>
        <p:sp>
          <p:nvSpPr>
            <p:cNvPr id="22" name="椭圆 21"/>
            <p:cNvSpPr/>
            <p:nvPr/>
          </p:nvSpPr>
          <p:spPr bwMode="auto">
            <a:xfrm>
              <a:off x="5024056" y="3471124"/>
              <a:ext cx="111922" cy="116174"/>
            </a:xfrm>
            <a:prstGeom prst="ellipse">
              <a:avLst/>
            </a:prstGeom>
            <a:solidFill>
              <a:schemeClr val="bg2"/>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accent2"/>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4947856" y="2820812"/>
            <a:ext cx="2229232" cy="307975"/>
            <a:chOff x="5024056" y="3706662"/>
            <a:chExt cx="2229232" cy="307975"/>
          </a:xfrm>
          <a:effectLst/>
        </p:grpSpPr>
        <p:sp>
          <p:nvSpPr>
            <p:cNvPr id="24" name="TextBox 32"/>
            <p:cNvSpPr txBox="1">
              <a:spLocks noChangeArrowheads="1"/>
            </p:cNvSpPr>
            <p:nvPr/>
          </p:nvSpPr>
          <p:spPr bwMode="auto">
            <a:xfrm>
              <a:off x="5106988" y="3706662"/>
              <a:ext cx="2146300" cy="307975"/>
            </a:xfrm>
            <a:prstGeom prst="rect">
              <a:avLst/>
            </a:prstGeom>
            <a:noFill/>
            <a:ln w="9525">
              <a:noFill/>
              <a:miter lim="800000"/>
            </a:ln>
          </p:spPr>
          <p:txBody>
            <a:bodyPr>
              <a:spAutoFit/>
            </a:bodyPr>
            <a:lstStyle/>
            <a:p>
              <a:r>
                <a:rPr lang="zh-CN" altLang="en-US" sz="1400" dirty="0">
                  <a:solidFill>
                    <a:schemeClr val="accent2"/>
                  </a:solidFill>
                  <a:latin typeface="微软雅黑" panose="020B0503020204020204" pitchFamily="34" charset="-122"/>
                  <a:ea typeface="微软雅黑" panose="020B0503020204020204" pitchFamily="34" charset="-122"/>
                </a:rPr>
                <a:t>点击添加文本四</a:t>
              </a:r>
            </a:p>
          </p:txBody>
        </p:sp>
        <p:sp>
          <p:nvSpPr>
            <p:cNvPr id="25" name="椭圆 24"/>
            <p:cNvSpPr/>
            <p:nvPr/>
          </p:nvSpPr>
          <p:spPr bwMode="auto">
            <a:xfrm>
              <a:off x="5024056" y="3802244"/>
              <a:ext cx="111922" cy="116174"/>
            </a:xfrm>
            <a:prstGeom prst="ellipse">
              <a:avLst/>
            </a:prstGeom>
            <a:solidFill>
              <a:schemeClr val="bg2"/>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accent2"/>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4947856" y="3624087"/>
            <a:ext cx="2229232" cy="307975"/>
            <a:chOff x="5024056" y="4509937"/>
            <a:chExt cx="2229232" cy="307975"/>
          </a:xfrm>
          <a:effectLst/>
        </p:grpSpPr>
        <p:sp>
          <p:nvSpPr>
            <p:cNvPr id="27" name="TextBox 32"/>
            <p:cNvSpPr txBox="1">
              <a:spLocks noChangeArrowheads="1"/>
            </p:cNvSpPr>
            <p:nvPr/>
          </p:nvSpPr>
          <p:spPr bwMode="auto">
            <a:xfrm>
              <a:off x="5106988" y="4509937"/>
              <a:ext cx="2146300" cy="307975"/>
            </a:xfrm>
            <a:prstGeom prst="rect">
              <a:avLst/>
            </a:prstGeom>
            <a:noFill/>
            <a:ln w="9525">
              <a:noFill/>
              <a:miter lim="800000"/>
            </a:ln>
          </p:spPr>
          <p:txBody>
            <a:bodyPr>
              <a:spAutoFit/>
            </a:bodyPr>
            <a:lstStyle/>
            <a:p>
              <a:r>
                <a:rPr lang="zh-CN" altLang="en-US" sz="1400" dirty="0">
                  <a:solidFill>
                    <a:schemeClr val="accent2"/>
                  </a:solidFill>
                  <a:latin typeface="微软雅黑" panose="020B0503020204020204" pitchFamily="34" charset="-122"/>
                  <a:ea typeface="微软雅黑" panose="020B0503020204020204" pitchFamily="34" charset="-122"/>
                </a:rPr>
                <a:t>点击添加文本五</a:t>
              </a:r>
            </a:p>
          </p:txBody>
        </p:sp>
        <p:sp>
          <p:nvSpPr>
            <p:cNvPr id="28" name="椭圆 27"/>
            <p:cNvSpPr/>
            <p:nvPr/>
          </p:nvSpPr>
          <p:spPr bwMode="auto">
            <a:xfrm>
              <a:off x="5024056" y="4605737"/>
              <a:ext cx="111922" cy="116174"/>
            </a:xfrm>
            <a:prstGeom prst="ellipse">
              <a:avLst/>
            </a:prstGeom>
            <a:solidFill>
              <a:schemeClr val="bg2"/>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accent2"/>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4947856" y="3966987"/>
            <a:ext cx="2229232" cy="307975"/>
            <a:chOff x="5024056" y="4852837"/>
            <a:chExt cx="2229232" cy="307975"/>
          </a:xfrm>
          <a:effectLst/>
        </p:grpSpPr>
        <p:sp>
          <p:nvSpPr>
            <p:cNvPr id="30" name="TextBox 32"/>
            <p:cNvSpPr txBox="1">
              <a:spLocks noChangeArrowheads="1"/>
            </p:cNvSpPr>
            <p:nvPr/>
          </p:nvSpPr>
          <p:spPr bwMode="auto">
            <a:xfrm>
              <a:off x="5106988" y="4852837"/>
              <a:ext cx="2146300" cy="307975"/>
            </a:xfrm>
            <a:prstGeom prst="rect">
              <a:avLst/>
            </a:prstGeom>
            <a:noFill/>
            <a:ln w="9525">
              <a:noFill/>
              <a:miter lim="800000"/>
            </a:ln>
          </p:spPr>
          <p:txBody>
            <a:bodyPr>
              <a:spAutoFit/>
            </a:bodyPr>
            <a:lstStyle/>
            <a:p>
              <a:r>
                <a:rPr lang="zh-CN" altLang="en-US" sz="1400" dirty="0">
                  <a:solidFill>
                    <a:schemeClr val="accent2"/>
                  </a:solidFill>
                  <a:latin typeface="微软雅黑" panose="020B0503020204020204" pitchFamily="34" charset="-122"/>
                  <a:ea typeface="微软雅黑" panose="020B0503020204020204" pitchFamily="34" charset="-122"/>
                </a:rPr>
                <a:t>点击添加文本六</a:t>
              </a:r>
            </a:p>
          </p:txBody>
        </p:sp>
        <p:sp>
          <p:nvSpPr>
            <p:cNvPr id="31" name="椭圆 30"/>
            <p:cNvSpPr/>
            <p:nvPr/>
          </p:nvSpPr>
          <p:spPr bwMode="auto">
            <a:xfrm>
              <a:off x="5024056" y="4948889"/>
              <a:ext cx="111922" cy="116174"/>
            </a:xfrm>
            <a:prstGeom prst="ellipse">
              <a:avLst/>
            </a:prstGeom>
            <a:solidFill>
              <a:schemeClr val="bg2"/>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accent2"/>
                </a:solidFill>
                <a:latin typeface="微软雅黑" panose="020B0503020204020204" pitchFamily="34" charset="-122"/>
                <a:ea typeface="微软雅黑" panose="020B0503020204020204" pitchFamily="34" charset="-122"/>
              </a:endParaRPr>
            </a:p>
          </p:txBody>
        </p:sp>
      </p:grpSp>
      <p:sp>
        <p:nvSpPr>
          <p:cNvPr id="32" name="任意多边形 31"/>
          <p:cNvSpPr/>
          <p:nvPr/>
        </p:nvSpPr>
        <p:spPr>
          <a:xfrm>
            <a:off x="2200685" y="1661635"/>
            <a:ext cx="900000" cy="1009403"/>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3" name="任意多边形 32"/>
          <p:cNvSpPr/>
          <p:nvPr/>
        </p:nvSpPr>
        <p:spPr>
          <a:xfrm>
            <a:off x="2224436" y="2805306"/>
            <a:ext cx="900000" cy="0"/>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4" name="任意多边形 33"/>
          <p:cNvSpPr/>
          <p:nvPr/>
        </p:nvSpPr>
        <p:spPr>
          <a:xfrm flipV="1">
            <a:off x="2200685" y="2932139"/>
            <a:ext cx="900000" cy="1009403"/>
          </a:xfrm>
          <a:custGeom>
            <a:avLst/>
            <a:gdLst>
              <a:gd name="connsiteX0" fmla="*/ 0 w 1092530"/>
              <a:gd name="connsiteY0" fmla="*/ 1068780 h 1068780"/>
              <a:gd name="connsiteX1" fmla="*/ 1092530 w 1092530"/>
              <a:gd name="connsiteY1" fmla="*/ 0 h 1068780"/>
            </a:gdLst>
            <a:ahLst/>
            <a:cxnLst>
              <a:cxn ang="0">
                <a:pos x="connsiteX0" y="connsiteY0"/>
              </a:cxn>
              <a:cxn ang="0">
                <a:pos x="connsiteX1" y="connsiteY1"/>
              </a:cxn>
            </a:cxnLst>
            <a:rect l="l" t="t" r="r" b="b"/>
            <a:pathLst>
              <a:path w="1092530" h="1068780">
                <a:moveTo>
                  <a:pt x="0" y="1068780"/>
                </a:moveTo>
                <a:lnTo>
                  <a:pt x="1092530" y="0"/>
                </a:lnTo>
              </a:path>
            </a:pathLst>
          </a:custGeom>
          <a:noFill/>
          <a:ln w="38100">
            <a:solidFill>
              <a:schemeClr val="tx1">
                <a:lumMod val="85000"/>
              </a:schemeClr>
            </a:solidFill>
            <a:headEnd type="oval"/>
            <a:tailEnd type="oval"/>
          </a:ln>
          <a:effectLst/>
          <a:scene3d>
            <a:camera prst="orthographicFront"/>
            <a:lightRig rig="flat" dir="t"/>
          </a:scene3d>
          <a:sp3d contourW="127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5" name="椭圆 34"/>
          <p:cNvSpPr/>
          <p:nvPr/>
        </p:nvSpPr>
        <p:spPr bwMode="auto">
          <a:xfrm>
            <a:off x="990600" y="1704950"/>
            <a:ext cx="1779750" cy="1779750"/>
          </a:xfrm>
          <a:prstGeom prst="ellipse">
            <a:avLst/>
          </a:prstGeom>
          <a:solidFill>
            <a:srgbClr val="3A9707"/>
          </a:solidFill>
          <a:ln w="0">
            <a:noFill/>
          </a:ln>
          <a:effectLst/>
          <a:scene3d>
            <a:camera prst="orthographicFront">
              <a:rot lat="17399997" lon="0" rev="0"/>
            </a:camera>
            <a:lightRig rig="flat" dir="t"/>
          </a:scene3d>
          <a:sp3d extrusionH="127000">
            <a:bevelT w="254000" h="254000" prst="artDeco"/>
            <a:extrusionClr>
              <a:schemeClr val="bg1">
                <a:lumMod val="85000"/>
              </a:schemeClr>
            </a:extrusionClr>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500" b="1" dirty="0">
              <a:solidFill>
                <a:schemeClr val="bg1"/>
              </a:solidFill>
              <a:latin typeface="微软雅黑" panose="020B0503020204020204" pitchFamily="34" charset="-122"/>
              <a:ea typeface="微软雅黑" panose="020B0503020204020204" pitchFamily="34" charset="-122"/>
            </a:endParaRPr>
          </a:p>
        </p:txBody>
      </p:sp>
      <p:sp>
        <p:nvSpPr>
          <p:cNvPr id="36" name="TextBox 35"/>
          <p:cNvSpPr txBox="1"/>
          <p:nvPr/>
        </p:nvSpPr>
        <p:spPr bwMode="auto">
          <a:xfrm>
            <a:off x="1002711" y="2418812"/>
            <a:ext cx="1755530" cy="338554"/>
          </a:xfrm>
          <a:prstGeom prst="rect">
            <a:avLst/>
          </a:prstGeom>
          <a:noFill/>
          <a:effectLst/>
          <a:scene3d>
            <a:camera prst="orthographicFront"/>
            <a:lightRig rig="fla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0-#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slide(fromBottom)">
                                      <p:cBhvr>
                                        <p:cTn id="12" dur="500"/>
                                        <p:tgtEl>
                                          <p:spTgt spid="36"/>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1000"/>
                                        <p:tgtEl>
                                          <p:spTgt spid="32"/>
                                        </p:tgtEl>
                                      </p:cBhvr>
                                    </p:animEffect>
                                  </p:childTnLst>
                                </p:cTn>
                              </p:par>
                            </p:childTnLst>
                          </p:cTn>
                        </p:par>
                        <p:par>
                          <p:cTn id="17" fill="hold">
                            <p:stCondLst>
                              <p:cond delay="2000"/>
                            </p:stCondLst>
                            <p:childTnLst>
                              <p:par>
                                <p:cTn id="18" presetID="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0-#ppt_w/2"/>
                                          </p:val>
                                        </p:tav>
                                        <p:tav tm="100000">
                                          <p:val>
                                            <p:strVal val="#ppt_x"/>
                                          </p:val>
                                        </p:tav>
                                      </p:tavLst>
                                    </p:anim>
                                    <p:anim calcmode="lin" valueType="num">
                                      <p:cBhvr additive="base">
                                        <p:cTn id="21" dur="500" fill="hold"/>
                                        <p:tgtEl>
                                          <p:spTgt spid="5"/>
                                        </p:tgtEl>
                                        <p:attrNameLst>
                                          <p:attrName>ppt_y</p:attrName>
                                        </p:attrNameLst>
                                      </p:cBhvr>
                                      <p:tavLst>
                                        <p:tav tm="0">
                                          <p:val>
                                            <p:strVal val="#ppt_y"/>
                                          </p:val>
                                        </p:tav>
                                        <p:tav tm="100000">
                                          <p:val>
                                            <p:strVal val="#ppt_y"/>
                                          </p:val>
                                        </p:tav>
                                      </p:tavLst>
                                    </p:anim>
                                  </p:childTnLst>
                                </p:cTn>
                              </p:par>
                            </p:childTnLst>
                          </p:cTn>
                        </p:par>
                        <p:par>
                          <p:cTn id="22" fill="hold">
                            <p:stCondLst>
                              <p:cond delay="2500"/>
                            </p:stCondLst>
                            <p:childTnLst>
                              <p:par>
                                <p:cTn id="23" presetID="23" presetClass="entr" presetSubtype="16" fill="hold" grpId="0" nodeType="after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p:cTn id="25" dur="500" fill="hold"/>
                                        <p:tgtEl>
                                          <p:spTgt spid="4"/>
                                        </p:tgtEl>
                                        <p:attrNameLst>
                                          <p:attrName>ppt_w</p:attrName>
                                        </p:attrNameLst>
                                      </p:cBhvr>
                                      <p:tavLst>
                                        <p:tav tm="0">
                                          <p:val>
                                            <p:fltVal val="0"/>
                                          </p:val>
                                        </p:tav>
                                        <p:tav tm="100000">
                                          <p:val>
                                            <p:strVal val="#ppt_w"/>
                                          </p:val>
                                        </p:tav>
                                      </p:tavLst>
                                    </p:anim>
                                    <p:anim calcmode="lin" valueType="num">
                                      <p:cBhvr>
                                        <p:cTn id="26" dur="500" fill="hold"/>
                                        <p:tgtEl>
                                          <p:spTgt spid="4"/>
                                        </p:tgtEl>
                                        <p:attrNameLst>
                                          <p:attrName>ppt_h</p:attrName>
                                        </p:attrNameLst>
                                      </p:cBhvr>
                                      <p:tavLst>
                                        <p:tav tm="0">
                                          <p:val>
                                            <p:fltVal val="0"/>
                                          </p:val>
                                        </p:tav>
                                        <p:tav tm="100000">
                                          <p:val>
                                            <p:strVal val="#ppt_h"/>
                                          </p:val>
                                        </p:tav>
                                      </p:tavLst>
                                    </p:anim>
                                  </p:childTnLst>
                                </p:cTn>
                              </p:par>
                            </p:childTnLst>
                          </p:cTn>
                        </p:par>
                        <p:par>
                          <p:cTn id="27" fill="hold">
                            <p:stCondLst>
                              <p:cond delay="3000"/>
                            </p:stCondLst>
                            <p:childTnLst>
                              <p:par>
                                <p:cTn id="28" presetID="12" presetClass="entr" presetSubtype="2"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slide(fromRight)">
                                      <p:cBhvr>
                                        <p:cTn id="30" dur="500"/>
                                        <p:tgtEl>
                                          <p:spTgt spid="14"/>
                                        </p:tgtEl>
                                      </p:cBhvr>
                                    </p:animEffect>
                                  </p:childTnLst>
                                </p:cTn>
                              </p:par>
                            </p:childTnLst>
                          </p:cTn>
                        </p:par>
                        <p:par>
                          <p:cTn id="31" fill="hold">
                            <p:stCondLst>
                              <p:cond delay="3500"/>
                            </p:stCondLst>
                            <p:childTnLst>
                              <p:par>
                                <p:cTn id="32" presetID="12" presetClass="entr" presetSubtype="2" fill="hold" nodeType="after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slide(fromRight)">
                                      <p:cBhvr>
                                        <p:cTn id="34" dur="500"/>
                                        <p:tgtEl>
                                          <p:spTgt spid="17"/>
                                        </p:tgtEl>
                                      </p:cBhvr>
                                    </p:animEffect>
                                  </p:childTnLst>
                                </p:cTn>
                              </p:par>
                            </p:childTnLst>
                          </p:cTn>
                        </p:par>
                        <p:par>
                          <p:cTn id="35" fill="hold">
                            <p:stCondLst>
                              <p:cond delay="4000"/>
                            </p:stCondLst>
                            <p:childTnLst>
                              <p:par>
                                <p:cTn id="36" presetID="10" presetClass="entr" presetSubtype="0" fill="hold" grpId="0" nodeType="after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1000"/>
                                        <p:tgtEl>
                                          <p:spTgt spid="33"/>
                                        </p:tgtEl>
                                      </p:cBhvr>
                                    </p:animEffect>
                                  </p:childTnLst>
                                </p:cTn>
                              </p:par>
                            </p:childTnLst>
                          </p:cTn>
                        </p:par>
                        <p:par>
                          <p:cTn id="39" fill="hold">
                            <p:stCondLst>
                              <p:cond delay="5000"/>
                            </p:stCondLst>
                            <p:childTnLst>
                              <p:par>
                                <p:cTn id="40" presetID="2" presetClass="entr" presetSubtype="8" fill="hold" nodeType="afterEffect">
                                  <p:stCondLst>
                                    <p:cond delay="0"/>
                                  </p:stCondLst>
                                  <p:childTnLst>
                                    <p:set>
                                      <p:cBhvr>
                                        <p:cTn id="41" dur="1" fill="hold">
                                          <p:stCondLst>
                                            <p:cond delay="0"/>
                                          </p:stCondLst>
                                        </p:cTn>
                                        <p:tgtEl>
                                          <p:spTgt spid="8"/>
                                        </p:tgtEl>
                                        <p:attrNameLst>
                                          <p:attrName>style.visibility</p:attrName>
                                        </p:attrNameLst>
                                      </p:cBhvr>
                                      <p:to>
                                        <p:strVal val="visible"/>
                                      </p:to>
                                    </p:set>
                                    <p:anim calcmode="lin" valueType="num">
                                      <p:cBhvr additive="base">
                                        <p:cTn id="42" dur="500" fill="hold"/>
                                        <p:tgtEl>
                                          <p:spTgt spid="8"/>
                                        </p:tgtEl>
                                        <p:attrNameLst>
                                          <p:attrName>ppt_x</p:attrName>
                                        </p:attrNameLst>
                                      </p:cBhvr>
                                      <p:tavLst>
                                        <p:tav tm="0">
                                          <p:val>
                                            <p:strVal val="0-#ppt_w/2"/>
                                          </p:val>
                                        </p:tav>
                                        <p:tav tm="100000">
                                          <p:val>
                                            <p:strVal val="#ppt_x"/>
                                          </p:val>
                                        </p:tav>
                                      </p:tavLst>
                                    </p:anim>
                                    <p:anim calcmode="lin" valueType="num">
                                      <p:cBhvr additive="base">
                                        <p:cTn id="43" dur="500" fill="hold"/>
                                        <p:tgtEl>
                                          <p:spTgt spid="8"/>
                                        </p:tgtEl>
                                        <p:attrNameLst>
                                          <p:attrName>ppt_y</p:attrName>
                                        </p:attrNameLst>
                                      </p:cBhvr>
                                      <p:tavLst>
                                        <p:tav tm="0">
                                          <p:val>
                                            <p:strVal val="#ppt_y"/>
                                          </p:val>
                                        </p:tav>
                                        <p:tav tm="100000">
                                          <p:val>
                                            <p:strVal val="#ppt_y"/>
                                          </p:val>
                                        </p:tav>
                                      </p:tavLst>
                                    </p:anim>
                                  </p:childTnLst>
                                </p:cTn>
                              </p:par>
                            </p:childTnLst>
                          </p:cTn>
                        </p:par>
                        <p:par>
                          <p:cTn id="44" fill="hold">
                            <p:stCondLst>
                              <p:cond delay="5500"/>
                            </p:stCondLst>
                            <p:childTnLst>
                              <p:par>
                                <p:cTn id="45" presetID="23" presetClass="entr" presetSubtype="16" fill="hold" grpId="0" nodeType="after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p:cTn id="47" dur="500" fill="hold"/>
                                        <p:tgtEl>
                                          <p:spTgt spid="3"/>
                                        </p:tgtEl>
                                        <p:attrNameLst>
                                          <p:attrName>ppt_w</p:attrName>
                                        </p:attrNameLst>
                                      </p:cBhvr>
                                      <p:tavLst>
                                        <p:tav tm="0">
                                          <p:val>
                                            <p:fltVal val="0"/>
                                          </p:val>
                                        </p:tav>
                                        <p:tav tm="100000">
                                          <p:val>
                                            <p:strVal val="#ppt_w"/>
                                          </p:val>
                                        </p:tav>
                                      </p:tavLst>
                                    </p:anim>
                                    <p:anim calcmode="lin" valueType="num">
                                      <p:cBhvr>
                                        <p:cTn id="48" dur="500" fill="hold"/>
                                        <p:tgtEl>
                                          <p:spTgt spid="3"/>
                                        </p:tgtEl>
                                        <p:attrNameLst>
                                          <p:attrName>ppt_h</p:attrName>
                                        </p:attrNameLst>
                                      </p:cBhvr>
                                      <p:tavLst>
                                        <p:tav tm="0">
                                          <p:val>
                                            <p:fltVal val="0"/>
                                          </p:val>
                                        </p:tav>
                                        <p:tav tm="100000">
                                          <p:val>
                                            <p:strVal val="#ppt_h"/>
                                          </p:val>
                                        </p:tav>
                                      </p:tavLst>
                                    </p:anim>
                                  </p:childTnLst>
                                </p:cTn>
                              </p:par>
                            </p:childTnLst>
                          </p:cTn>
                        </p:par>
                        <p:par>
                          <p:cTn id="49" fill="hold">
                            <p:stCondLst>
                              <p:cond delay="6000"/>
                            </p:stCondLst>
                            <p:childTnLst>
                              <p:par>
                                <p:cTn id="50" presetID="12" presetClass="entr" presetSubtype="2" fill="hold" nodeType="after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slide(fromRight)">
                                      <p:cBhvr>
                                        <p:cTn id="52" dur="500"/>
                                        <p:tgtEl>
                                          <p:spTgt spid="20"/>
                                        </p:tgtEl>
                                      </p:cBhvr>
                                    </p:animEffect>
                                  </p:childTnLst>
                                </p:cTn>
                              </p:par>
                            </p:childTnLst>
                          </p:cTn>
                        </p:par>
                        <p:par>
                          <p:cTn id="53" fill="hold">
                            <p:stCondLst>
                              <p:cond delay="6500"/>
                            </p:stCondLst>
                            <p:childTnLst>
                              <p:par>
                                <p:cTn id="54" presetID="12" presetClass="entr" presetSubtype="2" fill="hold" nodeType="afterEffect">
                                  <p:stCondLst>
                                    <p:cond delay="0"/>
                                  </p:stCondLst>
                                  <p:childTnLst>
                                    <p:set>
                                      <p:cBhvr>
                                        <p:cTn id="55" dur="1" fill="hold">
                                          <p:stCondLst>
                                            <p:cond delay="0"/>
                                          </p:stCondLst>
                                        </p:cTn>
                                        <p:tgtEl>
                                          <p:spTgt spid="23"/>
                                        </p:tgtEl>
                                        <p:attrNameLst>
                                          <p:attrName>style.visibility</p:attrName>
                                        </p:attrNameLst>
                                      </p:cBhvr>
                                      <p:to>
                                        <p:strVal val="visible"/>
                                      </p:to>
                                    </p:set>
                                    <p:animEffect transition="in" filter="slide(fromRight)">
                                      <p:cBhvr>
                                        <p:cTn id="56" dur="500"/>
                                        <p:tgtEl>
                                          <p:spTgt spid="23"/>
                                        </p:tgtEl>
                                      </p:cBhvr>
                                    </p:animEffect>
                                  </p:childTnLst>
                                </p:cTn>
                              </p:par>
                            </p:childTnLst>
                          </p:cTn>
                        </p:par>
                        <p:par>
                          <p:cTn id="57" fill="hold">
                            <p:stCondLst>
                              <p:cond delay="7000"/>
                            </p:stCondLst>
                            <p:childTnLst>
                              <p:par>
                                <p:cTn id="58" presetID="10" presetClass="entr" presetSubtype="0" fill="hold" grpId="0" nodeType="afterEffect">
                                  <p:stCondLst>
                                    <p:cond delay="0"/>
                                  </p:stCondLst>
                                  <p:childTnLst>
                                    <p:set>
                                      <p:cBhvr>
                                        <p:cTn id="59" dur="1" fill="hold">
                                          <p:stCondLst>
                                            <p:cond delay="0"/>
                                          </p:stCondLst>
                                        </p:cTn>
                                        <p:tgtEl>
                                          <p:spTgt spid="34"/>
                                        </p:tgtEl>
                                        <p:attrNameLst>
                                          <p:attrName>style.visibility</p:attrName>
                                        </p:attrNameLst>
                                      </p:cBhvr>
                                      <p:to>
                                        <p:strVal val="visible"/>
                                      </p:to>
                                    </p:set>
                                    <p:animEffect transition="in" filter="fade">
                                      <p:cBhvr>
                                        <p:cTn id="60" dur="1000"/>
                                        <p:tgtEl>
                                          <p:spTgt spid="34"/>
                                        </p:tgtEl>
                                      </p:cBhvr>
                                    </p:animEffect>
                                  </p:childTnLst>
                                </p:cTn>
                              </p:par>
                            </p:childTnLst>
                          </p:cTn>
                        </p:par>
                        <p:par>
                          <p:cTn id="61" fill="hold">
                            <p:stCondLst>
                              <p:cond delay="8000"/>
                            </p:stCondLst>
                            <p:childTnLst>
                              <p:par>
                                <p:cTn id="62" presetID="2" presetClass="entr" presetSubtype="8" fill="hold" nodeType="afterEffect">
                                  <p:stCondLst>
                                    <p:cond delay="0"/>
                                  </p:stCondLst>
                                  <p:childTnLst>
                                    <p:set>
                                      <p:cBhvr>
                                        <p:cTn id="63" dur="1" fill="hold">
                                          <p:stCondLst>
                                            <p:cond delay="0"/>
                                          </p:stCondLst>
                                        </p:cTn>
                                        <p:tgtEl>
                                          <p:spTgt spid="11"/>
                                        </p:tgtEl>
                                        <p:attrNameLst>
                                          <p:attrName>style.visibility</p:attrName>
                                        </p:attrNameLst>
                                      </p:cBhvr>
                                      <p:to>
                                        <p:strVal val="visible"/>
                                      </p:to>
                                    </p:set>
                                    <p:anim calcmode="lin" valueType="num">
                                      <p:cBhvr additive="base">
                                        <p:cTn id="64" dur="500" fill="hold"/>
                                        <p:tgtEl>
                                          <p:spTgt spid="11"/>
                                        </p:tgtEl>
                                        <p:attrNameLst>
                                          <p:attrName>ppt_x</p:attrName>
                                        </p:attrNameLst>
                                      </p:cBhvr>
                                      <p:tavLst>
                                        <p:tav tm="0">
                                          <p:val>
                                            <p:strVal val="0-#ppt_w/2"/>
                                          </p:val>
                                        </p:tav>
                                        <p:tav tm="100000">
                                          <p:val>
                                            <p:strVal val="#ppt_x"/>
                                          </p:val>
                                        </p:tav>
                                      </p:tavLst>
                                    </p:anim>
                                    <p:anim calcmode="lin" valueType="num">
                                      <p:cBhvr additive="base">
                                        <p:cTn id="65" dur="500" fill="hold"/>
                                        <p:tgtEl>
                                          <p:spTgt spid="11"/>
                                        </p:tgtEl>
                                        <p:attrNameLst>
                                          <p:attrName>ppt_y</p:attrName>
                                        </p:attrNameLst>
                                      </p:cBhvr>
                                      <p:tavLst>
                                        <p:tav tm="0">
                                          <p:val>
                                            <p:strVal val="#ppt_y"/>
                                          </p:val>
                                        </p:tav>
                                        <p:tav tm="100000">
                                          <p:val>
                                            <p:strVal val="#ppt_y"/>
                                          </p:val>
                                        </p:tav>
                                      </p:tavLst>
                                    </p:anim>
                                  </p:childTnLst>
                                </p:cTn>
                              </p:par>
                            </p:childTnLst>
                          </p:cTn>
                        </p:par>
                        <p:par>
                          <p:cTn id="66" fill="hold">
                            <p:stCondLst>
                              <p:cond delay="8500"/>
                            </p:stCondLst>
                            <p:childTnLst>
                              <p:par>
                                <p:cTn id="67" presetID="23" presetClass="entr" presetSubtype="16" fill="hold" grpId="0" nodeType="after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500" fill="hold"/>
                                        <p:tgtEl>
                                          <p:spTgt spid="2"/>
                                        </p:tgtEl>
                                        <p:attrNameLst>
                                          <p:attrName>ppt_w</p:attrName>
                                        </p:attrNameLst>
                                      </p:cBhvr>
                                      <p:tavLst>
                                        <p:tav tm="0">
                                          <p:val>
                                            <p:fltVal val="0"/>
                                          </p:val>
                                        </p:tav>
                                        <p:tav tm="100000">
                                          <p:val>
                                            <p:strVal val="#ppt_w"/>
                                          </p:val>
                                        </p:tav>
                                      </p:tavLst>
                                    </p:anim>
                                    <p:anim calcmode="lin" valueType="num">
                                      <p:cBhvr>
                                        <p:cTn id="70" dur="500" fill="hold"/>
                                        <p:tgtEl>
                                          <p:spTgt spid="2"/>
                                        </p:tgtEl>
                                        <p:attrNameLst>
                                          <p:attrName>ppt_h</p:attrName>
                                        </p:attrNameLst>
                                      </p:cBhvr>
                                      <p:tavLst>
                                        <p:tav tm="0">
                                          <p:val>
                                            <p:fltVal val="0"/>
                                          </p:val>
                                        </p:tav>
                                        <p:tav tm="100000">
                                          <p:val>
                                            <p:strVal val="#ppt_h"/>
                                          </p:val>
                                        </p:tav>
                                      </p:tavLst>
                                    </p:anim>
                                  </p:childTnLst>
                                </p:cTn>
                              </p:par>
                            </p:childTnLst>
                          </p:cTn>
                        </p:par>
                        <p:par>
                          <p:cTn id="71" fill="hold">
                            <p:stCondLst>
                              <p:cond delay="9000"/>
                            </p:stCondLst>
                            <p:childTnLst>
                              <p:par>
                                <p:cTn id="72" presetID="12" presetClass="entr" presetSubtype="2" fill="hold" nodeType="afterEffect">
                                  <p:stCondLst>
                                    <p:cond delay="0"/>
                                  </p:stCondLst>
                                  <p:childTnLst>
                                    <p:set>
                                      <p:cBhvr>
                                        <p:cTn id="73" dur="1" fill="hold">
                                          <p:stCondLst>
                                            <p:cond delay="0"/>
                                          </p:stCondLst>
                                        </p:cTn>
                                        <p:tgtEl>
                                          <p:spTgt spid="26"/>
                                        </p:tgtEl>
                                        <p:attrNameLst>
                                          <p:attrName>style.visibility</p:attrName>
                                        </p:attrNameLst>
                                      </p:cBhvr>
                                      <p:to>
                                        <p:strVal val="visible"/>
                                      </p:to>
                                    </p:set>
                                    <p:animEffect transition="in" filter="slide(fromRight)">
                                      <p:cBhvr>
                                        <p:cTn id="74" dur="500"/>
                                        <p:tgtEl>
                                          <p:spTgt spid="26"/>
                                        </p:tgtEl>
                                      </p:cBhvr>
                                    </p:animEffect>
                                  </p:childTnLst>
                                </p:cTn>
                              </p:par>
                            </p:childTnLst>
                          </p:cTn>
                        </p:par>
                        <p:par>
                          <p:cTn id="75" fill="hold">
                            <p:stCondLst>
                              <p:cond delay="9500"/>
                            </p:stCondLst>
                            <p:childTnLst>
                              <p:par>
                                <p:cTn id="76" presetID="12" presetClass="entr" presetSubtype="2" fill="hold" nodeType="afterEffect">
                                  <p:stCondLst>
                                    <p:cond delay="0"/>
                                  </p:stCondLst>
                                  <p:childTnLst>
                                    <p:set>
                                      <p:cBhvr>
                                        <p:cTn id="77" dur="1" fill="hold">
                                          <p:stCondLst>
                                            <p:cond delay="0"/>
                                          </p:stCondLst>
                                        </p:cTn>
                                        <p:tgtEl>
                                          <p:spTgt spid="29"/>
                                        </p:tgtEl>
                                        <p:attrNameLst>
                                          <p:attrName>style.visibility</p:attrName>
                                        </p:attrNameLst>
                                      </p:cBhvr>
                                      <p:to>
                                        <p:strVal val="visible"/>
                                      </p:to>
                                    </p:set>
                                    <p:animEffect transition="in" filter="slide(fromRight)">
                                      <p:cBhvr>
                                        <p:cTn id="7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32" grpId="0" animBg="1"/>
      <p:bldP spid="33" grpId="0" animBg="1"/>
      <p:bldP spid="34" grpId="0" animBg="1"/>
      <p:bldP spid="35" grpId="0" animBg="1"/>
      <p:bldP spid="3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7"/>
          <p:cNvSpPr>
            <a:spLocks noChangeArrowheads="1"/>
          </p:cNvSpPr>
          <p:nvPr/>
        </p:nvSpPr>
        <p:spPr bwMode="gray">
          <a:xfrm>
            <a:off x="755576" y="1743950"/>
            <a:ext cx="7560000" cy="2628000"/>
          </a:xfrm>
          <a:prstGeom prst="roundRect">
            <a:avLst>
              <a:gd name="adj" fmla="val 3080"/>
            </a:avLst>
          </a:prstGeom>
          <a:gradFill flip="none" rotWithShape="1">
            <a:gsLst>
              <a:gs pos="0">
                <a:schemeClr val="bg1">
                  <a:lumMod val="65000"/>
                  <a:alpha val="50000"/>
                </a:schemeClr>
              </a:gs>
              <a:gs pos="100000">
                <a:schemeClr val="bg1">
                  <a:lumMod val="85000"/>
                  <a:alpha val="50000"/>
                </a:schemeClr>
              </a:gs>
            </a:gsLst>
            <a:lin ang="5400000" scaled="1"/>
            <a:tileRect/>
          </a:gradFill>
          <a:ln w="25400">
            <a:noFill/>
          </a:ln>
          <a:effectLst>
            <a:outerShdw blurRad="225425" dist="38100" dir="5220000" algn="ctr">
              <a:srgbClr val="000000">
                <a:alpha val="33000"/>
              </a:srgbClr>
            </a:outerShdw>
          </a:effectLst>
          <a:scene3d>
            <a:camera prst="perspectiveRelaxed" fov="2700000">
              <a:rot lat="18000000" lon="0" rev="0"/>
            </a:camera>
            <a:lightRig rig="flat" dir="t"/>
          </a:scene3d>
          <a:sp3d extrusionH="127000" contourW="19050">
            <a:bevelT w="101600" prst="convex"/>
            <a:bevelB w="0" h="254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 name="左箭头 2"/>
          <p:cNvSpPr/>
          <p:nvPr/>
        </p:nvSpPr>
        <p:spPr>
          <a:xfrm flipH="1">
            <a:off x="3789258" y="2197121"/>
            <a:ext cx="1620000" cy="1620000"/>
          </a:xfrm>
          <a:prstGeom prst="leftArrow">
            <a:avLst>
              <a:gd name="adj1" fmla="val 63711"/>
              <a:gd name="adj2" fmla="val 34802"/>
            </a:avLst>
          </a:prstGeom>
          <a:gradFill flip="none" rotWithShape="1">
            <a:gsLst>
              <a:gs pos="0">
                <a:schemeClr val="bg1">
                  <a:lumMod val="50000"/>
                </a:schemeClr>
              </a:gs>
              <a:gs pos="100000">
                <a:schemeClr val="bg1">
                  <a:lumMod val="75000"/>
                </a:schemeClr>
              </a:gs>
            </a:gsLst>
            <a:lin ang="0" scaled="1"/>
            <a:tileRect/>
          </a:gradFill>
          <a:ln w="25400">
            <a:noFill/>
          </a:ln>
          <a:effectLst>
            <a:outerShdw blurRad="225425" dist="38100" dir="5220000" algn="ctr">
              <a:srgbClr val="000000">
                <a:alpha val="33000"/>
              </a:srgbClr>
            </a:outerShdw>
          </a:effectLst>
          <a:scene3d>
            <a:camera prst="perspectiveRelaxed">
              <a:rot lat="17973603" lon="0" rev="0"/>
            </a:camera>
            <a:lightRig rig="flat" dir="t"/>
          </a:scene3d>
          <a:sp3d extrusionH="127000"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 name="TextBox 24"/>
          <p:cNvSpPr txBox="1">
            <a:spLocks noChangeArrowheads="1"/>
          </p:cNvSpPr>
          <p:nvPr/>
        </p:nvSpPr>
        <p:spPr bwMode="auto">
          <a:xfrm>
            <a:off x="3796626" y="2892299"/>
            <a:ext cx="1352550" cy="307975"/>
          </a:xfrm>
          <a:prstGeom prst="rect">
            <a:avLst/>
          </a:prstGeom>
          <a:noFill/>
          <a:ln w="9525">
            <a:noFill/>
            <a:miter lim="800000"/>
          </a:ln>
        </p:spPr>
        <p:txBody>
          <a:bodyPr anchor="ctr">
            <a:spAutoFit/>
          </a:bodyPr>
          <a:lstStyle/>
          <a:p>
            <a:pPr algn="ctr" defTabSz="913130" eaLnBrk="0" fontAlgn="auto" hangingPunct="0">
              <a:spcBef>
                <a:spcPts val="0"/>
              </a:spcBef>
              <a:spcAft>
                <a:spcPts val="0"/>
              </a:spcAft>
              <a:buClr>
                <a:schemeClr val="hlink"/>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递进说明</a:t>
            </a:r>
          </a:p>
        </p:txBody>
      </p:sp>
      <p:sp>
        <p:nvSpPr>
          <p:cNvPr id="6" name="环形箭头 5"/>
          <p:cNvSpPr>
            <a:spLocks noChangeAspect="1"/>
          </p:cNvSpPr>
          <p:nvPr/>
        </p:nvSpPr>
        <p:spPr bwMode="auto">
          <a:xfrm>
            <a:off x="1098467" y="1599633"/>
            <a:ext cx="2592000" cy="2592000"/>
          </a:xfrm>
          <a:prstGeom prst="circularArrow">
            <a:avLst>
              <a:gd name="adj1" fmla="val 7751"/>
              <a:gd name="adj2" fmla="val 910083"/>
              <a:gd name="adj3" fmla="val 1170549"/>
              <a:gd name="adj4" fmla="val 3031870"/>
              <a:gd name="adj5" fmla="val 7753"/>
            </a:avLst>
          </a:prstGeom>
          <a:solidFill>
            <a:schemeClr val="bg1">
              <a:lumMod val="50000"/>
            </a:schemeClr>
          </a:solidFill>
          <a:ln>
            <a:noFill/>
          </a:ln>
          <a:effectLst>
            <a:outerShdw blurRad="50800" dist="38100" rotWithShape="0">
              <a:srgbClr val="000000">
                <a:alpha val="40000"/>
              </a:srgbClr>
            </a:outerShdw>
          </a:effectLst>
          <a:scene3d>
            <a:camera prst="perspectiveRelaxed">
              <a:rot lat="17673596" lon="0" rev="0"/>
            </a:camera>
            <a:lightRig rig="balanced" dir="t">
              <a:rot lat="0" lon="0" rev="11400000"/>
            </a:lightRig>
          </a:scene3d>
          <a:sp3d extrusionH="158750" contourW="12700" prstMaterial="plastic">
            <a:bevelT w="101600" prst="artDeco"/>
            <a:bevelB w="0" h="25400"/>
            <a:contourClr>
              <a:schemeClr val="bg1">
                <a:lumMod val="50000"/>
              </a:schemeClr>
            </a:contour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zh-CN" altLang="en-US" dirty="0">
              <a:ea typeface="微软雅黑" panose="020B0503020204020204" pitchFamily="34" charset="-122"/>
            </a:endParaRPr>
          </a:p>
        </p:txBody>
      </p:sp>
      <p:sp>
        <p:nvSpPr>
          <p:cNvPr id="7" name="Oval 93"/>
          <p:cNvSpPr>
            <a:spLocks noChangeArrowheads="1"/>
          </p:cNvSpPr>
          <p:nvPr/>
        </p:nvSpPr>
        <p:spPr bwMode="auto">
          <a:xfrm>
            <a:off x="1707457" y="1359617"/>
            <a:ext cx="1440000" cy="1151456"/>
          </a:xfrm>
          <a:prstGeom prst="ellipse">
            <a:avLst/>
          </a:prstGeom>
          <a:solidFill>
            <a:schemeClr val="bg1">
              <a:lumMod val="50000"/>
            </a:schemeClr>
          </a:solidFill>
          <a:ln w="25400">
            <a:noFill/>
          </a:ln>
          <a:effectLst>
            <a:outerShdw blurRad="225425" dist="38100" dir="5220000" algn="ctr">
              <a:srgbClr val="000000">
                <a:alpha val="33000"/>
              </a:srgbClr>
            </a:outerShdw>
          </a:effectLst>
          <a:scene3d>
            <a:camera prst="perspectiveRelaxed" fov="1800000"/>
            <a:lightRig rig="flat" dir="t"/>
          </a:scene3d>
          <a:sp3d extrusionH="1270000" contourW="19050">
            <a:bevelT w="101600" prst="convex"/>
            <a:bevelB w="0" h="381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8" name="TextBox 7"/>
          <p:cNvSpPr txBox="1"/>
          <p:nvPr/>
        </p:nvSpPr>
        <p:spPr bwMode="auto">
          <a:xfrm>
            <a:off x="1570466" y="1773763"/>
            <a:ext cx="1713982" cy="307777"/>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400" dirty="0">
                <a:solidFill>
                  <a:schemeClr val="bg1"/>
                </a:solidFill>
                <a:effectLst/>
                <a:latin typeface="微软雅黑" panose="020B0503020204020204" pitchFamily="34" charset="-122"/>
                <a:ea typeface="微软雅黑" panose="020B0503020204020204" pitchFamily="34" charset="-122"/>
              </a:rPr>
              <a:t>点击添加文本</a:t>
            </a:r>
          </a:p>
        </p:txBody>
      </p:sp>
      <p:sp>
        <p:nvSpPr>
          <p:cNvPr id="13" name="环形箭头 12"/>
          <p:cNvSpPr>
            <a:spLocks noChangeAspect="1"/>
          </p:cNvSpPr>
          <p:nvPr/>
        </p:nvSpPr>
        <p:spPr bwMode="auto">
          <a:xfrm>
            <a:off x="5540161" y="1599633"/>
            <a:ext cx="2592000" cy="2592000"/>
          </a:xfrm>
          <a:prstGeom prst="circularArrow">
            <a:avLst>
              <a:gd name="adj1" fmla="val 7751"/>
              <a:gd name="adj2" fmla="val 910083"/>
              <a:gd name="adj3" fmla="val 1170549"/>
              <a:gd name="adj4" fmla="val 3031870"/>
              <a:gd name="adj5" fmla="val 7753"/>
            </a:avLst>
          </a:prstGeom>
          <a:solidFill>
            <a:schemeClr val="bg2"/>
          </a:solidFill>
          <a:ln>
            <a:noFill/>
          </a:ln>
          <a:effectLst>
            <a:outerShdw blurRad="50800" dist="38100" rotWithShape="0">
              <a:srgbClr val="000000">
                <a:alpha val="40000"/>
              </a:srgbClr>
            </a:outerShdw>
          </a:effectLst>
          <a:scene3d>
            <a:camera prst="perspectiveRelaxed">
              <a:rot lat="17673596" lon="0" rev="0"/>
            </a:camera>
            <a:lightRig rig="balanced" dir="t">
              <a:rot lat="0" lon="0" rev="11400000"/>
            </a:lightRig>
          </a:scene3d>
          <a:sp3d extrusionH="158750" contourW="12700" prstMaterial="plastic">
            <a:bevelT w="101600" prst="artDeco"/>
            <a:bevelB w="0" h="25400"/>
            <a:contourClr>
              <a:schemeClr val="bg2"/>
            </a:contourClr>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zh-CN" altLang="en-US" dirty="0">
              <a:ea typeface="微软雅黑" panose="020B0503020204020204" pitchFamily="34" charset="-122"/>
            </a:endParaRPr>
          </a:p>
        </p:txBody>
      </p:sp>
      <p:sp>
        <p:nvSpPr>
          <p:cNvPr id="14" name="Oval 93"/>
          <p:cNvSpPr>
            <a:spLocks noChangeArrowheads="1"/>
          </p:cNvSpPr>
          <p:nvPr/>
        </p:nvSpPr>
        <p:spPr bwMode="auto">
          <a:xfrm>
            <a:off x="6149151" y="1359617"/>
            <a:ext cx="1440000" cy="1151456"/>
          </a:xfrm>
          <a:prstGeom prst="ellipse">
            <a:avLst/>
          </a:prstGeom>
          <a:solidFill>
            <a:schemeClr val="bg2"/>
          </a:solidFill>
          <a:ln w="25400">
            <a:noFill/>
          </a:ln>
          <a:effectLst>
            <a:outerShdw blurRad="225425" dist="38100" dir="5220000" algn="ctr">
              <a:srgbClr val="000000">
                <a:alpha val="33000"/>
              </a:srgbClr>
            </a:outerShdw>
          </a:effectLst>
          <a:scene3d>
            <a:camera prst="perspectiveRelaxed" fov="1800000"/>
            <a:lightRig rig="flat" dir="t"/>
          </a:scene3d>
          <a:sp3d extrusionH="1270000" contourW="19050">
            <a:bevelT w="101600" prst="convex"/>
            <a:bevelB w="0" h="3810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5" name="TextBox 14"/>
          <p:cNvSpPr txBox="1"/>
          <p:nvPr/>
        </p:nvSpPr>
        <p:spPr bwMode="auto">
          <a:xfrm>
            <a:off x="6012160" y="1773763"/>
            <a:ext cx="1713982" cy="307777"/>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400" dirty="0">
                <a:solidFill>
                  <a:schemeClr val="bg1"/>
                </a:solidFill>
                <a:effectLst/>
                <a:latin typeface="微软雅黑" panose="020B0503020204020204" pitchFamily="34" charset="-122"/>
                <a:ea typeface="微软雅黑" panose="020B0503020204020204" pitchFamily="34" charset="-122"/>
              </a:rPr>
              <a:t>点击添加文本</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900" decel="100000" fill="hold"/>
                                        <p:tgtEl>
                                          <p:spTgt spid="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23" presetClass="entr" presetSubtype="16"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childTnLst>
                                </p:cTn>
                              </p:par>
                            </p:childTnLst>
                          </p:cTn>
                        </p:par>
                        <p:par>
                          <p:cTn id="16" fill="hold">
                            <p:stCondLst>
                              <p:cond delay="1500"/>
                            </p:stCondLst>
                            <p:childTnLst>
                              <p:par>
                                <p:cTn id="17" presetID="2" presetClass="entr" presetSubtype="1"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ppt_x"/>
                                          </p:val>
                                        </p:tav>
                                        <p:tav tm="100000">
                                          <p:val>
                                            <p:strVal val="#ppt_x"/>
                                          </p:val>
                                        </p:tav>
                                      </p:tavLst>
                                    </p:anim>
                                    <p:anim calcmode="lin" valueType="num">
                                      <p:cBhvr additive="base">
                                        <p:cTn id="20" dur="1000" fill="hold"/>
                                        <p:tgtEl>
                                          <p:spTgt spid="7"/>
                                        </p:tgtEl>
                                        <p:attrNameLst>
                                          <p:attrName>ppt_y</p:attrName>
                                        </p:attrNameLst>
                                      </p:cBhvr>
                                      <p:tavLst>
                                        <p:tav tm="0">
                                          <p:val>
                                            <p:strVal val="0-#ppt_h/2"/>
                                          </p:val>
                                        </p:tav>
                                        <p:tav tm="100000">
                                          <p:val>
                                            <p:strVal val="#ppt_y"/>
                                          </p:val>
                                        </p:tav>
                                      </p:tavLst>
                                    </p:anim>
                                  </p:childTnLst>
                                </p:cTn>
                              </p:par>
                            </p:childTnLst>
                          </p:cTn>
                        </p:par>
                        <p:par>
                          <p:cTn id="21" fill="hold">
                            <p:stCondLst>
                              <p:cond delay="2500"/>
                            </p:stCondLst>
                            <p:childTnLst>
                              <p:par>
                                <p:cTn id="22" presetID="12" presetClass="entr" presetSubtype="4" fill="hold" grpId="0"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slide(fromBottom)">
                                      <p:cBhvr>
                                        <p:cTn id="24" dur="500"/>
                                        <p:tgtEl>
                                          <p:spTgt spid="8"/>
                                        </p:tgtEl>
                                      </p:cBhvr>
                                    </p:animEffect>
                                  </p:childTnLst>
                                </p:cTn>
                              </p:par>
                            </p:childTnLst>
                          </p:cTn>
                        </p:par>
                        <p:par>
                          <p:cTn id="25" fill="hold">
                            <p:stCondLst>
                              <p:cond delay="3000"/>
                            </p:stCondLst>
                            <p:childTnLst>
                              <p:par>
                                <p:cTn id="26" presetID="2" presetClass="entr" presetSubtype="8" fill="hold" grpId="0" nodeType="after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1000" fill="hold"/>
                                        <p:tgtEl>
                                          <p:spTgt spid="3"/>
                                        </p:tgtEl>
                                        <p:attrNameLst>
                                          <p:attrName>ppt_x</p:attrName>
                                        </p:attrNameLst>
                                      </p:cBhvr>
                                      <p:tavLst>
                                        <p:tav tm="0">
                                          <p:val>
                                            <p:strVal val="0-#ppt_w/2"/>
                                          </p:val>
                                        </p:tav>
                                        <p:tav tm="100000">
                                          <p:val>
                                            <p:strVal val="#ppt_x"/>
                                          </p:val>
                                        </p:tav>
                                      </p:tavLst>
                                    </p:anim>
                                    <p:anim calcmode="lin" valueType="num">
                                      <p:cBhvr additive="base">
                                        <p:cTn id="29" dur="1000" fill="hold"/>
                                        <p:tgtEl>
                                          <p:spTgt spid="3"/>
                                        </p:tgtEl>
                                        <p:attrNameLst>
                                          <p:attrName>ppt_y</p:attrName>
                                        </p:attrNameLst>
                                      </p:cBhvr>
                                      <p:tavLst>
                                        <p:tav tm="0">
                                          <p:val>
                                            <p:strVal val="#ppt_y"/>
                                          </p:val>
                                        </p:tav>
                                        <p:tav tm="100000">
                                          <p:val>
                                            <p:strVal val="#ppt_y"/>
                                          </p:val>
                                        </p:tav>
                                      </p:tavLst>
                                    </p:anim>
                                  </p:childTnLst>
                                </p:cTn>
                              </p:par>
                            </p:childTnLst>
                          </p:cTn>
                        </p:par>
                        <p:par>
                          <p:cTn id="30" fill="hold">
                            <p:stCondLst>
                              <p:cond delay="4000"/>
                            </p:stCondLst>
                            <p:childTnLst>
                              <p:par>
                                <p:cTn id="31" presetID="12" presetClass="entr" presetSubtype="8"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slide(fromLeft)">
                                      <p:cBhvr>
                                        <p:cTn id="33" dur="500"/>
                                        <p:tgtEl>
                                          <p:spTgt spid="5"/>
                                        </p:tgtEl>
                                      </p:cBhvr>
                                    </p:animEffect>
                                  </p:childTnLst>
                                </p:cTn>
                              </p:par>
                            </p:childTnLst>
                          </p:cTn>
                        </p:par>
                        <p:par>
                          <p:cTn id="34" fill="hold">
                            <p:stCondLst>
                              <p:cond delay="4500"/>
                            </p:stCondLst>
                            <p:childTnLst>
                              <p:par>
                                <p:cTn id="35" presetID="23" presetClass="entr" presetSubtype="16"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p:cTn id="37" dur="500" fill="hold"/>
                                        <p:tgtEl>
                                          <p:spTgt spid="13"/>
                                        </p:tgtEl>
                                        <p:attrNameLst>
                                          <p:attrName>ppt_w</p:attrName>
                                        </p:attrNameLst>
                                      </p:cBhvr>
                                      <p:tavLst>
                                        <p:tav tm="0">
                                          <p:val>
                                            <p:fltVal val="0"/>
                                          </p:val>
                                        </p:tav>
                                        <p:tav tm="100000">
                                          <p:val>
                                            <p:strVal val="#ppt_w"/>
                                          </p:val>
                                        </p:tav>
                                      </p:tavLst>
                                    </p:anim>
                                    <p:anim calcmode="lin" valueType="num">
                                      <p:cBhvr>
                                        <p:cTn id="38" dur="500" fill="hold"/>
                                        <p:tgtEl>
                                          <p:spTgt spid="13"/>
                                        </p:tgtEl>
                                        <p:attrNameLst>
                                          <p:attrName>ppt_h</p:attrName>
                                        </p:attrNameLst>
                                      </p:cBhvr>
                                      <p:tavLst>
                                        <p:tav tm="0">
                                          <p:val>
                                            <p:fltVal val="0"/>
                                          </p:val>
                                        </p:tav>
                                        <p:tav tm="100000">
                                          <p:val>
                                            <p:strVal val="#ppt_h"/>
                                          </p:val>
                                        </p:tav>
                                      </p:tavLst>
                                    </p:anim>
                                  </p:childTnLst>
                                </p:cTn>
                              </p:par>
                            </p:childTnLst>
                          </p:cTn>
                        </p:par>
                        <p:par>
                          <p:cTn id="39" fill="hold">
                            <p:stCondLst>
                              <p:cond delay="5000"/>
                            </p:stCondLst>
                            <p:childTnLst>
                              <p:par>
                                <p:cTn id="40" presetID="2" presetClass="entr" presetSubtype="1"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 calcmode="lin" valueType="num">
                                      <p:cBhvr additive="base">
                                        <p:cTn id="42" dur="1000" fill="hold"/>
                                        <p:tgtEl>
                                          <p:spTgt spid="14"/>
                                        </p:tgtEl>
                                        <p:attrNameLst>
                                          <p:attrName>ppt_x</p:attrName>
                                        </p:attrNameLst>
                                      </p:cBhvr>
                                      <p:tavLst>
                                        <p:tav tm="0">
                                          <p:val>
                                            <p:strVal val="#ppt_x"/>
                                          </p:val>
                                        </p:tav>
                                        <p:tav tm="100000">
                                          <p:val>
                                            <p:strVal val="#ppt_x"/>
                                          </p:val>
                                        </p:tav>
                                      </p:tavLst>
                                    </p:anim>
                                    <p:anim calcmode="lin" valueType="num">
                                      <p:cBhvr additive="base">
                                        <p:cTn id="43" dur="1000" fill="hold"/>
                                        <p:tgtEl>
                                          <p:spTgt spid="14"/>
                                        </p:tgtEl>
                                        <p:attrNameLst>
                                          <p:attrName>ppt_y</p:attrName>
                                        </p:attrNameLst>
                                      </p:cBhvr>
                                      <p:tavLst>
                                        <p:tav tm="0">
                                          <p:val>
                                            <p:strVal val="0-#ppt_h/2"/>
                                          </p:val>
                                        </p:tav>
                                        <p:tav tm="100000">
                                          <p:val>
                                            <p:strVal val="#ppt_y"/>
                                          </p:val>
                                        </p:tav>
                                      </p:tavLst>
                                    </p:anim>
                                  </p:childTnLst>
                                </p:cTn>
                              </p:par>
                            </p:childTnLst>
                          </p:cTn>
                        </p:par>
                        <p:par>
                          <p:cTn id="44" fill="hold">
                            <p:stCondLst>
                              <p:cond delay="6000"/>
                            </p:stCondLst>
                            <p:childTnLst>
                              <p:par>
                                <p:cTn id="45" presetID="12" presetClass="entr" presetSubtype="4" fill="hold" grpId="0" nodeType="after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slide(fromBottom)">
                                      <p:cBhvr>
                                        <p:cTn id="4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p:bldP spid="6" grpId="0" animBg="1"/>
      <p:bldP spid="7" grpId="0" animBg="1"/>
      <p:bldP spid="8" grpId="0"/>
      <p:bldP spid="13" grpId="0" animBg="1"/>
      <p:bldP spid="14" grpId="0" animBg="1"/>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77049" y="2887702"/>
            <a:ext cx="2704114" cy="1543678"/>
          </a:xfrm>
          <a:prstGeom prst="rect">
            <a:avLst/>
          </a:prstGeom>
          <a:solidFill>
            <a:schemeClr val="bg2"/>
          </a:solidFill>
          <a:ln>
            <a:noFill/>
          </a:ln>
        </p:spPr>
      </p:pic>
      <p:pic>
        <p:nvPicPr>
          <p:cNvPr id="122"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7050" y="1131590"/>
            <a:ext cx="2704114" cy="1543676"/>
          </a:xfrm>
          <a:prstGeom prst="rect">
            <a:avLst/>
          </a:prstGeo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n>
            <a:noFill/>
            <a:headEnd type="none" w="med" len="med"/>
            <a:tailEnd type="none" w="med" len="med"/>
          </a:ln>
        </p:spPr>
      </p:pic>
      <p:grpSp>
        <p:nvGrpSpPr>
          <p:cNvPr id="123" name="组合 122"/>
          <p:cNvGrpSpPr/>
          <p:nvPr/>
        </p:nvGrpSpPr>
        <p:grpSpPr>
          <a:xfrm>
            <a:off x="3941237" y="1131590"/>
            <a:ext cx="4231163" cy="729614"/>
            <a:chOff x="3725213" y="857250"/>
            <a:chExt cx="5028160" cy="867047"/>
          </a:xfr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p:grpSpPr>
        <p:sp>
          <p:nvSpPr>
            <p:cNvPr id="124" name="Light Blue"/>
            <p:cNvSpPr/>
            <p:nvPr/>
          </p:nvSpPr>
          <p:spPr bwMode="auto">
            <a:xfrm>
              <a:off x="3725213" y="858362"/>
              <a:ext cx="1254500" cy="865935"/>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defTabSz="685800"/>
              <a:r>
                <a:rPr lang="zh-CN" altLang="en-US"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  填加标题</a:t>
              </a:r>
              <a:endParaRPr lang="en-US"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25" name="Light Blue"/>
            <p:cNvSpPr/>
            <p:nvPr/>
          </p:nvSpPr>
          <p:spPr bwMode="auto">
            <a:xfrm>
              <a:off x="5064234" y="857250"/>
              <a:ext cx="3689139" cy="865935"/>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altLang="zh-CN"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sz="1100" baseline="300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26" name="组合 125"/>
          <p:cNvGrpSpPr/>
          <p:nvPr/>
        </p:nvGrpSpPr>
        <p:grpSpPr>
          <a:xfrm>
            <a:off x="3941238" y="1915079"/>
            <a:ext cx="4231162" cy="728679"/>
            <a:chOff x="3725213" y="1825764"/>
            <a:chExt cx="5028160" cy="865936"/>
          </a:xfr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p:grpSpPr>
        <p:sp>
          <p:nvSpPr>
            <p:cNvPr id="127" name="Light Blue"/>
            <p:cNvSpPr/>
            <p:nvPr/>
          </p:nvSpPr>
          <p:spPr bwMode="auto">
            <a:xfrm>
              <a:off x="3725213" y="1825765"/>
              <a:ext cx="1254500" cy="865935"/>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defTabSz="685800"/>
              <a:r>
                <a:rPr lang="zh-CN" altLang="en-US"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  填加标题</a:t>
              </a:r>
              <a:endParaRPr lang="en-US" altLang="zh-CN"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28" name="Light Blue"/>
            <p:cNvSpPr/>
            <p:nvPr/>
          </p:nvSpPr>
          <p:spPr bwMode="auto">
            <a:xfrm>
              <a:off x="5066374" y="1825764"/>
              <a:ext cx="3686999" cy="865935"/>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altLang="zh-CN"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altLang="zh-CN"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29" name="组合 128"/>
          <p:cNvGrpSpPr/>
          <p:nvPr/>
        </p:nvGrpSpPr>
        <p:grpSpPr>
          <a:xfrm>
            <a:off x="3941237" y="2887703"/>
            <a:ext cx="4231163" cy="729614"/>
            <a:chOff x="3725214" y="2877207"/>
            <a:chExt cx="5028160" cy="867047"/>
          </a:xfrm>
          <a:solidFill>
            <a:schemeClr val="bg2"/>
          </a:solidFill>
        </p:grpSpPr>
        <p:sp>
          <p:nvSpPr>
            <p:cNvPr id="130" name="Light Blue"/>
            <p:cNvSpPr/>
            <p:nvPr/>
          </p:nvSpPr>
          <p:spPr bwMode="auto">
            <a:xfrm>
              <a:off x="3725214" y="2878318"/>
              <a:ext cx="1254500" cy="865936"/>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defTabSz="685800"/>
              <a:r>
                <a:rPr lang="zh-CN" altLang="en-US"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  填加标题</a:t>
              </a:r>
              <a:endParaRPr lang="en-US" altLang="zh-CN"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1" name="Light Blue"/>
            <p:cNvSpPr/>
            <p:nvPr/>
          </p:nvSpPr>
          <p:spPr bwMode="auto">
            <a:xfrm>
              <a:off x="5064235" y="2877207"/>
              <a:ext cx="3689139" cy="865936"/>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defTabSz="685800">
                <a:lnSpc>
                  <a:spcPct val="90000"/>
                </a:lnSpc>
                <a:spcBef>
                  <a:spcPts val="900"/>
                </a:spcBef>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sz="1100" baseline="300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grpSp>
      <p:grpSp>
        <p:nvGrpSpPr>
          <p:cNvPr id="132" name="组合 131"/>
          <p:cNvGrpSpPr/>
          <p:nvPr/>
        </p:nvGrpSpPr>
        <p:grpSpPr>
          <a:xfrm>
            <a:off x="3941238" y="3712202"/>
            <a:ext cx="4231162" cy="728680"/>
            <a:chOff x="3725214" y="3845722"/>
            <a:chExt cx="5028160" cy="865937"/>
          </a:xfrm>
          <a:solidFill>
            <a:schemeClr val="bg2"/>
          </a:solidFill>
        </p:grpSpPr>
        <p:sp>
          <p:nvSpPr>
            <p:cNvPr id="133" name="Light Blue"/>
            <p:cNvSpPr/>
            <p:nvPr/>
          </p:nvSpPr>
          <p:spPr bwMode="auto">
            <a:xfrm>
              <a:off x="3725214" y="3845723"/>
              <a:ext cx="1254500" cy="865936"/>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defTabSz="685800"/>
              <a:r>
                <a:rPr lang="zh-CN" altLang="en-US"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  填加标题</a:t>
              </a:r>
              <a:endParaRPr lang="en-US" altLang="zh-CN" sz="13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34" name="Light Blue"/>
            <p:cNvSpPr/>
            <p:nvPr/>
          </p:nvSpPr>
          <p:spPr bwMode="auto">
            <a:xfrm>
              <a:off x="5066374" y="3845722"/>
              <a:ext cx="3687000" cy="865936"/>
            </a:xfrm>
            <a:prstGeom prst="roundRect">
              <a:avLst>
                <a:gd name="adj" fmla="val 0"/>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45720" bIns="91440" numCol="1" rtlCol="0" anchor="ctr" anchorCtr="0" compatLnSpc="1"/>
            <a:lstStyle/>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altLang="zh-CN"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a:p>
              <a:pPr marL="130810" indent="-130810" defTabSz="685800">
                <a:lnSpc>
                  <a:spcPct val="90000"/>
                </a:lnSpc>
                <a:spcBef>
                  <a:spcPts val="675"/>
                </a:spcBef>
                <a:buFont typeface="Arial" panose="020B0604020202020204" pitchFamily="34" charset="0"/>
                <a:buChar char="•"/>
              </a:pPr>
              <a:r>
                <a:rPr lang="zh-CN" altLang="en-US"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单击填加文字内容</a:t>
              </a:r>
              <a:endParaRPr lang="en-US" altLang="zh-CN" sz="1100"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endParaRPr>
            </a:p>
          </p:txBody>
        </p:sp>
      </p:grpSp>
      <p:sp>
        <p:nvSpPr>
          <p:cNvPr id="135" name="Light Blue"/>
          <p:cNvSpPr/>
          <p:nvPr/>
        </p:nvSpPr>
        <p:spPr bwMode="auto">
          <a:xfrm flipH="1">
            <a:off x="755576" y="2523930"/>
            <a:ext cx="1080348" cy="263844"/>
          </a:xfrm>
          <a:custGeom>
            <a:avLst/>
            <a:gdLst>
              <a:gd name="connsiteX0" fmla="*/ 0 w 2047727"/>
              <a:gd name="connsiteY0" fmla="*/ 0 h 457200"/>
              <a:gd name="connsiteX1" fmla="*/ 1819127 w 2047727"/>
              <a:gd name="connsiteY1" fmla="*/ 0 h 457200"/>
              <a:gd name="connsiteX2" fmla="*/ 2047727 w 2047727"/>
              <a:gd name="connsiteY2" fmla="*/ 228600 h 457200"/>
              <a:gd name="connsiteX3" fmla="*/ 1819127 w 2047727"/>
              <a:gd name="connsiteY3" fmla="*/ 457200 h 457200"/>
              <a:gd name="connsiteX4" fmla="*/ 0 w 2047727"/>
              <a:gd name="connsiteY4" fmla="*/ 457200 h 457200"/>
              <a:gd name="connsiteX5" fmla="*/ 228600 w 2047727"/>
              <a:gd name="connsiteY5" fmla="*/ 228600 h 457200"/>
              <a:gd name="connsiteX6" fmla="*/ 0 w 2047727"/>
              <a:gd name="connsiteY6" fmla="*/ 0 h 457200"/>
              <a:gd name="connsiteX0-1" fmla="*/ 0 w 1819127"/>
              <a:gd name="connsiteY0-2" fmla="*/ 0 h 457200"/>
              <a:gd name="connsiteX1-3" fmla="*/ 1819127 w 1819127"/>
              <a:gd name="connsiteY1-4" fmla="*/ 0 h 457200"/>
              <a:gd name="connsiteX2-5" fmla="*/ 1819127 w 1819127"/>
              <a:gd name="connsiteY2-6" fmla="*/ 457200 h 457200"/>
              <a:gd name="connsiteX3-7" fmla="*/ 0 w 1819127"/>
              <a:gd name="connsiteY3-8" fmla="*/ 457200 h 457200"/>
              <a:gd name="connsiteX4-9" fmla="*/ 228600 w 1819127"/>
              <a:gd name="connsiteY4-10" fmla="*/ 228600 h 457200"/>
              <a:gd name="connsiteX5-11" fmla="*/ 0 w 1819127"/>
              <a:gd name="connsiteY5-12" fmla="*/ 0 h 4572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19127" h="457200">
                <a:moveTo>
                  <a:pt x="0" y="0"/>
                </a:moveTo>
                <a:lnTo>
                  <a:pt x="1819127" y="0"/>
                </a:lnTo>
                <a:lnTo>
                  <a:pt x="1819127" y="457200"/>
                </a:lnTo>
                <a:lnTo>
                  <a:pt x="0" y="457200"/>
                </a:lnTo>
                <a:lnTo>
                  <a:pt x="228600" y="228600"/>
                </a:lnTo>
                <a:lnTo>
                  <a:pt x="0" y="0"/>
                </a:lnTo>
                <a:close/>
              </a:path>
            </a:pathLst>
          </a:custGeo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n>
            <a:noFill/>
            <a:headEnd type="none" w="med" len="med"/>
            <a:tailEnd type="none" w="med" len="med"/>
          </a:ln>
          <a:effectLst>
            <a:outerShdw blurRad="50800" dist="38100" dir="18900000" algn="b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91440" rIns="365760" bIns="91440" numCol="1" rtlCol="0" anchor="ctr" anchorCtr="0" compatLnSpc="1"/>
          <a:lstStyle/>
          <a:p>
            <a:pPr algn="r" defTabSz="685800"/>
            <a:r>
              <a:rPr lang="en-US" sz="18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2012</a:t>
            </a:r>
          </a:p>
        </p:txBody>
      </p:sp>
      <p:sp>
        <p:nvSpPr>
          <p:cNvPr id="136" name="Light Blue"/>
          <p:cNvSpPr/>
          <p:nvPr/>
        </p:nvSpPr>
        <p:spPr bwMode="auto">
          <a:xfrm flipH="1">
            <a:off x="755576" y="4252122"/>
            <a:ext cx="1080348" cy="263844"/>
          </a:xfrm>
          <a:custGeom>
            <a:avLst/>
            <a:gdLst>
              <a:gd name="connsiteX0" fmla="*/ 0 w 2047727"/>
              <a:gd name="connsiteY0" fmla="*/ 0 h 457200"/>
              <a:gd name="connsiteX1" fmla="*/ 1819127 w 2047727"/>
              <a:gd name="connsiteY1" fmla="*/ 0 h 457200"/>
              <a:gd name="connsiteX2" fmla="*/ 2047727 w 2047727"/>
              <a:gd name="connsiteY2" fmla="*/ 228600 h 457200"/>
              <a:gd name="connsiteX3" fmla="*/ 1819127 w 2047727"/>
              <a:gd name="connsiteY3" fmla="*/ 457200 h 457200"/>
              <a:gd name="connsiteX4" fmla="*/ 0 w 2047727"/>
              <a:gd name="connsiteY4" fmla="*/ 457200 h 457200"/>
              <a:gd name="connsiteX5" fmla="*/ 228600 w 2047727"/>
              <a:gd name="connsiteY5" fmla="*/ 228600 h 457200"/>
              <a:gd name="connsiteX6" fmla="*/ 0 w 2047727"/>
              <a:gd name="connsiteY6" fmla="*/ 0 h 457200"/>
              <a:gd name="connsiteX0-1" fmla="*/ 0 w 1819127"/>
              <a:gd name="connsiteY0-2" fmla="*/ 0 h 457200"/>
              <a:gd name="connsiteX1-3" fmla="*/ 1819127 w 1819127"/>
              <a:gd name="connsiteY1-4" fmla="*/ 0 h 457200"/>
              <a:gd name="connsiteX2-5" fmla="*/ 1819127 w 1819127"/>
              <a:gd name="connsiteY2-6" fmla="*/ 457200 h 457200"/>
              <a:gd name="connsiteX3-7" fmla="*/ 0 w 1819127"/>
              <a:gd name="connsiteY3-8" fmla="*/ 457200 h 457200"/>
              <a:gd name="connsiteX4-9" fmla="*/ 228600 w 1819127"/>
              <a:gd name="connsiteY4-10" fmla="*/ 228600 h 457200"/>
              <a:gd name="connsiteX5-11" fmla="*/ 0 w 1819127"/>
              <a:gd name="connsiteY5-12" fmla="*/ 0 h 4572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819127" h="457200">
                <a:moveTo>
                  <a:pt x="0" y="0"/>
                </a:moveTo>
                <a:lnTo>
                  <a:pt x="1819127" y="0"/>
                </a:lnTo>
                <a:lnTo>
                  <a:pt x="1819127" y="457200"/>
                </a:lnTo>
                <a:lnTo>
                  <a:pt x="0" y="457200"/>
                </a:lnTo>
                <a:lnTo>
                  <a:pt x="228600" y="228600"/>
                </a:lnTo>
                <a:lnTo>
                  <a:pt x="0" y="0"/>
                </a:lnTo>
                <a:close/>
              </a:path>
            </a:pathLst>
          </a:custGeom>
          <a:solidFill>
            <a:schemeClr val="bg2"/>
          </a:solidFill>
          <a:ln>
            <a:noFill/>
            <a:headEnd type="none" w="med" len="med"/>
            <a:tailEnd type="none" w="med" len="med"/>
          </a:ln>
          <a:effectLst>
            <a:outerShdw blurRad="50800" dist="38100" dir="18900000" algn="b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91440" rIns="365760" bIns="91440" numCol="1" rtlCol="0" anchor="ctr" anchorCtr="0" compatLnSpc="1"/>
          <a:lstStyle/>
          <a:p>
            <a:pPr algn="r" defTabSz="685800"/>
            <a:r>
              <a:rPr lang="en-US" sz="1800" b="1" dirty="0">
                <a:gradFill>
                  <a:gsLst>
                    <a:gs pos="100000">
                      <a:schemeClr val="tx1"/>
                    </a:gs>
                    <a:gs pos="0">
                      <a:schemeClr val="tx1"/>
                    </a:gs>
                  </a:gsLst>
                  <a:lin ang="5400000" scaled="1"/>
                </a:gradFill>
                <a:latin typeface="微软雅黑" panose="020B0503020204020204" pitchFamily="34" charset="-122"/>
                <a:ea typeface="微软雅黑" panose="020B0503020204020204" pitchFamily="34" charset="-122"/>
                <a:cs typeface="Segoe UI" panose="020B0502040204020203" pitchFamily="34" charset="0"/>
              </a:rPr>
              <a:t>2013</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left)">
                                      <p:cBhvr>
                                        <p:cTn id="11" dur="500"/>
                                        <p:tgtEl>
                                          <p:spTgt spid="135"/>
                                        </p:tgtEl>
                                      </p:cBhvr>
                                    </p:animEffect>
                                  </p:childTnLst>
                                </p:cTn>
                              </p:par>
                            </p:childTnLst>
                          </p:cTn>
                        </p:par>
                        <p:par>
                          <p:cTn id="12" fill="hold">
                            <p:stCondLst>
                              <p:cond delay="1000"/>
                            </p:stCondLst>
                            <p:childTnLst>
                              <p:par>
                                <p:cTn id="13" presetID="2" presetClass="entr" presetSubtype="2" fill="hold" nodeType="afterEffect">
                                  <p:stCondLst>
                                    <p:cond delay="0"/>
                                  </p:stCondLst>
                                  <p:childTnLst>
                                    <p:set>
                                      <p:cBhvr>
                                        <p:cTn id="14" dur="1" fill="hold">
                                          <p:stCondLst>
                                            <p:cond delay="0"/>
                                          </p:stCondLst>
                                        </p:cTn>
                                        <p:tgtEl>
                                          <p:spTgt spid="123"/>
                                        </p:tgtEl>
                                        <p:attrNameLst>
                                          <p:attrName>style.visibility</p:attrName>
                                        </p:attrNameLst>
                                      </p:cBhvr>
                                      <p:to>
                                        <p:strVal val="visible"/>
                                      </p:to>
                                    </p:set>
                                    <p:anim calcmode="lin" valueType="num">
                                      <p:cBhvr additive="base">
                                        <p:cTn id="15" dur="500" fill="hold"/>
                                        <p:tgtEl>
                                          <p:spTgt spid="123"/>
                                        </p:tgtEl>
                                        <p:attrNameLst>
                                          <p:attrName>ppt_x</p:attrName>
                                        </p:attrNameLst>
                                      </p:cBhvr>
                                      <p:tavLst>
                                        <p:tav tm="0">
                                          <p:val>
                                            <p:strVal val="1+#ppt_w/2"/>
                                          </p:val>
                                        </p:tav>
                                        <p:tav tm="100000">
                                          <p:val>
                                            <p:strVal val="#ppt_x"/>
                                          </p:val>
                                        </p:tav>
                                      </p:tavLst>
                                    </p:anim>
                                    <p:anim calcmode="lin" valueType="num">
                                      <p:cBhvr additive="base">
                                        <p:cTn id="16" dur="500" fill="hold"/>
                                        <p:tgtEl>
                                          <p:spTgt spid="123"/>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2" fill="hold" nodeType="afterEffect">
                                  <p:stCondLst>
                                    <p:cond delay="0"/>
                                  </p:stCondLst>
                                  <p:childTnLst>
                                    <p:set>
                                      <p:cBhvr>
                                        <p:cTn id="19" dur="1" fill="hold">
                                          <p:stCondLst>
                                            <p:cond delay="0"/>
                                          </p:stCondLst>
                                        </p:cTn>
                                        <p:tgtEl>
                                          <p:spTgt spid="126"/>
                                        </p:tgtEl>
                                        <p:attrNameLst>
                                          <p:attrName>style.visibility</p:attrName>
                                        </p:attrNameLst>
                                      </p:cBhvr>
                                      <p:to>
                                        <p:strVal val="visible"/>
                                      </p:to>
                                    </p:set>
                                    <p:anim calcmode="lin" valueType="num">
                                      <p:cBhvr additive="base">
                                        <p:cTn id="20" dur="500" fill="hold"/>
                                        <p:tgtEl>
                                          <p:spTgt spid="126"/>
                                        </p:tgtEl>
                                        <p:attrNameLst>
                                          <p:attrName>ppt_x</p:attrName>
                                        </p:attrNameLst>
                                      </p:cBhvr>
                                      <p:tavLst>
                                        <p:tav tm="0">
                                          <p:val>
                                            <p:strVal val="1+#ppt_w/2"/>
                                          </p:val>
                                        </p:tav>
                                        <p:tav tm="100000">
                                          <p:val>
                                            <p:strVal val="#ppt_x"/>
                                          </p:val>
                                        </p:tav>
                                      </p:tavLst>
                                    </p:anim>
                                    <p:anim calcmode="lin" valueType="num">
                                      <p:cBhvr additive="base">
                                        <p:cTn id="21" dur="500" fill="hold"/>
                                        <p:tgtEl>
                                          <p:spTgt spid="126"/>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121"/>
                                        </p:tgtEl>
                                        <p:attrNameLst>
                                          <p:attrName>style.visibility</p:attrName>
                                        </p:attrNameLst>
                                      </p:cBhvr>
                                      <p:to>
                                        <p:strVal val="visible"/>
                                      </p:to>
                                    </p:set>
                                    <p:animEffect transition="in" filter="fade">
                                      <p:cBhvr>
                                        <p:cTn id="25" dur="500"/>
                                        <p:tgtEl>
                                          <p:spTgt spid="121"/>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36"/>
                                        </p:tgtEl>
                                        <p:attrNameLst>
                                          <p:attrName>style.visibility</p:attrName>
                                        </p:attrNameLst>
                                      </p:cBhvr>
                                      <p:to>
                                        <p:strVal val="visible"/>
                                      </p:to>
                                    </p:set>
                                    <p:animEffect transition="in" filter="wipe(left)">
                                      <p:cBhvr>
                                        <p:cTn id="29" dur="500"/>
                                        <p:tgtEl>
                                          <p:spTgt spid="136"/>
                                        </p:tgtEl>
                                      </p:cBhvr>
                                    </p:animEffect>
                                  </p:childTnLst>
                                </p:cTn>
                              </p:par>
                            </p:childTnLst>
                          </p:cTn>
                        </p:par>
                        <p:par>
                          <p:cTn id="30" fill="hold">
                            <p:stCondLst>
                              <p:cond delay="3000"/>
                            </p:stCondLst>
                            <p:childTnLst>
                              <p:par>
                                <p:cTn id="31" presetID="2" presetClass="entr" presetSubtype="2" fill="hold" nodeType="afterEffect">
                                  <p:stCondLst>
                                    <p:cond delay="0"/>
                                  </p:stCondLst>
                                  <p:childTnLst>
                                    <p:set>
                                      <p:cBhvr>
                                        <p:cTn id="32" dur="1" fill="hold">
                                          <p:stCondLst>
                                            <p:cond delay="0"/>
                                          </p:stCondLst>
                                        </p:cTn>
                                        <p:tgtEl>
                                          <p:spTgt spid="129"/>
                                        </p:tgtEl>
                                        <p:attrNameLst>
                                          <p:attrName>style.visibility</p:attrName>
                                        </p:attrNameLst>
                                      </p:cBhvr>
                                      <p:to>
                                        <p:strVal val="visible"/>
                                      </p:to>
                                    </p:set>
                                    <p:anim calcmode="lin" valueType="num">
                                      <p:cBhvr additive="base">
                                        <p:cTn id="33" dur="500" fill="hold"/>
                                        <p:tgtEl>
                                          <p:spTgt spid="129"/>
                                        </p:tgtEl>
                                        <p:attrNameLst>
                                          <p:attrName>ppt_x</p:attrName>
                                        </p:attrNameLst>
                                      </p:cBhvr>
                                      <p:tavLst>
                                        <p:tav tm="0">
                                          <p:val>
                                            <p:strVal val="1+#ppt_w/2"/>
                                          </p:val>
                                        </p:tav>
                                        <p:tav tm="100000">
                                          <p:val>
                                            <p:strVal val="#ppt_x"/>
                                          </p:val>
                                        </p:tav>
                                      </p:tavLst>
                                    </p:anim>
                                    <p:anim calcmode="lin" valueType="num">
                                      <p:cBhvr additive="base">
                                        <p:cTn id="34" dur="500" fill="hold"/>
                                        <p:tgtEl>
                                          <p:spTgt spid="129"/>
                                        </p:tgtEl>
                                        <p:attrNameLst>
                                          <p:attrName>ppt_y</p:attrName>
                                        </p:attrNameLst>
                                      </p:cBhvr>
                                      <p:tavLst>
                                        <p:tav tm="0">
                                          <p:val>
                                            <p:strVal val="#ppt_y"/>
                                          </p:val>
                                        </p:tav>
                                        <p:tav tm="100000">
                                          <p:val>
                                            <p:strVal val="#ppt_y"/>
                                          </p:val>
                                        </p:tav>
                                      </p:tavLst>
                                    </p:anim>
                                  </p:childTnLst>
                                </p:cTn>
                              </p:par>
                            </p:childTnLst>
                          </p:cTn>
                        </p:par>
                        <p:par>
                          <p:cTn id="35" fill="hold">
                            <p:stCondLst>
                              <p:cond delay="3500"/>
                            </p:stCondLst>
                            <p:childTnLst>
                              <p:par>
                                <p:cTn id="36" presetID="2" presetClass="entr" presetSubtype="2" fill="hold" nodeType="afterEffect">
                                  <p:stCondLst>
                                    <p:cond delay="0"/>
                                  </p:stCondLst>
                                  <p:childTnLst>
                                    <p:set>
                                      <p:cBhvr>
                                        <p:cTn id="37" dur="1" fill="hold">
                                          <p:stCondLst>
                                            <p:cond delay="0"/>
                                          </p:stCondLst>
                                        </p:cTn>
                                        <p:tgtEl>
                                          <p:spTgt spid="132"/>
                                        </p:tgtEl>
                                        <p:attrNameLst>
                                          <p:attrName>style.visibility</p:attrName>
                                        </p:attrNameLst>
                                      </p:cBhvr>
                                      <p:to>
                                        <p:strVal val="visible"/>
                                      </p:to>
                                    </p:set>
                                    <p:anim calcmode="lin" valueType="num">
                                      <p:cBhvr additive="base">
                                        <p:cTn id="38" dur="500" fill="hold"/>
                                        <p:tgtEl>
                                          <p:spTgt spid="132"/>
                                        </p:tgtEl>
                                        <p:attrNameLst>
                                          <p:attrName>ppt_x</p:attrName>
                                        </p:attrNameLst>
                                      </p:cBhvr>
                                      <p:tavLst>
                                        <p:tav tm="0">
                                          <p:val>
                                            <p:strVal val="1+#ppt_w/2"/>
                                          </p:val>
                                        </p:tav>
                                        <p:tav tm="100000">
                                          <p:val>
                                            <p:strVal val="#ppt_x"/>
                                          </p:val>
                                        </p:tav>
                                      </p:tavLst>
                                    </p:anim>
                                    <p:anim calcmode="lin" valueType="num">
                                      <p:cBhvr additive="base">
                                        <p:cTn id="39" dur="500" fill="hold"/>
                                        <p:tgtEl>
                                          <p:spTgt spid="1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a:spLocks noChangeArrowheads="1"/>
          </p:cNvSpPr>
          <p:nvPr/>
        </p:nvSpPr>
        <p:spPr bwMode="auto">
          <a:xfrm>
            <a:off x="4637593" y="3326370"/>
            <a:ext cx="3280171" cy="1261604"/>
          </a:xfrm>
          <a:prstGeom prst="rect">
            <a:avLst/>
          </a:prstGeom>
          <a:gradFill rotWithShape="1">
            <a:gsLst>
              <a:gs pos="0">
                <a:schemeClr val="bg2">
                  <a:alpha val="35000"/>
                </a:schemeClr>
              </a:gs>
              <a:gs pos="77000">
                <a:srgbClr val="004C67">
                  <a:alpha val="0"/>
                </a:srgbClr>
              </a:gs>
            </a:gsLst>
            <a:lin ang="0" scaled="1"/>
          </a:gradFill>
          <a:ln>
            <a:noFill/>
          </a:ln>
        </p:spPr>
        <p:txBody>
          <a:bodyPr wrap="none" anchor="ctr"/>
          <a:lstStyle/>
          <a:p>
            <a:endParaRPr lang="zh-CN" altLang="en-US">
              <a:latin typeface="微软雅黑" panose="020B0503020204020204" pitchFamily="34" charset="-122"/>
              <a:ea typeface="微软雅黑" panose="020B0503020204020204" pitchFamily="34" charset="-122"/>
            </a:endParaRPr>
          </a:p>
        </p:txBody>
      </p:sp>
      <p:grpSp>
        <p:nvGrpSpPr>
          <p:cNvPr id="12" name="组合 11"/>
          <p:cNvGrpSpPr/>
          <p:nvPr/>
        </p:nvGrpSpPr>
        <p:grpSpPr>
          <a:xfrm>
            <a:off x="1336397" y="3323741"/>
            <a:ext cx="3963540" cy="1257662"/>
            <a:chOff x="1336397" y="3323741"/>
            <a:chExt cx="3963540" cy="1257662"/>
          </a:xfrm>
        </p:grpSpPr>
        <p:sp>
          <p:nvSpPr>
            <p:cNvPr id="16" name="Freeform 10"/>
            <p:cNvSpPr/>
            <p:nvPr/>
          </p:nvSpPr>
          <p:spPr bwMode="gray">
            <a:xfrm>
              <a:off x="1730648" y="3334919"/>
              <a:ext cx="3025807" cy="434140"/>
            </a:xfrm>
            <a:custGeom>
              <a:avLst/>
              <a:gdLst>
                <a:gd name="T0" fmla="*/ 0 w 2208"/>
                <a:gd name="T1" fmla="*/ 298 h 303"/>
                <a:gd name="T2" fmla="*/ 1979 w 2208"/>
                <a:gd name="T3" fmla="*/ 302 h 303"/>
                <a:gd name="T4" fmla="*/ 2207 w 2208"/>
                <a:gd name="T5" fmla="*/ 0 h 303"/>
                <a:gd name="T6" fmla="*/ 690 w 2208"/>
                <a:gd name="T7" fmla="*/ 28 h 303"/>
                <a:gd name="T8" fmla="*/ 0 w 2208"/>
                <a:gd name="T9" fmla="*/ 298 h 303"/>
                <a:gd name="T10" fmla="*/ 0 60000 65536"/>
                <a:gd name="T11" fmla="*/ 0 60000 65536"/>
                <a:gd name="T12" fmla="*/ 0 60000 65536"/>
                <a:gd name="T13" fmla="*/ 0 60000 65536"/>
                <a:gd name="T14" fmla="*/ 0 60000 65536"/>
                <a:gd name="T15" fmla="*/ 0 w 2208"/>
                <a:gd name="T16" fmla="*/ 0 h 303"/>
                <a:gd name="T17" fmla="*/ 2208 w 2208"/>
                <a:gd name="T18" fmla="*/ 303 h 303"/>
                <a:gd name="connsiteX0" fmla="*/ 0 w 9766"/>
                <a:gd name="connsiteY0" fmla="*/ 9486 h 9618"/>
                <a:gd name="connsiteX1" fmla="*/ 8963 w 9766"/>
                <a:gd name="connsiteY1" fmla="*/ 9618 h 9618"/>
                <a:gd name="connsiteX2" fmla="*/ 9766 w 9766"/>
                <a:gd name="connsiteY2" fmla="*/ 0 h 9618"/>
                <a:gd name="connsiteX3" fmla="*/ 3125 w 9766"/>
                <a:gd name="connsiteY3" fmla="*/ 575 h 9618"/>
                <a:gd name="connsiteX4" fmla="*/ 0 w 9766"/>
                <a:gd name="connsiteY4" fmla="*/ 9486 h 9618"/>
                <a:gd name="connsiteX0-1" fmla="*/ 0 w 10149"/>
                <a:gd name="connsiteY0-2" fmla="*/ 9790 h 9927"/>
                <a:gd name="connsiteX1-3" fmla="*/ 9178 w 10149"/>
                <a:gd name="connsiteY1-4" fmla="*/ 9927 h 9927"/>
                <a:gd name="connsiteX2-5" fmla="*/ 10149 w 10149"/>
                <a:gd name="connsiteY2-6" fmla="*/ 0 h 9927"/>
                <a:gd name="connsiteX3-7" fmla="*/ 3200 w 10149"/>
                <a:gd name="connsiteY3-8" fmla="*/ 525 h 9927"/>
                <a:gd name="connsiteX4-9" fmla="*/ 0 w 10149"/>
                <a:gd name="connsiteY4-10" fmla="*/ 9790 h 9927"/>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149" h="9927">
                  <a:moveTo>
                    <a:pt x="0" y="9790"/>
                  </a:moveTo>
                  <a:lnTo>
                    <a:pt x="9178" y="9927"/>
                  </a:lnTo>
                  <a:cubicBezTo>
                    <a:pt x="9452" y="6594"/>
                    <a:pt x="9875" y="3333"/>
                    <a:pt x="10149" y="0"/>
                  </a:cubicBezTo>
                  <a:lnTo>
                    <a:pt x="3200" y="525"/>
                  </a:lnTo>
                  <a:lnTo>
                    <a:pt x="0" y="9790"/>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a:extLst>
              <a:ext uri="{91240B29-F687-4F45-9708-019B960494DF}">
                <a14:hiddenLine xmlns:a14="http://schemas.microsoft.com/office/drawing/2010/main" w="12700">
                  <a:solidFill>
                    <a:srgbClr val="000000"/>
                  </a:solidFill>
                  <a:prstDash val="solid"/>
                  <a:round/>
                  <a:headEnd type="none" w="med" len="med"/>
                  <a:tailEnd type="none" w="med" len="me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17" name="Freeform 18"/>
            <p:cNvSpPr/>
            <p:nvPr/>
          </p:nvSpPr>
          <p:spPr bwMode="gray">
            <a:xfrm>
              <a:off x="1336397" y="3766617"/>
              <a:ext cx="3533806" cy="810843"/>
            </a:xfrm>
            <a:custGeom>
              <a:avLst/>
              <a:gdLst>
                <a:gd name="T0" fmla="*/ 0 w 2557"/>
                <a:gd name="T1" fmla="*/ 537 h 538"/>
                <a:gd name="T2" fmla="*/ 2556 w 2557"/>
                <a:gd name="T3" fmla="*/ 536 h 538"/>
                <a:gd name="T4" fmla="*/ 2262 w 2557"/>
                <a:gd name="T5" fmla="*/ 1 h 538"/>
                <a:gd name="T6" fmla="*/ 288 w 2557"/>
                <a:gd name="T7" fmla="*/ 0 h 538"/>
                <a:gd name="T8" fmla="*/ 0 w 2557"/>
                <a:gd name="T9" fmla="*/ 537 h 538"/>
                <a:gd name="T10" fmla="*/ 0 60000 65536"/>
                <a:gd name="T11" fmla="*/ 0 60000 65536"/>
                <a:gd name="T12" fmla="*/ 0 60000 65536"/>
                <a:gd name="T13" fmla="*/ 0 60000 65536"/>
                <a:gd name="T14" fmla="*/ 0 60000 65536"/>
                <a:gd name="T15" fmla="*/ 0 w 2557"/>
                <a:gd name="T16" fmla="*/ 0 h 538"/>
                <a:gd name="T17" fmla="*/ 2557 w 2557"/>
                <a:gd name="T18" fmla="*/ 538 h 538"/>
              </a:gdLst>
              <a:ahLst/>
              <a:cxnLst>
                <a:cxn ang="T10">
                  <a:pos x="T0" y="T1"/>
                </a:cxn>
                <a:cxn ang="T11">
                  <a:pos x="T2" y="T3"/>
                </a:cxn>
                <a:cxn ang="T12">
                  <a:pos x="T4" y="T5"/>
                </a:cxn>
                <a:cxn ang="T13">
                  <a:pos x="T6" y="T7"/>
                </a:cxn>
                <a:cxn ang="T14">
                  <a:pos x="T8" y="T9"/>
                </a:cxn>
              </a:cxnLst>
              <a:rect l="T15" t="T16" r="T17" b="T18"/>
              <a:pathLst>
                <a:path w="2557" h="538">
                  <a:moveTo>
                    <a:pt x="0" y="537"/>
                  </a:moveTo>
                  <a:lnTo>
                    <a:pt x="2556" y="536"/>
                  </a:lnTo>
                  <a:lnTo>
                    <a:pt x="2262" y="1"/>
                  </a:lnTo>
                  <a:lnTo>
                    <a:pt x="288" y="0"/>
                  </a:lnTo>
                  <a:lnTo>
                    <a:pt x="0" y="537"/>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w="12700" cap="rnd" cmpd="sng">
              <a:noFill/>
              <a:prstDash val="solid"/>
              <a:round/>
              <a:headEnd type="none" w="med" len="med"/>
              <a:tailEnd type="none" w="med" len="med"/>
            </a:ln>
          </p:spPr>
          <p:txBody>
            <a:bodyPr/>
            <a:lstStyle/>
            <a:p>
              <a:endParaRPr lang="zh-CN" altLang="en-US">
                <a:latin typeface="微软雅黑" panose="020B0503020204020204" pitchFamily="34" charset="-122"/>
                <a:ea typeface="微软雅黑" panose="020B0503020204020204" pitchFamily="34" charset="-122"/>
              </a:endParaRPr>
            </a:p>
          </p:txBody>
        </p:sp>
        <p:sp>
          <p:nvSpPr>
            <p:cNvPr id="18" name="Freeform 19"/>
            <p:cNvSpPr/>
            <p:nvPr/>
          </p:nvSpPr>
          <p:spPr bwMode="gray">
            <a:xfrm>
              <a:off x="4454925" y="3323741"/>
              <a:ext cx="845012" cy="1257662"/>
            </a:xfrm>
            <a:custGeom>
              <a:avLst/>
              <a:gdLst>
                <a:gd name="T0" fmla="*/ 302 w 612"/>
                <a:gd name="T1" fmla="*/ 835 h 836"/>
                <a:gd name="T2" fmla="*/ 611 w 612"/>
                <a:gd name="T3" fmla="*/ 476 h 836"/>
                <a:gd name="T4" fmla="*/ 226 w 612"/>
                <a:gd name="T5" fmla="*/ 0 h 836"/>
                <a:gd name="T6" fmla="*/ 0 w 612"/>
                <a:gd name="T7" fmla="*/ 302 h 836"/>
                <a:gd name="T8" fmla="*/ 302 w 612"/>
                <a:gd name="T9" fmla="*/ 835 h 836"/>
                <a:gd name="T10" fmla="*/ 0 60000 65536"/>
                <a:gd name="T11" fmla="*/ 0 60000 65536"/>
                <a:gd name="T12" fmla="*/ 0 60000 65536"/>
                <a:gd name="T13" fmla="*/ 0 60000 65536"/>
                <a:gd name="T14" fmla="*/ 0 60000 65536"/>
                <a:gd name="T15" fmla="*/ 0 w 612"/>
                <a:gd name="T16" fmla="*/ 0 h 836"/>
                <a:gd name="T17" fmla="*/ 612 w 612"/>
                <a:gd name="T18" fmla="*/ 836 h 836"/>
              </a:gdLst>
              <a:ahLst/>
              <a:cxnLst>
                <a:cxn ang="T10">
                  <a:pos x="T0" y="T1"/>
                </a:cxn>
                <a:cxn ang="T11">
                  <a:pos x="T2" y="T3"/>
                </a:cxn>
                <a:cxn ang="T12">
                  <a:pos x="T4" y="T5"/>
                </a:cxn>
                <a:cxn ang="T13">
                  <a:pos x="T6" y="T7"/>
                </a:cxn>
                <a:cxn ang="T14">
                  <a:pos x="T8" y="T9"/>
                </a:cxn>
              </a:cxnLst>
              <a:rect l="T15" t="T16" r="T17" b="T18"/>
              <a:pathLst>
                <a:path w="612" h="836">
                  <a:moveTo>
                    <a:pt x="302" y="835"/>
                  </a:moveTo>
                  <a:lnTo>
                    <a:pt x="611" y="476"/>
                  </a:lnTo>
                  <a:lnTo>
                    <a:pt x="226" y="0"/>
                  </a:lnTo>
                  <a:lnTo>
                    <a:pt x="0" y="302"/>
                  </a:lnTo>
                  <a:lnTo>
                    <a:pt x="302" y="835"/>
                  </a:lnTo>
                </a:path>
              </a:pathLst>
            </a:custGeom>
            <a:solidFill>
              <a:schemeClr val="bg2"/>
            </a:solidFill>
            <a:ln>
              <a:noFill/>
            </a:ln>
            <a:extLst>
              <a:ext uri="{91240B29-F687-4F45-9708-019B960494DF}">
                <a14:hiddenLine xmlns:a14="http://schemas.microsoft.com/office/drawing/2010/main" w="12700">
                  <a:solidFill>
                    <a:srgbClr val="000000"/>
                  </a:solidFill>
                  <a:prstDash val="solid"/>
                  <a:round/>
                  <a:headEnd type="none" w="med" len="med"/>
                  <a:tailEnd type="none" w="med" len="me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19" name="Rectangle 2"/>
          <p:cNvSpPr>
            <a:spLocks noChangeArrowheads="1"/>
          </p:cNvSpPr>
          <p:nvPr/>
        </p:nvSpPr>
        <p:spPr bwMode="auto">
          <a:xfrm>
            <a:off x="3036934" y="1016128"/>
            <a:ext cx="3808468" cy="763534"/>
          </a:xfrm>
          <a:prstGeom prst="rect">
            <a:avLst/>
          </a:prstGeom>
          <a:gradFill rotWithShape="1">
            <a:gsLst>
              <a:gs pos="0">
                <a:schemeClr val="bg2">
                  <a:alpha val="26000"/>
                </a:schemeClr>
              </a:gs>
              <a:gs pos="80000">
                <a:srgbClr val="185E76">
                  <a:alpha val="0"/>
                </a:srgbClr>
              </a:gs>
            </a:gsLst>
            <a:lin ang="0" scaled="1"/>
          </a:gradFill>
          <a:ln>
            <a:noFill/>
          </a:ln>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20" name="Rectangle 3"/>
          <p:cNvSpPr>
            <a:spLocks noChangeArrowheads="1"/>
          </p:cNvSpPr>
          <p:nvPr/>
        </p:nvSpPr>
        <p:spPr bwMode="auto">
          <a:xfrm>
            <a:off x="3224861" y="1779591"/>
            <a:ext cx="3808468" cy="768789"/>
          </a:xfrm>
          <a:prstGeom prst="rect">
            <a:avLst/>
          </a:prstGeom>
          <a:gradFill rotWithShape="1">
            <a:gsLst>
              <a:gs pos="0">
                <a:schemeClr val="bg2">
                  <a:alpha val="29000"/>
                </a:schemeClr>
              </a:gs>
              <a:gs pos="82000">
                <a:srgbClr val="185E76">
                  <a:alpha val="0"/>
                </a:srgbClr>
              </a:gs>
            </a:gsLst>
            <a:lin ang="0" scaled="1"/>
          </a:gradFill>
          <a:ln>
            <a:noFill/>
          </a:ln>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21" name="Rectangle 4"/>
          <p:cNvSpPr>
            <a:spLocks noChangeArrowheads="1"/>
          </p:cNvSpPr>
          <p:nvPr/>
        </p:nvSpPr>
        <p:spPr bwMode="auto">
          <a:xfrm>
            <a:off x="3871729" y="2548380"/>
            <a:ext cx="3808468" cy="777990"/>
          </a:xfrm>
          <a:prstGeom prst="rect">
            <a:avLst/>
          </a:prstGeom>
          <a:gradFill rotWithShape="1">
            <a:gsLst>
              <a:gs pos="0">
                <a:schemeClr val="bg2">
                  <a:alpha val="40000"/>
                </a:schemeClr>
              </a:gs>
              <a:gs pos="79000">
                <a:srgbClr val="004F6B">
                  <a:alpha val="0"/>
                </a:srgbClr>
              </a:gs>
            </a:gsLst>
            <a:lin ang="0" scaled="1"/>
          </a:gradFill>
          <a:ln>
            <a:noFill/>
          </a:ln>
        </p:spPr>
        <p:txBody>
          <a:bodyPr wrap="none" anchor="ctr"/>
          <a:lstStyle/>
          <a:p>
            <a:endParaRPr lang="zh-CN" altLang="en-US">
              <a:latin typeface="微软雅黑" panose="020B0503020204020204" pitchFamily="34" charset="-122"/>
              <a:ea typeface="微软雅黑" panose="020B0503020204020204" pitchFamily="34" charset="-122"/>
            </a:endParaRPr>
          </a:p>
        </p:txBody>
      </p:sp>
      <p:grpSp>
        <p:nvGrpSpPr>
          <p:cNvPr id="22" name="组合 21"/>
          <p:cNvGrpSpPr/>
          <p:nvPr/>
        </p:nvGrpSpPr>
        <p:grpSpPr>
          <a:xfrm>
            <a:off x="1785843" y="2548380"/>
            <a:ext cx="2926659" cy="1101275"/>
            <a:chOff x="1785843" y="2548380"/>
            <a:chExt cx="2926659" cy="1101275"/>
          </a:xfrm>
        </p:grpSpPr>
        <p:sp>
          <p:nvSpPr>
            <p:cNvPr id="23" name="Freeform 11"/>
            <p:cNvSpPr/>
            <p:nvPr/>
          </p:nvSpPr>
          <p:spPr bwMode="gray">
            <a:xfrm>
              <a:off x="3997593" y="2548380"/>
              <a:ext cx="714909" cy="1101275"/>
            </a:xfrm>
            <a:custGeom>
              <a:avLst/>
              <a:gdLst>
                <a:gd name="T0" fmla="*/ 0 w 516"/>
                <a:gd name="T1" fmla="*/ 201 h 732"/>
                <a:gd name="T2" fmla="*/ 294 w 516"/>
                <a:gd name="T3" fmla="*/ 731 h 732"/>
                <a:gd name="T4" fmla="*/ 515 w 516"/>
                <a:gd name="T5" fmla="*/ 444 h 732"/>
                <a:gd name="T6" fmla="*/ 156 w 516"/>
                <a:gd name="T7" fmla="*/ 0 h 732"/>
                <a:gd name="T8" fmla="*/ 0 w 516"/>
                <a:gd name="T9" fmla="*/ 201 h 732"/>
                <a:gd name="T10" fmla="*/ 0 60000 65536"/>
                <a:gd name="T11" fmla="*/ 0 60000 65536"/>
                <a:gd name="T12" fmla="*/ 0 60000 65536"/>
                <a:gd name="T13" fmla="*/ 0 60000 65536"/>
                <a:gd name="T14" fmla="*/ 0 60000 65536"/>
                <a:gd name="T15" fmla="*/ 0 w 516"/>
                <a:gd name="T16" fmla="*/ 0 h 732"/>
                <a:gd name="T17" fmla="*/ 516 w 516"/>
                <a:gd name="T18" fmla="*/ 732 h 732"/>
              </a:gdLst>
              <a:ahLst/>
              <a:cxnLst>
                <a:cxn ang="T10">
                  <a:pos x="T0" y="T1"/>
                </a:cxn>
                <a:cxn ang="T11">
                  <a:pos x="T2" y="T3"/>
                </a:cxn>
                <a:cxn ang="T12">
                  <a:pos x="T4" y="T5"/>
                </a:cxn>
                <a:cxn ang="T13">
                  <a:pos x="T6" y="T7"/>
                </a:cxn>
                <a:cxn ang="T14">
                  <a:pos x="T8" y="T9"/>
                </a:cxn>
              </a:cxnLst>
              <a:rect l="T15" t="T16" r="T17" b="T18"/>
              <a:pathLst>
                <a:path w="516" h="732">
                  <a:moveTo>
                    <a:pt x="0" y="201"/>
                  </a:moveTo>
                  <a:lnTo>
                    <a:pt x="294" y="731"/>
                  </a:lnTo>
                  <a:lnTo>
                    <a:pt x="515" y="444"/>
                  </a:lnTo>
                  <a:lnTo>
                    <a:pt x="156" y="0"/>
                  </a:lnTo>
                  <a:lnTo>
                    <a:pt x="0" y="201"/>
                  </a:lnTo>
                </a:path>
              </a:pathLst>
            </a:custGeom>
            <a:solidFill>
              <a:schemeClr val="bg2"/>
            </a:solidFill>
            <a:ln>
              <a:noFill/>
            </a:ln>
          </p:spPr>
          <p:txBody>
            <a:bodyPr/>
            <a:lstStyle/>
            <a:p>
              <a:endParaRPr lang="zh-CN" altLang="en-US">
                <a:latin typeface="微软雅黑" panose="020B0503020204020204" pitchFamily="34" charset="-122"/>
                <a:ea typeface="微软雅黑" panose="020B0503020204020204" pitchFamily="34" charset="-122"/>
              </a:endParaRPr>
            </a:p>
          </p:txBody>
        </p:sp>
        <p:sp>
          <p:nvSpPr>
            <p:cNvPr id="24" name="Freeform 12"/>
            <p:cNvSpPr/>
            <p:nvPr/>
          </p:nvSpPr>
          <p:spPr bwMode="gray">
            <a:xfrm>
              <a:off x="2166953" y="2556266"/>
              <a:ext cx="2046165" cy="297003"/>
            </a:xfrm>
            <a:custGeom>
              <a:avLst/>
              <a:gdLst>
                <a:gd name="T0" fmla="*/ 0 w 1481"/>
                <a:gd name="T1" fmla="*/ 196 h 197"/>
                <a:gd name="T2" fmla="*/ 1329 w 1481"/>
                <a:gd name="T3" fmla="*/ 196 h 197"/>
                <a:gd name="T4" fmla="*/ 1480 w 1481"/>
                <a:gd name="T5" fmla="*/ 0 h 197"/>
                <a:gd name="T6" fmla="*/ 367 w 1481"/>
                <a:gd name="T7" fmla="*/ 3 h 197"/>
                <a:gd name="T8" fmla="*/ 0 w 1481"/>
                <a:gd name="T9" fmla="*/ 196 h 197"/>
                <a:gd name="T10" fmla="*/ 0 60000 65536"/>
                <a:gd name="T11" fmla="*/ 0 60000 65536"/>
                <a:gd name="T12" fmla="*/ 0 60000 65536"/>
                <a:gd name="T13" fmla="*/ 0 60000 65536"/>
                <a:gd name="T14" fmla="*/ 0 60000 65536"/>
                <a:gd name="T15" fmla="*/ 0 w 1481"/>
                <a:gd name="T16" fmla="*/ 0 h 197"/>
                <a:gd name="T17" fmla="*/ 1481 w 1481"/>
                <a:gd name="T18" fmla="*/ 197 h 197"/>
              </a:gdLst>
              <a:ahLst/>
              <a:cxnLst>
                <a:cxn ang="T10">
                  <a:pos x="T0" y="T1"/>
                </a:cxn>
                <a:cxn ang="T11">
                  <a:pos x="T2" y="T3"/>
                </a:cxn>
                <a:cxn ang="T12">
                  <a:pos x="T4" y="T5"/>
                </a:cxn>
                <a:cxn ang="T13">
                  <a:pos x="T6" y="T7"/>
                </a:cxn>
                <a:cxn ang="T14">
                  <a:pos x="T8" y="T9"/>
                </a:cxn>
              </a:cxnLst>
              <a:rect l="T15" t="T16" r="T17" b="T18"/>
              <a:pathLst>
                <a:path w="1481" h="197">
                  <a:moveTo>
                    <a:pt x="0" y="196"/>
                  </a:moveTo>
                  <a:lnTo>
                    <a:pt x="1329" y="196"/>
                  </a:lnTo>
                  <a:lnTo>
                    <a:pt x="1480" y="0"/>
                  </a:lnTo>
                  <a:lnTo>
                    <a:pt x="367" y="3"/>
                  </a:lnTo>
                  <a:lnTo>
                    <a:pt x="0" y="196"/>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p:spPr>
          <p:txBody>
            <a:bodyPr/>
            <a:lstStyle/>
            <a:p>
              <a:endParaRPr lang="zh-CN" altLang="en-US">
                <a:latin typeface="微软雅黑" panose="020B0503020204020204" pitchFamily="34" charset="-122"/>
                <a:ea typeface="微软雅黑" panose="020B0503020204020204" pitchFamily="34" charset="-122"/>
              </a:endParaRPr>
            </a:p>
          </p:txBody>
        </p:sp>
        <p:sp>
          <p:nvSpPr>
            <p:cNvPr id="25" name="Freeform 13"/>
            <p:cNvSpPr/>
            <p:nvPr/>
          </p:nvSpPr>
          <p:spPr bwMode="gray">
            <a:xfrm>
              <a:off x="1785843" y="2845383"/>
              <a:ext cx="2633599" cy="797702"/>
            </a:xfrm>
            <a:custGeom>
              <a:avLst/>
              <a:gdLst>
                <a:gd name="T0" fmla="*/ 0 w 1906"/>
                <a:gd name="T1" fmla="*/ 529 h 530"/>
                <a:gd name="T2" fmla="*/ 1905 w 1906"/>
                <a:gd name="T3" fmla="*/ 529 h 530"/>
                <a:gd name="T4" fmla="*/ 1606 w 1906"/>
                <a:gd name="T5" fmla="*/ 0 h 530"/>
                <a:gd name="T6" fmla="*/ 282 w 1906"/>
                <a:gd name="T7" fmla="*/ 0 h 530"/>
                <a:gd name="T8" fmla="*/ 0 w 1906"/>
                <a:gd name="T9" fmla="*/ 529 h 530"/>
                <a:gd name="T10" fmla="*/ 0 60000 65536"/>
                <a:gd name="T11" fmla="*/ 0 60000 65536"/>
                <a:gd name="T12" fmla="*/ 0 60000 65536"/>
                <a:gd name="T13" fmla="*/ 0 60000 65536"/>
                <a:gd name="T14" fmla="*/ 0 60000 65536"/>
                <a:gd name="T15" fmla="*/ 0 w 1906"/>
                <a:gd name="T16" fmla="*/ 0 h 530"/>
                <a:gd name="T17" fmla="*/ 1906 w 1906"/>
                <a:gd name="T18" fmla="*/ 530 h 530"/>
              </a:gdLst>
              <a:ahLst/>
              <a:cxnLst>
                <a:cxn ang="T10">
                  <a:pos x="T0" y="T1"/>
                </a:cxn>
                <a:cxn ang="T11">
                  <a:pos x="T2" y="T3"/>
                </a:cxn>
                <a:cxn ang="T12">
                  <a:pos x="T4" y="T5"/>
                </a:cxn>
                <a:cxn ang="T13">
                  <a:pos x="T6" y="T7"/>
                </a:cxn>
                <a:cxn ang="T14">
                  <a:pos x="T8" y="T9"/>
                </a:cxn>
              </a:cxnLst>
              <a:rect l="T15" t="T16" r="T17" b="T18"/>
              <a:pathLst>
                <a:path w="1906" h="530">
                  <a:moveTo>
                    <a:pt x="0" y="529"/>
                  </a:moveTo>
                  <a:lnTo>
                    <a:pt x="1905" y="529"/>
                  </a:lnTo>
                  <a:lnTo>
                    <a:pt x="1606" y="0"/>
                  </a:lnTo>
                  <a:lnTo>
                    <a:pt x="282" y="0"/>
                  </a:lnTo>
                  <a:lnTo>
                    <a:pt x="0" y="529"/>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2220834" y="1779591"/>
            <a:ext cx="1912119" cy="968543"/>
            <a:chOff x="2220834" y="1779591"/>
            <a:chExt cx="1912119" cy="968543"/>
          </a:xfrm>
        </p:grpSpPr>
        <p:sp>
          <p:nvSpPr>
            <p:cNvPr id="27" name="Freeform 14"/>
            <p:cNvSpPr/>
            <p:nvPr/>
          </p:nvSpPr>
          <p:spPr bwMode="gray">
            <a:xfrm>
              <a:off x="2622971" y="1786161"/>
              <a:ext cx="1010597" cy="155072"/>
            </a:xfrm>
            <a:custGeom>
              <a:avLst/>
              <a:gdLst>
                <a:gd name="T0" fmla="*/ 0 w 734"/>
                <a:gd name="T1" fmla="*/ 100 h 104"/>
                <a:gd name="T2" fmla="*/ 652 w 734"/>
                <a:gd name="T3" fmla="*/ 103 h 104"/>
                <a:gd name="T4" fmla="*/ 733 w 734"/>
                <a:gd name="T5" fmla="*/ 0 h 104"/>
                <a:gd name="T6" fmla="*/ 180 w 734"/>
                <a:gd name="T7" fmla="*/ 0 h 104"/>
                <a:gd name="T8" fmla="*/ 0 w 734"/>
                <a:gd name="T9" fmla="*/ 100 h 104"/>
                <a:gd name="T10" fmla="*/ 0 60000 65536"/>
                <a:gd name="T11" fmla="*/ 0 60000 65536"/>
                <a:gd name="T12" fmla="*/ 0 60000 65536"/>
                <a:gd name="T13" fmla="*/ 0 60000 65536"/>
                <a:gd name="T14" fmla="*/ 0 60000 65536"/>
                <a:gd name="T15" fmla="*/ 0 w 734"/>
                <a:gd name="T16" fmla="*/ 0 h 104"/>
                <a:gd name="T17" fmla="*/ 734 w 734"/>
                <a:gd name="T18" fmla="*/ 104 h 104"/>
              </a:gdLst>
              <a:ahLst/>
              <a:cxnLst>
                <a:cxn ang="T10">
                  <a:pos x="T0" y="T1"/>
                </a:cxn>
                <a:cxn ang="T11">
                  <a:pos x="T2" y="T3"/>
                </a:cxn>
                <a:cxn ang="T12">
                  <a:pos x="T4" y="T5"/>
                </a:cxn>
                <a:cxn ang="T13">
                  <a:pos x="T6" y="T7"/>
                </a:cxn>
                <a:cxn ang="T14">
                  <a:pos x="T8" y="T9"/>
                </a:cxn>
              </a:cxnLst>
              <a:rect l="T15" t="T16" r="T17" b="T18"/>
              <a:pathLst>
                <a:path w="734" h="104">
                  <a:moveTo>
                    <a:pt x="0" y="100"/>
                  </a:moveTo>
                  <a:lnTo>
                    <a:pt x="652" y="103"/>
                  </a:lnTo>
                  <a:lnTo>
                    <a:pt x="733" y="0"/>
                  </a:lnTo>
                  <a:lnTo>
                    <a:pt x="180" y="0"/>
                  </a:lnTo>
                  <a:lnTo>
                    <a:pt x="0" y="100"/>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a:extLst>
              <a:ext uri="{91240B29-F687-4F45-9708-019B960494DF}">
                <a14:hiddenLine xmlns:a14="http://schemas.microsoft.com/office/drawing/2010/main" w="12700">
                  <a:solidFill>
                    <a:srgbClr val="000000"/>
                  </a:solidFill>
                  <a:prstDash val="solid"/>
                  <a:round/>
                  <a:headEnd type="none" w="med" len="med"/>
                  <a:tailEnd type="none" w="med" len="me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sp>
          <p:nvSpPr>
            <p:cNvPr id="28" name="Freeform 15"/>
            <p:cNvSpPr/>
            <p:nvPr/>
          </p:nvSpPr>
          <p:spPr bwMode="gray">
            <a:xfrm>
              <a:off x="2220834" y="1937291"/>
              <a:ext cx="1712364" cy="810843"/>
            </a:xfrm>
            <a:custGeom>
              <a:avLst/>
              <a:gdLst>
                <a:gd name="T0" fmla="*/ 0 w 1239"/>
                <a:gd name="T1" fmla="*/ 537 h 538"/>
                <a:gd name="T2" fmla="*/ 1238 w 1239"/>
                <a:gd name="T3" fmla="*/ 537 h 538"/>
                <a:gd name="T4" fmla="*/ 950 w 1239"/>
                <a:gd name="T5" fmla="*/ 0 h 538"/>
                <a:gd name="T6" fmla="*/ 288 w 1239"/>
                <a:gd name="T7" fmla="*/ 0 h 538"/>
                <a:gd name="T8" fmla="*/ 0 w 1239"/>
                <a:gd name="T9" fmla="*/ 537 h 538"/>
                <a:gd name="T10" fmla="*/ 0 60000 65536"/>
                <a:gd name="T11" fmla="*/ 0 60000 65536"/>
                <a:gd name="T12" fmla="*/ 0 60000 65536"/>
                <a:gd name="T13" fmla="*/ 0 60000 65536"/>
                <a:gd name="T14" fmla="*/ 0 60000 65536"/>
                <a:gd name="T15" fmla="*/ 0 w 1239"/>
                <a:gd name="T16" fmla="*/ 0 h 538"/>
                <a:gd name="T17" fmla="*/ 1239 w 1239"/>
                <a:gd name="T18" fmla="*/ 538 h 538"/>
              </a:gdLst>
              <a:ahLst/>
              <a:cxnLst>
                <a:cxn ang="T10">
                  <a:pos x="T0" y="T1"/>
                </a:cxn>
                <a:cxn ang="T11">
                  <a:pos x="T2" y="T3"/>
                </a:cxn>
                <a:cxn ang="T12">
                  <a:pos x="T4" y="T5"/>
                </a:cxn>
                <a:cxn ang="T13">
                  <a:pos x="T6" y="T7"/>
                </a:cxn>
                <a:cxn ang="T14">
                  <a:pos x="T8" y="T9"/>
                </a:cxn>
              </a:cxnLst>
              <a:rect l="T15" t="T16" r="T17" b="T18"/>
              <a:pathLst>
                <a:path w="1239" h="538">
                  <a:moveTo>
                    <a:pt x="0" y="537"/>
                  </a:moveTo>
                  <a:lnTo>
                    <a:pt x="1238" y="537"/>
                  </a:lnTo>
                  <a:lnTo>
                    <a:pt x="950" y="0"/>
                  </a:lnTo>
                  <a:lnTo>
                    <a:pt x="288" y="0"/>
                  </a:lnTo>
                  <a:lnTo>
                    <a:pt x="0" y="537"/>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a:extLst>
              <a:ext uri="{91240B29-F687-4F45-9708-019B960494DF}">
                <a14:hiddenLine xmlns:a14="http://schemas.microsoft.com/office/drawing/2010/main" w="12700">
                  <a:solidFill>
                    <a:srgbClr val="000000"/>
                  </a:solidFill>
                  <a:prstDash val="solid"/>
                  <a:round/>
                  <a:headEnd type="none" w="med" len="med"/>
                  <a:tailEnd type="none" w="med" len="med"/>
                </a14:hiddenLine>
              </a:ext>
            </a:extLst>
          </p:spPr>
          <p:txBody>
            <a:bodyPr/>
            <a:lstStyle/>
            <a:p>
              <a:endParaRPr lang="zh-CN" altLang="en-US">
                <a:solidFill>
                  <a:schemeClr val="tx2"/>
                </a:solidFill>
                <a:latin typeface="微软雅黑" panose="020B0503020204020204" pitchFamily="34" charset="-122"/>
                <a:ea typeface="微软雅黑" panose="020B0503020204020204" pitchFamily="34" charset="-122"/>
              </a:endParaRPr>
            </a:p>
          </p:txBody>
        </p:sp>
        <p:sp>
          <p:nvSpPr>
            <p:cNvPr id="29" name="Freeform 17"/>
            <p:cNvSpPr/>
            <p:nvPr/>
          </p:nvSpPr>
          <p:spPr bwMode="gray">
            <a:xfrm>
              <a:off x="3525806" y="1779591"/>
              <a:ext cx="607147" cy="961973"/>
            </a:xfrm>
            <a:custGeom>
              <a:avLst/>
              <a:gdLst>
                <a:gd name="T0" fmla="*/ 289 w 439"/>
                <a:gd name="T1" fmla="*/ 637 h 638"/>
                <a:gd name="T2" fmla="*/ 438 w 439"/>
                <a:gd name="T3" fmla="*/ 441 h 638"/>
                <a:gd name="T4" fmla="*/ 79 w 439"/>
                <a:gd name="T5" fmla="*/ 0 h 638"/>
                <a:gd name="T6" fmla="*/ 0 w 439"/>
                <a:gd name="T7" fmla="*/ 96 h 638"/>
                <a:gd name="T8" fmla="*/ 289 w 439"/>
                <a:gd name="T9" fmla="*/ 637 h 638"/>
                <a:gd name="T10" fmla="*/ 0 60000 65536"/>
                <a:gd name="T11" fmla="*/ 0 60000 65536"/>
                <a:gd name="T12" fmla="*/ 0 60000 65536"/>
                <a:gd name="T13" fmla="*/ 0 60000 65536"/>
                <a:gd name="T14" fmla="*/ 0 60000 65536"/>
                <a:gd name="T15" fmla="*/ 0 w 439"/>
                <a:gd name="T16" fmla="*/ 0 h 638"/>
                <a:gd name="T17" fmla="*/ 439 w 439"/>
                <a:gd name="T18" fmla="*/ 638 h 638"/>
              </a:gdLst>
              <a:ahLst/>
              <a:cxnLst>
                <a:cxn ang="T10">
                  <a:pos x="T0" y="T1"/>
                </a:cxn>
                <a:cxn ang="T11">
                  <a:pos x="T2" y="T3"/>
                </a:cxn>
                <a:cxn ang="T12">
                  <a:pos x="T4" y="T5"/>
                </a:cxn>
                <a:cxn ang="T13">
                  <a:pos x="T6" y="T7"/>
                </a:cxn>
                <a:cxn ang="T14">
                  <a:pos x="T8" y="T9"/>
                </a:cxn>
              </a:cxnLst>
              <a:rect l="T15" t="T16" r="T17" b="T18"/>
              <a:pathLst>
                <a:path w="439" h="638">
                  <a:moveTo>
                    <a:pt x="289" y="637"/>
                  </a:moveTo>
                  <a:lnTo>
                    <a:pt x="438" y="441"/>
                  </a:lnTo>
                  <a:lnTo>
                    <a:pt x="79" y="0"/>
                  </a:lnTo>
                  <a:lnTo>
                    <a:pt x="0" y="96"/>
                  </a:lnTo>
                  <a:lnTo>
                    <a:pt x="289" y="637"/>
                  </a:lnTo>
                </a:path>
              </a:pathLst>
            </a:custGeom>
            <a:solidFill>
              <a:schemeClr val="bg2"/>
            </a:solidFill>
            <a:ln>
              <a:noFill/>
            </a:ln>
            <a:extLst>
              <a:ext uri="{91240B29-F687-4F45-9708-019B960494DF}">
                <a14:hiddenLine xmlns:a14="http://schemas.microsoft.com/office/drawing/2010/main" w="12700">
                  <a:solidFill>
                    <a:srgbClr val="000000"/>
                  </a:solidFill>
                  <a:prstDash val="solid"/>
                  <a:round/>
                  <a:headEnd type="none" w="med" len="med"/>
                  <a:tailEnd type="none" w="med" len="med"/>
                </a14:hiddenLine>
              </a:ext>
            </a:extLst>
          </p:spPr>
          <p:txBody>
            <a:bodyPr/>
            <a:lstStyle/>
            <a:p>
              <a:endParaRPr lang="zh-CN" altLang="en-US">
                <a:latin typeface="微软雅黑" panose="020B0503020204020204" pitchFamily="34" charset="-122"/>
                <a:ea typeface="微软雅黑" panose="020B0503020204020204" pitchFamily="34" charset="-122"/>
              </a:endParaRPr>
            </a:p>
          </p:txBody>
        </p:sp>
      </p:grpSp>
      <p:grpSp>
        <p:nvGrpSpPr>
          <p:cNvPr id="30" name="组合 29"/>
          <p:cNvGrpSpPr/>
          <p:nvPr/>
        </p:nvGrpSpPr>
        <p:grpSpPr>
          <a:xfrm>
            <a:off x="2668966" y="1016057"/>
            <a:ext cx="888380" cy="809529"/>
            <a:chOff x="2668966" y="1016057"/>
            <a:chExt cx="888380" cy="809529"/>
          </a:xfrm>
        </p:grpSpPr>
        <p:sp>
          <p:nvSpPr>
            <p:cNvPr id="31" name="Freeform 16"/>
            <p:cNvSpPr/>
            <p:nvPr/>
          </p:nvSpPr>
          <p:spPr bwMode="gray">
            <a:xfrm>
              <a:off x="2668966" y="1016057"/>
              <a:ext cx="813472" cy="809529"/>
            </a:xfrm>
            <a:custGeom>
              <a:avLst/>
              <a:gdLst>
                <a:gd name="T0" fmla="*/ 0 w 587"/>
                <a:gd name="T1" fmla="*/ 533 h 537"/>
                <a:gd name="T2" fmla="*/ 586 w 587"/>
                <a:gd name="T3" fmla="*/ 536 h 537"/>
                <a:gd name="T4" fmla="*/ 283 w 587"/>
                <a:gd name="T5" fmla="*/ 0 h 537"/>
                <a:gd name="T6" fmla="*/ 0 w 587"/>
                <a:gd name="T7" fmla="*/ 533 h 537"/>
                <a:gd name="T8" fmla="*/ 0 60000 65536"/>
                <a:gd name="T9" fmla="*/ 0 60000 65536"/>
                <a:gd name="T10" fmla="*/ 0 60000 65536"/>
                <a:gd name="T11" fmla="*/ 0 60000 65536"/>
                <a:gd name="T12" fmla="*/ 0 w 587"/>
                <a:gd name="T13" fmla="*/ 0 h 537"/>
                <a:gd name="T14" fmla="*/ 587 w 587"/>
                <a:gd name="T15" fmla="*/ 537 h 537"/>
              </a:gdLst>
              <a:ahLst/>
              <a:cxnLst>
                <a:cxn ang="T8">
                  <a:pos x="T0" y="T1"/>
                </a:cxn>
                <a:cxn ang="T9">
                  <a:pos x="T2" y="T3"/>
                </a:cxn>
                <a:cxn ang="T10">
                  <a:pos x="T4" y="T5"/>
                </a:cxn>
                <a:cxn ang="T11">
                  <a:pos x="T6" y="T7"/>
                </a:cxn>
              </a:cxnLst>
              <a:rect l="T12" t="T13" r="T14" b="T15"/>
              <a:pathLst>
                <a:path w="587" h="537">
                  <a:moveTo>
                    <a:pt x="0" y="533"/>
                  </a:moveTo>
                  <a:lnTo>
                    <a:pt x="586" y="536"/>
                  </a:lnTo>
                  <a:lnTo>
                    <a:pt x="283" y="0"/>
                  </a:lnTo>
                  <a:lnTo>
                    <a:pt x="0" y="533"/>
                  </a:lnTo>
                </a:path>
              </a:pathLst>
            </a:cu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3500000" scaled="1"/>
              <a:tileRect/>
            </a:gradFill>
            <a:ln>
              <a:noFill/>
            </a:ln>
          </p:spPr>
          <p:txBody>
            <a:bodyPr/>
            <a:lstStyle/>
            <a:p>
              <a:endParaRPr lang="zh-CN" altLang="en-US">
                <a:latin typeface="微软雅黑" panose="020B0503020204020204" pitchFamily="34" charset="-122"/>
                <a:ea typeface="微软雅黑" panose="020B0503020204020204" pitchFamily="34" charset="-122"/>
              </a:endParaRPr>
            </a:p>
          </p:txBody>
        </p:sp>
        <p:sp>
          <p:nvSpPr>
            <p:cNvPr id="32" name="Freeform 20"/>
            <p:cNvSpPr/>
            <p:nvPr/>
          </p:nvSpPr>
          <p:spPr bwMode="gray">
            <a:xfrm>
              <a:off x="3056647" y="1016057"/>
              <a:ext cx="500699" cy="805587"/>
            </a:xfrm>
            <a:custGeom>
              <a:avLst/>
              <a:gdLst>
                <a:gd name="T0" fmla="*/ 296 w 364"/>
                <a:gd name="T1" fmla="*/ 534 h 535"/>
                <a:gd name="T2" fmla="*/ 363 w 364"/>
                <a:gd name="T3" fmla="*/ 445 h 535"/>
                <a:gd name="T4" fmla="*/ 0 w 364"/>
                <a:gd name="T5" fmla="*/ 0 h 535"/>
                <a:gd name="T6" fmla="*/ 296 w 364"/>
                <a:gd name="T7" fmla="*/ 534 h 535"/>
                <a:gd name="T8" fmla="*/ 0 60000 65536"/>
                <a:gd name="T9" fmla="*/ 0 60000 65536"/>
                <a:gd name="T10" fmla="*/ 0 60000 65536"/>
                <a:gd name="T11" fmla="*/ 0 60000 65536"/>
                <a:gd name="T12" fmla="*/ 0 w 364"/>
                <a:gd name="T13" fmla="*/ 0 h 535"/>
                <a:gd name="T14" fmla="*/ 364 w 364"/>
                <a:gd name="T15" fmla="*/ 535 h 535"/>
              </a:gdLst>
              <a:ahLst/>
              <a:cxnLst>
                <a:cxn ang="T8">
                  <a:pos x="T0" y="T1"/>
                </a:cxn>
                <a:cxn ang="T9">
                  <a:pos x="T2" y="T3"/>
                </a:cxn>
                <a:cxn ang="T10">
                  <a:pos x="T4" y="T5"/>
                </a:cxn>
                <a:cxn ang="T11">
                  <a:pos x="T6" y="T7"/>
                </a:cxn>
              </a:cxnLst>
              <a:rect l="T12" t="T13" r="T14" b="T15"/>
              <a:pathLst>
                <a:path w="364" h="535">
                  <a:moveTo>
                    <a:pt x="296" y="534"/>
                  </a:moveTo>
                  <a:lnTo>
                    <a:pt x="363" y="445"/>
                  </a:lnTo>
                  <a:lnTo>
                    <a:pt x="0" y="0"/>
                  </a:lnTo>
                  <a:lnTo>
                    <a:pt x="296" y="534"/>
                  </a:lnTo>
                </a:path>
              </a:pathLst>
            </a:custGeom>
            <a:solidFill>
              <a:schemeClr val="bg2"/>
            </a:solidFill>
            <a:ln>
              <a:noFill/>
            </a:ln>
          </p:spPr>
          <p:txBody>
            <a:bodyPr/>
            <a:lstStyle/>
            <a:p>
              <a:endParaRPr lang="zh-CN" altLang="en-US">
                <a:latin typeface="微软雅黑" panose="020B0503020204020204" pitchFamily="34" charset="-122"/>
                <a:ea typeface="微软雅黑" panose="020B0503020204020204" pitchFamily="34" charset="-122"/>
              </a:endParaRPr>
            </a:p>
          </p:txBody>
        </p:sp>
      </p:grpSp>
      <p:sp>
        <p:nvSpPr>
          <p:cNvPr id="33" name="Text Box 25"/>
          <p:cNvSpPr txBox="1">
            <a:spLocks noChangeArrowheads="1"/>
          </p:cNvSpPr>
          <p:nvPr/>
        </p:nvSpPr>
        <p:spPr bwMode="auto">
          <a:xfrm>
            <a:off x="5471347" y="3598385"/>
            <a:ext cx="2251175" cy="83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b="1"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4" name="Text Box 26"/>
          <p:cNvSpPr txBox="1">
            <a:spLocks noChangeArrowheads="1"/>
          </p:cNvSpPr>
          <p:nvPr/>
        </p:nvSpPr>
        <p:spPr bwMode="auto">
          <a:xfrm>
            <a:off x="4805829" y="2748134"/>
            <a:ext cx="2251175" cy="419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5" name="Text Box 27"/>
          <p:cNvSpPr txBox="1">
            <a:spLocks noChangeArrowheads="1"/>
          </p:cNvSpPr>
          <p:nvPr/>
        </p:nvSpPr>
        <p:spPr bwMode="auto">
          <a:xfrm>
            <a:off x="4238505" y="1975918"/>
            <a:ext cx="3135612" cy="419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6" name="Text Box 28"/>
          <p:cNvSpPr txBox="1">
            <a:spLocks noChangeArrowheads="1"/>
          </p:cNvSpPr>
          <p:nvPr/>
        </p:nvSpPr>
        <p:spPr bwMode="auto">
          <a:xfrm>
            <a:off x="3899734" y="1219925"/>
            <a:ext cx="2251175" cy="419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a:p>
            <a:pPr marL="228600" indent="-228600" defTabSz="685800">
              <a:lnSpc>
                <a:spcPct val="70000"/>
              </a:lnSpc>
              <a:spcBef>
                <a:spcPts val="675"/>
              </a:spcBef>
              <a:buFont typeface="Arial" panose="020B0604020202020204" pitchFamily="34" charset="0"/>
              <a:buChar char="•"/>
            </a:pPr>
            <a:r>
              <a:rPr lang="zh-CN" altLang="en-US"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rPr>
              <a:t>单击此处填加文字内容</a:t>
            </a:r>
            <a:endParaRPr lang="en-US" altLang="zh-CN" sz="1100" dirty="0">
              <a:solidFill>
                <a:schemeClr val="accent2">
                  <a:lumMod val="50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7" name="Line 31"/>
          <p:cNvSpPr>
            <a:spLocks noChangeShapeType="1"/>
          </p:cNvSpPr>
          <p:nvPr/>
        </p:nvSpPr>
        <p:spPr bwMode="auto">
          <a:xfrm flipV="1">
            <a:off x="1115616" y="1016057"/>
            <a:ext cx="1690024" cy="3571917"/>
          </a:xfrm>
          <a:prstGeom prst="line">
            <a:avLst/>
          </a:prstGeom>
          <a:noFill/>
          <a:ln w="9525">
            <a:solidFill>
              <a:srgbClr val="5F5F5F"/>
            </a:solidFill>
            <a:round/>
            <a:tailEnd type="triangle" w="sm" len="lg"/>
          </a:ln>
          <a:extLst>
            <a:ext uri="{909E8E84-426E-40DD-AFC4-6F175D3DCCD1}">
              <a14:hiddenFill xmlns:a14="http://schemas.microsoft.com/office/drawing/2010/main">
                <a:noFill/>
              </a14:hiddenFill>
            </a:ext>
          </a:ex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38" name="Content Placeholder 40"/>
          <p:cNvSpPr txBox="1"/>
          <p:nvPr/>
        </p:nvSpPr>
        <p:spPr>
          <a:xfrm>
            <a:off x="2406947" y="2279251"/>
            <a:ext cx="1156941" cy="275041"/>
          </a:xfrm>
          <a:prstGeom prst="rect">
            <a:avLst/>
          </a:prstGeom>
        </p:spPr>
        <p:txBody>
          <a:bodyPr vert="horz" lIns="91440" tIns="45720" rIns="91440" bIns="45720" rtlCol="0" anchor="b"/>
          <a:lstStyle>
            <a:defPPr>
              <a:defRPr lang="zh-CN"/>
            </a:defPPr>
            <a:lvl1pPr marL="0" indent="0" algn="r" defTabSz="914400" rtl="0" eaLnBrk="1" latinLnBrk="0" hangingPunct="1">
              <a:buFont typeface="Arial" panose="020B0604020202020204" pitchFamily="34" charset="0"/>
              <a:buNone/>
              <a:defRPr sz="21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600" dirty="0">
                <a:latin typeface="微软雅黑" panose="020B0503020204020204" pitchFamily="34" charset="-122"/>
                <a:ea typeface="微软雅黑" panose="020B0503020204020204" pitchFamily="34" charset="-122"/>
              </a:rPr>
              <a:t>填加文字</a:t>
            </a:r>
            <a:endParaRPr lang="en-US" sz="1600" dirty="0">
              <a:latin typeface="微软雅黑" panose="020B0503020204020204" pitchFamily="34" charset="-122"/>
              <a:ea typeface="微软雅黑" panose="020B0503020204020204" pitchFamily="34" charset="-122"/>
            </a:endParaRPr>
          </a:p>
        </p:txBody>
      </p:sp>
      <p:sp>
        <p:nvSpPr>
          <p:cNvPr id="39" name="Content Placeholder 40"/>
          <p:cNvSpPr txBox="1"/>
          <p:nvPr/>
        </p:nvSpPr>
        <p:spPr>
          <a:xfrm>
            <a:off x="2195736" y="1534180"/>
            <a:ext cx="1156941" cy="275041"/>
          </a:xfrm>
          <a:prstGeom prst="rect">
            <a:avLst/>
          </a:prstGeom>
        </p:spPr>
        <p:txBody>
          <a:bodyPr vert="horz" lIns="91440" tIns="45720" rIns="91440" bIns="45720" rtlCol="0" anchor="b"/>
          <a:lstStyle>
            <a:defPPr>
              <a:defRPr lang="zh-CN"/>
            </a:defPPr>
            <a:lvl1pPr marL="0" indent="0" algn="r" defTabSz="914400" rtl="0" eaLnBrk="1" latinLnBrk="0" hangingPunct="1">
              <a:buFont typeface="Arial" panose="020B0604020202020204" pitchFamily="34" charset="0"/>
              <a:buNone/>
              <a:defRPr sz="21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600" dirty="0">
                <a:latin typeface="微软雅黑" panose="020B0503020204020204" pitchFamily="34" charset="-122"/>
                <a:ea typeface="微软雅黑" panose="020B0503020204020204" pitchFamily="34" charset="-122"/>
              </a:rPr>
              <a:t>文字</a:t>
            </a:r>
            <a:endParaRPr lang="en-US" sz="1600" dirty="0">
              <a:latin typeface="微软雅黑" panose="020B0503020204020204" pitchFamily="34" charset="-122"/>
              <a:ea typeface="微软雅黑" panose="020B0503020204020204" pitchFamily="34" charset="-122"/>
            </a:endParaRPr>
          </a:p>
        </p:txBody>
      </p:sp>
      <p:sp>
        <p:nvSpPr>
          <p:cNvPr id="40" name="Content Placeholder 40"/>
          <p:cNvSpPr txBox="1"/>
          <p:nvPr/>
        </p:nvSpPr>
        <p:spPr>
          <a:xfrm>
            <a:off x="2411760" y="3160805"/>
            <a:ext cx="1156941" cy="275041"/>
          </a:xfrm>
          <a:prstGeom prst="rect">
            <a:avLst/>
          </a:prstGeom>
        </p:spPr>
        <p:txBody>
          <a:bodyPr vert="horz" lIns="91440" tIns="45720" rIns="91440" bIns="45720" rtlCol="0" anchor="b"/>
          <a:lstStyle>
            <a:defPPr>
              <a:defRPr lang="zh-CN"/>
            </a:defPPr>
            <a:lvl1pPr marL="0" indent="0" algn="r" defTabSz="914400" rtl="0" eaLnBrk="1" latinLnBrk="0" hangingPunct="1">
              <a:buFont typeface="Arial" panose="020B0604020202020204" pitchFamily="34" charset="0"/>
              <a:buNone/>
              <a:defRPr sz="21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800" dirty="0">
                <a:latin typeface="微软雅黑" panose="020B0503020204020204" pitchFamily="34" charset="-122"/>
                <a:ea typeface="微软雅黑" panose="020B0503020204020204" pitchFamily="34" charset="-122"/>
              </a:rPr>
              <a:t>填加文字</a:t>
            </a:r>
            <a:endParaRPr lang="en-US" sz="1800" dirty="0">
              <a:latin typeface="微软雅黑" panose="020B0503020204020204" pitchFamily="34" charset="-122"/>
              <a:ea typeface="微软雅黑" panose="020B0503020204020204" pitchFamily="34" charset="-122"/>
            </a:endParaRPr>
          </a:p>
        </p:txBody>
      </p:sp>
      <p:sp>
        <p:nvSpPr>
          <p:cNvPr id="41" name="Content Placeholder 40"/>
          <p:cNvSpPr txBox="1"/>
          <p:nvPr/>
        </p:nvSpPr>
        <p:spPr>
          <a:xfrm>
            <a:off x="1762530" y="4096909"/>
            <a:ext cx="1873366" cy="275041"/>
          </a:xfrm>
          <a:prstGeom prst="rect">
            <a:avLst/>
          </a:prstGeom>
        </p:spPr>
        <p:txBody>
          <a:bodyPr vert="horz" lIns="91440" tIns="45720" rIns="91440" bIns="45720" rtlCol="0" anchor="b"/>
          <a:lstStyle>
            <a:defPPr>
              <a:defRPr lang="zh-CN"/>
            </a:defPPr>
            <a:lvl1pPr marL="0" indent="0" algn="r" defTabSz="914400" rtl="0" eaLnBrk="1" latinLnBrk="0" hangingPunct="1">
              <a:buFont typeface="Arial" panose="020B0604020202020204" pitchFamily="34" charset="0"/>
              <a:buNone/>
              <a:defRPr sz="21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2000" dirty="0">
                <a:latin typeface="微软雅黑" panose="020B0503020204020204" pitchFamily="34" charset="-122"/>
                <a:ea typeface="微软雅黑" panose="020B0503020204020204" pitchFamily="34" charset="-122"/>
              </a:rPr>
              <a:t>填加文字</a:t>
            </a:r>
            <a:endParaRPr lang="en-US" sz="2000" dirty="0">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barn(outVertical)">
                                      <p:cBhvr>
                                        <p:cTn id="12" dur="500"/>
                                        <p:tgtEl>
                                          <p:spTgt spid="41"/>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left)">
                                      <p:cBhvr>
                                        <p:cTn id="16" dur="500"/>
                                        <p:tgtEl>
                                          <p:spTgt spid="11"/>
                                        </p:tgtEl>
                                      </p:cBhvr>
                                    </p:animEffect>
                                  </p:childTnLst>
                                </p:cTn>
                              </p:par>
                            </p:childTnLst>
                          </p:cTn>
                        </p:par>
                        <p:par>
                          <p:cTn id="17" fill="hold">
                            <p:stCondLst>
                              <p:cond delay="1000"/>
                            </p:stCondLst>
                            <p:childTnLst>
                              <p:par>
                                <p:cTn id="18" presetID="42" presetClass="entr" presetSubtype="0" fill="hold" grpId="0" nodeType="after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anim calcmode="lin" valueType="num">
                                      <p:cBhvr>
                                        <p:cTn id="21" dur="500" fill="hold"/>
                                        <p:tgtEl>
                                          <p:spTgt spid="33"/>
                                        </p:tgtEl>
                                        <p:attrNameLst>
                                          <p:attrName>ppt_x</p:attrName>
                                        </p:attrNameLst>
                                      </p:cBhvr>
                                      <p:tavLst>
                                        <p:tav tm="0">
                                          <p:val>
                                            <p:strVal val="#ppt_x"/>
                                          </p:val>
                                        </p:tav>
                                        <p:tav tm="100000">
                                          <p:val>
                                            <p:strVal val="#ppt_x"/>
                                          </p:val>
                                        </p:tav>
                                      </p:tavLst>
                                    </p:anim>
                                    <p:anim calcmode="lin" valueType="num">
                                      <p:cBhvr>
                                        <p:cTn id="22" dur="500" fill="hold"/>
                                        <p:tgtEl>
                                          <p:spTgt spid="33"/>
                                        </p:tgtEl>
                                        <p:attrNameLst>
                                          <p:attrName>ppt_y</p:attrName>
                                        </p:attrNameLst>
                                      </p:cBhvr>
                                      <p:tavLst>
                                        <p:tav tm="0">
                                          <p:val>
                                            <p:strVal val="#ppt_y+.1"/>
                                          </p:val>
                                        </p:tav>
                                        <p:tav tm="100000">
                                          <p:val>
                                            <p:strVal val="#ppt_y"/>
                                          </p:val>
                                        </p:tav>
                                      </p:tavLst>
                                    </p:anim>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6" presetClass="entr" presetSubtype="37" fill="hold" grpId="0" nodeType="clickEffect">
                                  <p:stCondLst>
                                    <p:cond delay="0"/>
                                  </p:stCondLst>
                                  <p:childTnLst>
                                    <p:set>
                                      <p:cBhvr>
                                        <p:cTn id="30" dur="1" fill="hold">
                                          <p:stCondLst>
                                            <p:cond delay="0"/>
                                          </p:stCondLst>
                                        </p:cTn>
                                        <p:tgtEl>
                                          <p:spTgt spid="40"/>
                                        </p:tgtEl>
                                        <p:attrNameLst>
                                          <p:attrName>style.visibility</p:attrName>
                                        </p:attrNameLst>
                                      </p:cBhvr>
                                      <p:to>
                                        <p:strVal val="visible"/>
                                      </p:to>
                                    </p:set>
                                    <p:animEffect transition="in" filter="barn(outVertical)">
                                      <p:cBhvr>
                                        <p:cTn id="31" dur="500"/>
                                        <p:tgtEl>
                                          <p:spTgt spid="40"/>
                                        </p:tgtEl>
                                      </p:cBhvr>
                                    </p:animEffect>
                                  </p:childTnLst>
                                </p:cTn>
                              </p:par>
                            </p:childTnLst>
                          </p:cTn>
                        </p:par>
                        <p:par>
                          <p:cTn id="32" fill="hold">
                            <p:stCondLst>
                              <p:cond delay="500"/>
                            </p:stCondLst>
                            <p:childTnLst>
                              <p:par>
                                <p:cTn id="33" presetID="22" presetClass="entr" presetSubtype="8"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left)">
                                      <p:cBhvr>
                                        <p:cTn id="35" dur="500"/>
                                        <p:tgtEl>
                                          <p:spTgt spid="21"/>
                                        </p:tgtEl>
                                      </p:cBhvr>
                                    </p:animEffect>
                                  </p:childTnLst>
                                </p:cTn>
                              </p:par>
                            </p:childTnLst>
                          </p:cTn>
                        </p:par>
                        <p:par>
                          <p:cTn id="36" fill="hold">
                            <p:stCondLst>
                              <p:cond delay="1000"/>
                            </p:stCondLst>
                            <p:childTnLst>
                              <p:par>
                                <p:cTn id="37" presetID="42" presetClass="entr" presetSubtype="0"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anim calcmode="lin" valueType="num">
                                      <p:cBhvr>
                                        <p:cTn id="40" dur="500" fill="hold"/>
                                        <p:tgtEl>
                                          <p:spTgt spid="34"/>
                                        </p:tgtEl>
                                        <p:attrNameLst>
                                          <p:attrName>ppt_x</p:attrName>
                                        </p:attrNameLst>
                                      </p:cBhvr>
                                      <p:tavLst>
                                        <p:tav tm="0">
                                          <p:val>
                                            <p:strVal val="#ppt_x"/>
                                          </p:val>
                                        </p:tav>
                                        <p:tav tm="100000">
                                          <p:val>
                                            <p:strVal val="#ppt_x"/>
                                          </p:val>
                                        </p:tav>
                                      </p:tavLst>
                                    </p:anim>
                                    <p:anim calcmode="lin" valueType="num">
                                      <p:cBhvr>
                                        <p:cTn id="41" dur="500" fill="hold"/>
                                        <p:tgtEl>
                                          <p:spTgt spid="34"/>
                                        </p:tgtEl>
                                        <p:attrNameLst>
                                          <p:attrName>ppt_y</p:attrName>
                                        </p:attrNameLst>
                                      </p:cBhvr>
                                      <p:tavLst>
                                        <p:tav tm="0">
                                          <p:val>
                                            <p:strVal val="#ppt_y+.1"/>
                                          </p:val>
                                        </p:tav>
                                        <p:tav tm="100000">
                                          <p:val>
                                            <p:strVal val="#ppt_y"/>
                                          </p:val>
                                        </p:tav>
                                      </p:tavLst>
                                    </p:anim>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childTnLst>
                          </p:cTn>
                        </p:par>
                      </p:childTnLst>
                    </p:cTn>
                  </p:par>
                  <p:par>
                    <p:cTn id="46" fill="hold">
                      <p:stCondLst>
                        <p:cond delay="indefinite"/>
                      </p:stCondLst>
                      <p:childTnLst>
                        <p:par>
                          <p:cTn id="47" fill="hold">
                            <p:stCondLst>
                              <p:cond delay="0"/>
                            </p:stCondLst>
                            <p:childTnLst>
                              <p:par>
                                <p:cTn id="48" presetID="16" presetClass="entr" presetSubtype="37" fill="hold" grpId="0" nodeType="click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barn(outVertical)">
                                      <p:cBhvr>
                                        <p:cTn id="50" dur="500"/>
                                        <p:tgtEl>
                                          <p:spTgt spid="38"/>
                                        </p:tgtEl>
                                      </p:cBhvr>
                                    </p:animEffect>
                                  </p:childTnLst>
                                </p:cTn>
                              </p:par>
                            </p:childTnLst>
                          </p:cTn>
                        </p:par>
                        <p:par>
                          <p:cTn id="51" fill="hold">
                            <p:stCondLst>
                              <p:cond delay="500"/>
                            </p:stCondLst>
                            <p:childTnLst>
                              <p:par>
                                <p:cTn id="52" presetID="22" presetClass="entr" presetSubtype="8" fill="hold" grpId="0" nodeType="afterEffect">
                                  <p:stCondLst>
                                    <p:cond delay="0"/>
                                  </p:stCondLst>
                                  <p:childTnLst>
                                    <p:set>
                                      <p:cBhvr>
                                        <p:cTn id="53" dur="1" fill="hold">
                                          <p:stCondLst>
                                            <p:cond delay="0"/>
                                          </p:stCondLst>
                                        </p:cTn>
                                        <p:tgtEl>
                                          <p:spTgt spid="20"/>
                                        </p:tgtEl>
                                        <p:attrNameLst>
                                          <p:attrName>style.visibility</p:attrName>
                                        </p:attrNameLst>
                                      </p:cBhvr>
                                      <p:to>
                                        <p:strVal val="visible"/>
                                      </p:to>
                                    </p:set>
                                    <p:animEffect transition="in" filter="wipe(left)">
                                      <p:cBhvr>
                                        <p:cTn id="54" dur="500"/>
                                        <p:tgtEl>
                                          <p:spTgt spid="20"/>
                                        </p:tgtEl>
                                      </p:cBhvr>
                                    </p:animEffect>
                                  </p:childTnLst>
                                </p:cTn>
                              </p:par>
                            </p:childTnLst>
                          </p:cTn>
                        </p:par>
                        <p:par>
                          <p:cTn id="55" fill="hold">
                            <p:stCondLst>
                              <p:cond delay="1000"/>
                            </p:stCondLst>
                            <p:childTnLst>
                              <p:par>
                                <p:cTn id="56" presetID="42" presetClass="entr" presetSubtype="0" fill="hold" grpId="0" nodeType="after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anim calcmode="lin" valueType="num">
                                      <p:cBhvr>
                                        <p:cTn id="59" dur="500" fill="hold"/>
                                        <p:tgtEl>
                                          <p:spTgt spid="35"/>
                                        </p:tgtEl>
                                        <p:attrNameLst>
                                          <p:attrName>ppt_x</p:attrName>
                                        </p:attrNameLst>
                                      </p:cBhvr>
                                      <p:tavLst>
                                        <p:tav tm="0">
                                          <p:val>
                                            <p:strVal val="#ppt_x"/>
                                          </p:val>
                                        </p:tav>
                                        <p:tav tm="100000">
                                          <p:val>
                                            <p:strVal val="#ppt_x"/>
                                          </p:val>
                                        </p:tav>
                                      </p:tavLst>
                                    </p:anim>
                                    <p:anim calcmode="lin" valueType="num">
                                      <p:cBhvr>
                                        <p:cTn id="60" dur="500" fill="hold"/>
                                        <p:tgtEl>
                                          <p:spTgt spid="35"/>
                                        </p:tgtEl>
                                        <p:attrNameLst>
                                          <p:attrName>ppt_y</p:attrName>
                                        </p:attrNameLst>
                                      </p:cBhvr>
                                      <p:tavLst>
                                        <p:tav tm="0">
                                          <p:val>
                                            <p:strVal val="#ppt_y+.1"/>
                                          </p:val>
                                        </p:tav>
                                        <p:tav tm="100000">
                                          <p:val>
                                            <p:strVal val="#ppt_y"/>
                                          </p:val>
                                        </p:tav>
                                      </p:tavLst>
                                    </p:anim>
                                  </p:childTnLst>
                                </p:cTn>
                              </p:par>
                            </p:childTnLst>
                          </p:cTn>
                        </p:par>
                        <p:par>
                          <p:cTn id="61" fill="hold">
                            <p:stCondLst>
                              <p:cond delay="1500"/>
                            </p:stCondLst>
                            <p:childTnLst>
                              <p:par>
                                <p:cTn id="62" presetID="10" presetClass="entr" presetSubtype="0" fill="hold" nodeType="after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childTnLst>
                          </p:cTn>
                        </p:par>
                        <p:par>
                          <p:cTn id="65" fill="hold">
                            <p:stCondLst>
                              <p:cond delay="2000"/>
                            </p:stCondLst>
                            <p:childTnLst>
                              <p:par>
                                <p:cTn id="66" presetID="16" presetClass="entr" presetSubtype="37" fill="hold" grpId="0"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barn(outVertical)">
                                      <p:cBhvr>
                                        <p:cTn id="68" dur="500"/>
                                        <p:tgtEl>
                                          <p:spTgt spid="39"/>
                                        </p:tgtEl>
                                      </p:cBhvr>
                                    </p:animEffect>
                                  </p:childTnLst>
                                </p:cTn>
                              </p:par>
                            </p:childTnLst>
                          </p:cTn>
                        </p:par>
                        <p:par>
                          <p:cTn id="69" fill="hold">
                            <p:stCondLst>
                              <p:cond delay="2500"/>
                            </p:stCondLst>
                            <p:childTnLst>
                              <p:par>
                                <p:cTn id="70" presetID="22" presetClass="entr" presetSubtype="8" fill="hold" grpId="0" nodeType="after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wipe(left)">
                                      <p:cBhvr>
                                        <p:cTn id="72" dur="500"/>
                                        <p:tgtEl>
                                          <p:spTgt spid="19"/>
                                        </p:tgtEl>
                                      </p:cBhvr>
                                    </p:animEffect>
                                  </p:childTnLst>
                                </p:cTn>
                              </p:par>
                            </p:childTnLst>
                          </p:cTn>
                        </p:par>
                        <p:par>
                          <p:cTn id="73" fill="hold">
                            <p:stCondLst>
                              <p:cond delay="3000"/>
                            </p:stCondLst>
                            <p:childTnLst>
                              <p:par>
                                <p:cTn id="74" presetID="42" presetClass="entr" presetSubtype="0" fill="hold" grpId="0" nodeType="after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fade">
                                      <p:cBhvr>
                                        <p:cTn id="76" dur="500"/>
                                        <p:tgtEl>
                                          <p:spTgt spid="36"/>
                                        </p:tgtEl>
                                      </p:cBhvr>
                                    </p:animEffect>
                                    <p:anim calcmode="lin" valueType="num">
                                      <p:cBhvr>
                                        <p:cTn id="77" dur="500" fill="hold"/>
                                        <p:tgtEl>
                                          <p:spTgt spid="36"/>
                                        </p:tgtEl>
                                        <p:attrNameLst>
                                          <p:attrName>ppt_x</p:attrName>
                                        </p:attrNameLst>
                                      </p:cBhvr>
                                      <p:tavLst>
                                        <p:tav tm="0">
                                          <p:val>
                                            <p:strVal val="#ppt_x"/>
                                          </p:val>
                                        </p:tav>
                                        <p:tav tm="100000">
                                          <p:val>
                                            <p:strVal val="#ppt_x"/>
                                          </p:val>
                                        </p:tav>
                                      </p:tavLst>
                                    </p:anim>
                                    <p:anim calcmode="lin" valueType="num">
                                      <p:cBhvr>
                                        <p:cTn id="78" dur="500" fill="hold"/>
                                        <p:tgtEl>
                                          <p:spTgt spid="36"/>
                                        </p:tgtEl>
                                        <p:attrNameLst>
                                          <p:attrName>ppt_y</p:attrName>
                                        </p:attrNameLst>
                                      </p:cBhvr>
                                      <p:tavLst>
                                        <p:tav tm="0">
                                          <p:val>
                                            <p:strVal val="#ppt_y+.1"/>
                                          </p:val>
                                        </p:tav>
                                        <p:tav tm="100000">
                                          <p:val>
                                            <p:strVal val="#ppt_y"/>
                                          </p:val>
                                        </p:tav>
                                      </p:tavLst>
                                    </p:anim>
                                  </p:childTnLst>
                                </p:cTn>
                              </p:par>
                            </p:childTnLst>
                          </p:cTn>
                        </p:par>
                        <p:par>
                          <p:cTn id="79" fill="hold">
                            <p:stCondLst>
                              <p:cond delay="3500"/>
                            </p:stCondLst>
                            <p:childTnLst>
                              <p:par>
                                <p:cTn id="80" presetID="22" presetClass="entr" presetSubtype="4" fill="hold" grpId="0" nodeType="after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wipe(down)">
                                      <p:cBhvr>
                                        <p:cTn id="8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9" grpId="0" animBg="1"/>
      <p:bldP spid="20" grpId="0" animBg="1"/>
      <p:bldP spid="21" grpId="0" animBg="1"/>
      <p:bldP spid="33" grpId="0"/>
      <p:bldP spid="34" grpId="0"/>
      <p:bldP spid="35" grpId="0"/>
      <p:bldP spid="36" grpId="0"/>
      <p:bldP spid="37" grpId="0" animBg="1"/>
      <p:bldP spid="38" grpId="0"/>
      <p:bldP spid="39" grpId="0"/>
      <p:bldP spid="40" grpId="0"/>
      <p:bldP spid="4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60"/>
          <p:cNvSpPr>
            <a:spLocks noChangeArrowheads="1"/>
          </p:cNvSpPr>
          <p:nvPr/>
        </p:nvSpPr>
        <p:spPr bwMode="auto">
          <a:xfrm>
            <a:off x="1357290" y="1658454"/>
            <a:ext cx="4967310" cy="2160000"/>
          </a:xfrm>
          <a:prstGeom prst="rightArrow">
            <a:avLst>
              <a:gd name="adj1" fmla="val 68556"/>
              <a:gd name="adj2" fmla="val 38969"/>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effectLst/>
              <a:latin typeface="微软雅黑" panose="020B0503020204020204" pitchFamily="34" charset="-122"/>
              <a:ea typeface="微软雅黑" panose="020B0503020204020204" pitchFamily="34" charset="-122"/>
            </a:endParaRPr>
          </a:p>
        </p:txBody>
      </p:sp>
      <p:sp>
        <p:nvSpPr>
          <p:cNvPr id="3" name="圆角矩形 2"/>
          <p:cNvSpPr/>
          <p:nvPr/>
        </p:nvSpPr>
        <p:spPr bwMode="auto">
          <a:xfrm>
            <a:off x="1860550" y="3143399"/>
            <a:ext cx="3168650" cy="1368425"/>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solidFill>
              <a:schemeClr val="accent1"/>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accent2"/>
              </a:solidFill>
              <a:effectLst/>
              <a:latin typeface="微软雅黑" panose="020B0503020204020204" pitchFamily="34" charset="-122"/>
              <a:ea typeface="微软雅黑" panose="020B0503020204020204" pitchFamily="34" charset="-122"/>
            </a:endParaRPr>
          </a:p>
        </p:txBody>
      </p:sp>
      <p:sp>
        <p:nvSpPr>
          <p:cNvPr id="4" name="矩形 87"/>
          <p:cNvSpPr>
            <a:spLocks noChangeArrowheads="1"/>
          </p:cNvSpPr>
          <p:nvPr/>
        </p:nvSpPr>
        <p:spPr bwMode="auto">
          <a:xfrm>
            <a:off x="1974626" y="3732034"/>
            <a:ext cx="2940498" cy="524436"/>
          </a:xfrm>
          <a:prstGeom prst="rect">
            <a:avLst/>
          </a:prstGeom>
          <a:noFill/>
          <a:ln w="9525">
            <a:noFill/>
            <a:miter lim="800000"/>
          </a:ln>
        </p:spPr>
        <p:txBody>
          <a:bodyPr>
            <a:spAutoFit/>
          </a:bodyPr>
          <a:lstStyle/>
          <a:p>
            <a:pPr algn="ctr" eaLnBrk="0" fontAlgn="ctr" hangingPunct="0">
              <a:buClr>
                <a:srgbClr val="FF0000"/>
              </a:buClr>
              <a:buSzPct val="70000"/>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 点击添加文本</a:t>
            </a:r>
          </a:p>
          <a:p>
            <a:pPr algn="ctr" eaLnBrk="0" fontAlgn="ctr" hangingPunct="0">
              <a:buClr>
                <a:srgbClr val="FF0000"/>
              </a:buClr>
              <a:buSzPct val="70000"/>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 点击添加文本</a:t>
            </a:r>
          </a:p>
        </p:txBody>
      </p:sp>
      <p:sp>
        <p:nvSpPr>
          <p:cNvPr id="5" name="圆角矩形 4"/>
          <p:cNvSpPr/>
          <p:nvPr/>
        </p:nvSpPr>
        <p:spPr bwMode="auto">
          <a:xfrm>
            <a:off x="1860550" y="987574"/>
            <a:ext cx="3168650" cy="1366837"/>
          </a:xfrm>
          <a:prstGeom prst="roundRect">
            <a:avLst>
              <a:gd name="adj" fmla="val 7848"/>
            </a:avLst>
          </a:prstGeom>
          <a:gradFill flip="none" rotWithShape="1">
            <a:gsLst>
              <a:gs pos="30000">
                <a:schemeClr val="bg1"/>
              </a:gs>
              <a:gs pos="100000">
                <a:schemeClr val="bg1">
                  <a:lumMod val="75000"/>
                </a:schemeClr>
              </a:gs>
            </a:gsLst>
            <a:lin ang="2700000" scaled="1"/>
            <a:tileRect/>
          </a:gradFill>
          <a:ln w="38100">
            <a:solidFill>
              <a:srgbClr val="3A9707"/>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6" name="矩形 87"/>
          <p:cNvSpPr>
            <a:spLocks noChangeArrowheads="1"/>
          </p:cNvSpPr>
          <p:nvPr/>
        </p:nvSpPr>
        <p:spPr bwMode="auto">
          <a:xfrm>
            <a:off x="1890149" y="1234862"/>
            <a:ext cx="3109452" cy="523220"/>
          </a:xfrm>
          <a:prstGeom prst="rect">
            <a:avLst/>
          </a:prstGeom>
          <a:noFill/>
          <a:ln w="9525">
            <a:noFill/>
            <a:miter lim="800000"/>
          </a:ln>
        </p:spPr>
        <p:txBody>
          <a:bodyPr>
            <a:spAutoFit/>
          </a:bodyPr>
          <a:lstStyle/>
          <a:p>
            <a:pPr algn="ctr" eaLnBrk="0" fontAlgn="ctr" hangingPunct="0">
              <a:buClr>
                <a:srgbClr val="FF0000"/>
              </a:buClr>
              <a:buSzPct val="70000"/>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 点击添加文本</a:t>
            </a:r>
          </a:p>
          <a:p>
            <a:pPr algn="ctr" eaLnBrk="0" fontAlgn="ctr" hangingPunct="0">
              <a:buClr>
                <a:srgbClr val="FF0000"/>
              </a:buClr>
              <a:buSzPct val="70000"/>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 点击添加文本</a:t>
            </a:r>
          </a:p>
        </p:txBody>
      </p:sp>
      <p:grpSp>
        <p:nvGrpSpPr>
          <p:cNvPr id="7" name="组合 26"/>
          <p:cNvGrpSpPr>
            <a:grpSpLocks noChangeAspect="1"/>
          </p:cNvGrpSpPr>
          <p:nvPr/>
        </p:nvGrpSpPr>
        <p:grpSpPr bwMode="auto">
          <a:xfrm>
            <a:off x="2224087" y="2097236"/>
            <a:ext cx="2443163" cy="554038"/>
            <a:chOff x="855540" y="3513439"/>
            <a:chExt cx="1399872" cy="987727"/>
          </a:xfrm>
          <a:scene3d>
            <a:camera prst="orthographicFront">
              <a:rot lat="0" lon="0" rev="0"/>
            </a:camera>
            <a:lightRig rig="balanced" dir="t">
              <a:rot lat="0" lon="0" rev="8700000"/>
            </a:lightRig>
          </a:scene3d>
        </p:grpSpPr>
        <p:sp>
          <p:nvSpPr>
            <p:cNvPr id="8" name="圆角矩形 7"/>
            <p:cNvSpPr/>
            <p:nvPr/>
          </p:nvSpPr>
          <p:spPr>
            <a:xfrm>
              <a:off x="855540" y="3513439"/>
              <a:ext cx="1399872" cy="987727"/>
            </a:xfrm>
            <a:prstGeom prst="roundRect">
              <a:avLst>
                <a:gd name="adj" fmla="val 10568"/>
              </a:avLst>
            </a:prstGeom>
            <a:solidFill>
              <a:srgbClr val="3A9707"/>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9" name="矩形 14"/>
            <p:cNvSpPr>
              <a:spLocks noChangeArrowheads="1"/>
            </p:cNvSpPr>
            <p:nvPr/>
          </p:nvSpPr>
          <p:spPr bwMode="auto">
            <a:xfrm>
              <a:off x="1004859" y="3705518"/>
              <a:ext cx="1101235" cy="603568"/>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fontAlgn="ctr">
                <a:spcBef>
                  <a:spcPts val="0"/>
                </a:spcBef>
                <a:spcAft>
                  <a:spcPts val="0"/>
                </a:spcAft>
                <a:buClr>
                  <a:srgbClr val="FF0000"/>
                </a:buClr>
                <a:buSzPct val="70000"/>
                <a:defRPr/>
              </a:pPr>
              <a:r>
                <a:rPr kumimoji="1"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grpSp>
      <p:grpSp>
        <p:nvGrpSpPr>
          <p:cNvPr id="10" name="组合 26"/>
          <p:cNvGrpSpPr>
            <a:grpSpLocks noChangeAspect="1"/>
          </p:cNvGrpSpPr>
          <p:nvPr/>
        </p:nvGrpSpPr>
        <p:grpSpPr bwMode="auto">
          <a:xfrm>
            <a:off x="2224087" y="2854474"/>
            <a:ext cx="2443163" cy="555625"/>
            <a:chOff x="855540" y="3513439"/>
            <a:chExt cx="1399872" cy="987727"/>
          </a:xfrm>
          <a:scene3d>
            <a:camera prst="orthographicFront">
              <a:rot lat="0" lon="0" rev="0"/>
            </a:camera>
            <a:lightRig rig="balanced" dir="t">
              <a:rot lat="0" lon="0" rev="8700000"/>
            </a:lightRig>
          </a:scene3d>
        </p:grpSpPr>
        <p:sp>
          <p:nvSpPr>
            <p:cNvPr id="11" name="圆角矩形 10"/>
            <p:cNvSpPr/>
            <p:nvPr/>
          </p:nvSpPr>
          <p:spPr>
            <a:xfrm>
              <a:off x="855540" y="3513439"/>
              <a:ext cx="1399872" cy="987727"/>
            </a:xfrm>
            <a:prstGeom prst="roundRect">
              <a:avLst>
                <a:gd name="adj" fmla="val 10568"/>
              </a:avLst>
            </a:prstGeom>
            <a:gradFill>
              <a:gsLst>
                <a:gs pos="0">
                  <a:schemeClr val="tx2">
                    <a:lumMod val="40000"/>
                    <a:lumOff val="60000"/>
                  </a:schemeClr>
                </a:gs>
                <a:gs pos="100000">
                  <a:schemeClr val="accent1">
                    <a:lumMod val="75000"/>
                  </a:schemeClr>
                </a:gs>
              </a:gsLst>
              <a:lin ang="5400000" scaled="0"/>
            </a:gra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12" name="矩形 11"/>
            <p:cNvSpPr>
              <a:spLocks noChangeArrowheads="1"/>
            </p:cNvSpPr>
            <p:nvPr/>
          </p:nvSpPr>
          <p:spPr bwMode="auto">
            <a:xfrm>
              <a:off x="930021" y="3706380"/>
              <a:ext cx="1250910" cy="601843"/>
            </a:xfrm>
            <a:prstGeom prst="rect">
              <a:avLst/>
            </a:prstGeom>
            <a:noFill/>
            <a:ln w="9525">
              <a:noFill/>
              <a:miter lim="800000"/>
            </a:ln>
            <a:effectLst>
              <a:outerShdw blurRad="44450" dist="27940" dir="5400000" algn="ctr">
                <a:srgbClr val="000000">
                  <a:alpha val="32000"/>
                </a:srgbClr>
              </a:outerShdw>
            </a:effectLst>
            <a:sp3d>
              <a:bevelT w="190500" h="38100"/>
            </a:sp3d>
          </p:spPr>
          <p:txBody>
            <a:bodyPr anchor="ctr">
              <a:spAutoFit/>
            </a:bodyPr>
            <a:lstStyle/>
            <a:p>
              <a:pPr algn="ctr" fontAlgn="ctr">
                <a:spcBef>
                  <a:spcPts val="0"/>
                </a:spcBef>
                <a:spcAft>
                  <a:spcPts val="0"/>
                </a:spcAft>
                <a:buClr>
                  <a:srgbClr val="FF0000"/>
                </a:buClr>
                <a:buSzPct val="70000"/>
                <a:defRPr/>
              </a:pPr>
              <a:r>
                <a:rPr kumimoji="1"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grpSp>
      <p:grpSp>
        <p:nvGrpSpPr>
          <p:cNvPr id="13" name="组合 43"/>
          <p:cNvGrpSpPr/>
          <p:nvPr/>
        </p:nvGrpSpPr>
        <p:grpSpPr bwMode="auto">
          <a:xfrm>
            <a:off x="5970415" y="1747986"/>
            <a:ext cx="1979612" cy="1981200"/>
            <a:chOff x="5217600" y="3058600"/>
            <a:chExt cx="1116000" cy="1116000"/>
          </a:xfrm>
        </p:grpSpPr>
        <p:sp>
          <p:nvSpPr>
            <p:cNvPr id="14" name="Oval 2"/>
            <p:cNvSpPr>
              <a:spLocks noChangeAspect="1" noChangeArrowheads="1"/>
            </p:cNvSpPr>
            <p:nvPr/>
          </p:nvSpPr>
          <p:spPr bwMode="auto">
            <a:xfrm>
              <a:off x="5217600" y="3058600"/>
              <a:ext cx="1116000" cy="1116000"/>
            </a:xfrm>
            <a:prstGeom prst="ellipse">
              <a:avLst/>
            </a:prstGeom>
            <a:solidFill>
              <a:srgbClr val="3A9707"/>
            </a:soli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chemeClr val="tx2"/>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fr-FR"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15" name="椭圆 14"/>
            <p:cNvSpPr/>
            <p:nvPr/>
          </p:nvSpPr>
          <p:spPr>
            <a:xfrm rot="19388639">
              <a:off x="5222074" y="3126562"/>
              <a:ext cx="756231" cy="540115"/>
            </a:xfrm>
            <a:prstGeom prst="ellipse">
              <a:avLst/>
            </a:prstGeom>
            <a:gradFill flip="none" rotWithShape="1">
              <a:gsLst>
                <a:gs pos="0">
                  <a:schemeClr val="bg1"/>
                </a:gs>
                <a:gs pos="4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solidFill>
                  <a:srgbClr val="FFFFFF"/>
                </a:solidFill>
                <a:effectLst/>
                <a:ea typeface="微软雅黑" panose="020B0503020204020204" pitchFamily="34" charset="-122"/>
              </a:endParaRPr>
            </a:p>
          </p:txBody>
        </p:sp>
      </p:grpSp>
      <p:sp>
        <p:nvSpPr>
          <p:cNvPr id="16" name="Text Box 29"/>
          <p:cNvSpPr txBox="1">
            <a:spLocks noChangeArrowheads="1"/>
          </p:cNvSpPr>
          <p:nvPr/>
        </p:nvSpPr>
        <p:spPr bwMode="gray">
          <a:xfrm>
            <a:off x="6194324" y="2355726"/>
            <a:ext cx="1531794" cy="830997"/>
          </a:xfrm>
          <a:prstGeom prst="rect">
            <a:avLst/>
          </a:prstGeom>
          <a:noFill/>
          <a:ln>
            <a:noFill/>
          </a:ln>
          <a:effectLst/>
        </p:spPr>
        <p:txBody>
          <a:bodyPr>
            <a:spAutoFit/>
          </a:bodyPr>
          <a:lstStyle/>
          <a:p>
            <a:pPr algn="ctr" fontAlgn="auto">
              <a:spcBef>
                <a:spcPts val="0"/>
              </a:spcBef>
              <a:spcAft>
                <a:spcPts val="0"/>
              </a:spcAft>
              <a:buClr>
                <a:schemeClr val="tx1"/>
              </a:buClr>
              <a:buSzPct val="120000"/>
              <a:defRPr/>
            </a:pPr>
            <a:r>
              <a:rPr lang="zh-CN" altLang="en-US" sz="2400" spc="300" dirty="0">
                <a:ln w="12700" cmpd="sng">
                  <a:noFill/>
                  <a:prstDash val="solid"/>
                  <a:miter lim="800000"/>
                </a:ln>
                <a:solidFill>
                  <a:schemeClr val="bg1"/>
                </a:solidFill>
                <a:effectLst/>
                <a:latin typeface="微软雅黑" panose="020B0503020204020204" pitchFamily="34" charset="-122"/>
                <a:ea typeface="微软雅黑" panose="020B0503020204020204" pitchFamily="34" charset="-122"/>
              </a:rPr>
              <a:t>点击添加文本</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childTnLst>
                                </p:cTn>
                              </p:par>
                            </p:childTnLst>
                          </p:cTn>
                        </p:par>
                        <p:par>
                          <p:cTn id="9" fill="hold">
                            <p:stCondLst>
                              <p:cond delay="1000"/>
                            </p:stCondLst>
                            <p:childTnLst>
                              <p:par>
                                <p:cTn id="10" presetID="23" presetClass="entr" presetSubtype="16"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childTnLst>
                                </p:cTn>
                              </p:par>
                            </p:childTnLst>
                          </p:cTn>
                        </p:par>
                        <p:par>
                          <p:cTn id="14" fill="hold">
                            <p:stCondLst>
                              <p:cond delay="1500"/>
                            </p:stCondLst>
                            <p:childTnLst>
                              <p:par>
                                <p:cTn id="15" presetID="12" presetClass="entr" presetSubtype="4"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slide(fromBottom)">
                                      <p:cBhvr>
                                        <p:cTn id="17" dur="500"/>
                                        <p:tgtEl>
                                          <p:spTgt spid="5"/>
                                        </p:tgtEl>
                                      </p:cBhvr>
                                    </p:animEffect>
                                  </p:childTnLst>
                                </p:cTn>
                              </p:par>
                            </p:childTnLst>
                          </p:cTn>
                        </p:par>
                        <p:par>
                          <p:cTn id="18" fill="hold">
                            <p:stCondLst>
                              <p:cond delay="2000"/>
                            </p:stCondLst>
                            <p:childTnLst>
                              <p:par>
                                <p:cTn id="19" presetID="12" presetClass="entr" presetSubtype="4"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slide(fromBottom)">
                                      <p:cBhvr>
                                        <p:cTn id="21" dur="500"/>
                                        <p:tgtEl>
                                          <p:spTgt spid="6"/>
                                        </p:tgtEl>
                                      </p:cBhvr>
                                    </p:animEffect>
                                  </p:childTnLst>
                                </p:cTn>
                              </p:par>
                            </p:childTnLst>
                          </p:cTn>
                        </p:par>
                        <p:par>
                          <p:cTn id="22" fill="hold">
                            <p:stCondLst>
                              <p:cond delay="2500"/>
                            </p:stCondLst>
                            <p:childTnLst>
                              <p:par>
                                <p:cTn id="23" presetID="12" presetClass="entr" presetSubtype="1" fill="hold" grpId="0"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slide(fromTop)">
                                      <p:cBhvr>
                                        <p:cTn id="25" dur="500"/>
                                        <p:tgtEl>
                                          <p:spTgt spid="3"/>
                                        </p:tgtEl>
                                      </p:cBhvr>
                                    </p:animEffect>
                                  </p:childTnLst>
                                </p:cTn>
                              </p:par>
                            </p:childTnLst>
                          </p:cTn>
                        </p:par>
                        <p:par>
                          <p:cTn id="26" fill="hold">
                            <p:stCondLst>
                              <p:cond delay="3000"/>
                            </p:stCondLst>
                            <p:childTnLst>
                              <p:par>
                                <p:cTn id="27" presetID="12" presetClass="entr" presetSubtype="1" fill="hold" grpId="0"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slide(fromTop)">
                                      <p:cBhvr>
                                        <p:cTn id="29" dur="500"/>
                                        <p:tgtEl>
                                          <p:spTgt spid="4"/>
                                        </p:tgtEl>
                                      </p:cBhvr>
                                    </p:animEffect>
                                  </p:childTnLst>
                                </p:cTn>
                              </p:par>
                            </p:childTnLst>
                          </p:cTn>
                        </p:par>
                        <p:par>
                          <p:cTn id="30" fill="hold">
                            <p:stCondLst>
                              <p:cond delay="3500"/>
                            </p:stCondLst>
                            <p:childTnLst>
                              <p:par>
                                <p:cTn id="31" presetID="2" presetClass="entr" presetSubtype="8" fill="hold" grpId="0" nodeType="afterEffect">
                                  <p:stCondLst>
                                    <p:cond delay="0"/>
                                  </p:stCondLst>
                                  <p:childTnLst>
                                    <p:set>
                                      <p:cBhvr>
                                        <p:cTn id="32" dur="1" fill="hold">
                                          <p:stCondLst>
                                            <p:cond delay="0"/>
                                          </p:stCondLst>
                                        </p:cTn>
                                        <p:tgtEl>
                                          <p:spTgt spid="2"/>
                                        </p:tgtEl>
                                        <p:attrNameLst>
                                          <p:attrName>style.visibility</p:attrName>
                                        </p:attrNameLst>
                                      </p:cBhvr>
                                      <p:to>
                                        <p:strVal val="visible"/>
                                      </p:to>
                                    </p:set>
                                    <p:anim calcmode="lin" valueType="num">
                                      <p:cBhvr additive="base">
                                        <p:cTn id="33" dur="1000" fill="hold"/>
                                        <p:tgtEl>
                                          <p:spTgt spid="2"/>
                                        </p:tgtEl>
                                        <p:attrNameLst>
                                          <p:attrName>ppt_x</p:attrName>
                                        </p:attrNameLst>
                                      </p:cBhvr>
                                      <p:tavLst>
                                        <p:tav tm="0">
                                          <p:val>
                                            <p:strVal val="0-#ppt_w/2"/>
                                          </p:val>
                                        </p:tav>
                                        <p:tav tm="100000">
                                          <p:val>
                                            <p:strVal val="#ppt_x"/>
                                          </p:val>
                                        </p:tav>
                                      </p:tavLst>
                                    </p:anim>
                                    <p:anim calcmode="lin" valueType="num">
                                      <p:cBhvr additive="base">
                                        <p:cTn id="34" dur="1000" fill="hold"/>
                                        <p:tgtEl>
                                          <p:spTgt spid="2"/>
                                        </p:tgtEl>
                                        <p:attrNameLst>
                                          <p:attrName>ppt_y</p:attrName>
                                        </p:attrNameLst>
                                      </p:cBhvr>
                                      <p:tavLst>
                                        <p:tav tm="0">
                                          <p:val>
                                            <p:strVal val="#ppt_y"/>
                                          </p:val>
                                        </p:tav>
                                        <p:tav tm="100000">
                                          <p:val>
                                            <p:strVal val="#ppt_y"/>
                                          </p:val>
                                        </p:tav>
                                      </p:tavLst>
                                    </p:anim>
                                  </p:childTnLst>
                                </p:cTn>
                              </p:par>
                            </p:childTnLst>
                          </p:cTn>
                        </p:par>
                        <p:par>
                          <p:cTn id="35" fill="hold">
                            <p:stCondLst>
                              <p:cond delay="4500"/>
                            </p:stCondLst>
                            <p:childTnLst>
                              <p:par>
                                <p:cTn id="36" presetID="49" presetClass="entr" presetSubtype="0" decel="100000" fill="hold" nodeType="afterEffect">
                                  <p:stCondLst>
                                    <p:cond delay="0"/>
                                  </p:stCondLst>
                                  <p:childTnLst>
                                    <p:set>
                                      <p:cBhvr>
                                        <p:cTn id="37" dur="1" fill="hold">
                                          <p:stCondLst>
                                            <p:cond delay="0"/>
                                          </p:stCondLst>
                                        </p:cTn>
                                        <p:tgtEl>
                                          <p:spTgt spid="13"/>
                                        </p:tgtEl>
                                        <p:attrNameLst>
                                          <p:attrName>style.visibility</p:attrName>
                                        </p:attrNameLst>
                                      </p:cBhvr>
                                      <p:to>
                                        <p:strVal val="visible"/>
                                      </p:to>
                                    </p:set>
                                    <p:anim calcmode="lin" valueType="num">
                                      <p:cBhvr>
                                        <p:cTn id="38" dur="500" fill="hold"/>
                                        <p:tgtEl>
                                          <p:spTgt spid="13"/>
                                        </p:tgtEl>
                                        <p:attrNameLst>
                                          <p:attrName>ppt_w</p:attrName>
                                        </p:attrNameLst>
                                      </p:cBhvr>
                                      <p:tavLst>
                                        <p:tav tm="0">
                                          <p:val>
                                            <p:fltVal val="0"/>
                                          </p:val>
                                        </p:tav>
                                        <p:tav tm="100000">
                                          <p:val>
                                            <p:strVal val="#ppt_w"/>
                                          </p:val>
                                        </p:tav>
                                      </p:tavLst>
                                    </p:anim>
                                    <p:anim calcmode="lin" valueType="num">
                                      <p:cBhvr>
                                        <p:cTn id="39" dur="500" fill="hold"/>
                                        <p:tgtEl>
                                          <p:spTgt spid="13"/>
                                        </p:tgtEl>
                                        <p:attrNameLst>
                                          <p:attrName>ppt_h</p:attrName>
                                        </p:attrNameLst>
                                      </p:cBhvr>
                                      <p:tavLst>
                                        <p:tav tm="0">
                                          <p:val>
                                            <p:fltVal val="0"/>
                                          </p:val>
                                        </p:tav>
                                        <p:tav tm="100000">
                                          <p:val>
                                            <p:strVal val="#ppt_h"/>
                                          </p:val>
                                        </p:tav>
                                      </p:tavLst>
                                    </p:anim>
                                    <p:anim calcmode="lin" valueType="num">
                                      <p:cBhvr>
                                        <p:cTn id="40" dur="500" fill="hold"/>
                                        <p:tgtEl>
                                          <p:spTgt spid="13"/>
                                        </p:tgtEl>
                                        <p:attrNameLst>
                                          <p:attrName>style.rotation</p:attrName>
                                        </p:attrNameLst>
                                      </p:cBhvr>
                                      <p:tavLst>
                                        <p:tav tm="0">
                                          <p:val>
                                            <p:fltVal val="360"/>
                                          </p:val>
                                        </p:tav>
                                        <p:tav tm="100000">
                                          <p:val>
                                            <p:fltVal val="0"/>
                                          </p:val>
                                        </p:tav>
                                      </p:tavLst>
                                    </p:anim>
                                    <p:animEffect transition="in" filter="fade">
                                      <p:cBhvr>
                                        <p:cTn id="41" dur="500"/>
                                        <p:tgtEl>
                                          <p:spTgt spid="13"/>
                                        </p:tgtEl>
                                      </p:cBhvr>
                                    </p:animEffect>
                                  </p:childTnLst>
                                </p:cTn>
                              </p:par>
                            </p:childTnLst>
                          </p:cTn>
                        </p:par>
                        <p:par>
                          <p:cTn id="42" fill="hold">
                            <p:stCondLst>
                              <p:cond delay="5000"/>
                            </p:stCondLst>
                            <p:childTnLst>
                              <p:par>
                                <p:cTn id="43" presetID="49" presetClass="entr" presetSubtype="0" decel="100000"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 calcmode="lin" valueType="num">
                                      <p:cBhvr>
                                        <p:cTn id="45" dur="500" fill="hold"/>
                                        <p:tgtEl>
                                          <p:spTgt spid="16"/>
                                        </p:tgtEl>
                                        <p:attrNameLst>
                                          <p:attrName>ppt_w</p:attrName>
                                        </p:attrNameLst>
                                      </p:cBhvr>
                                      <p:tavLst>
                                        <p:tav tm="0">
                                          <p:val>
                                            <p:fltVal val="0"/>
                                          </p:val>
                                        </p:tav>
                                        <p:tav tm="100000">
                                          <p:val>
                                            <p:strVal val="#ppt_w"/>
                                          </p:val>
                                        </p:tav>
                                      </p:tavLst>
                                    </p:anim>
                                    <p:anim calcmode="lin" valueType="num">
                                      <p:cBhvr>
                                        <p:cTn id="46" dur="500" fill="hold"/>
                                        <p:tgtEl>
                                          <p:spTgt spid="16"/>
                                        </p:tgtEl>
                                        <p:attrNameLst>
                                          <p:attrName>ppt_h</p:attrName>
                                        </p:attrNameLst>
                                      </p:cBhvr>
                                      <p:tavLst>
                                        <p:tav tm="0">
                                          <p:val>
                                            <p:fltVal val="0"/>
                                          </p:val>
                                        </p:tav>
                                        <p:tav tm="100000">
                                          <p:val>
                                            <p:strVal val="#ppt_h"/>
                                          </p:val>
                                        </p:tav>
                                      </p:tavLst>
                                    </p:anim>
                                    <p:anim calcmode="lin" valueType="num">
                                      <p:cBhvr>
                                        <p:cTn id="47" dur="500" fill="hold"/>
                                        <p:tgtEl>
                                          <p:spTgt spid="16"/>
                                        </p:tgtEl>
                                        <p:attrNameLst>
                                          <p:attrName>style.rotation</p:attrName>
                                        </p:attrNameLst>
                                      </p:cBhvr>
                                      <p:tavLst>
                                        <p:tav tm="0">
                                          <p:val>
                                            <p:fltVal val="360"/>
                                          </p:val>
                                        </p:tav>
                                        <p:tav tm="100000">
                                          <p:val>
                                            <p:fltVal val="0"/>
                                          </p:val>
                                        </p:tav>
                                      </p:tavLst>
                                    </p:anim>
                                    <p:animEffect transition="in" filter="fade">
                                      <p:cBhvr>
                                        <p:cTn id="4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animBg="1"/>
      <p:bldP spid="6" grpId="0"/>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圆角矩形 16"/>
          <p:cNvSpPr/>
          <p:nvPr/>
        </p:nvSpPr>
        <p:spPr>
          <a:xfrm>
            <a:off x="838200" y="949912"/>
            <a:ext cx="7391401" cy="2565058"/>
          </a:xfrm>
          <a:prstGeom prst="roundRect">
            <a:avLst>
              <a:gd name="adj" fmla="val 12869"/>
            </a:avLst>
          </a:prstGeom>
          <a:noFill/>
          <a:ln w="25400">
            <a:noFill/>
            <a:prstDash val="sysDash"/>
          </a:ln>
          <a:effectLst/>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sp>
        <p:nvSpPr>
          <p:cNvPr id="18" name="圆角矩形 17"/>
          <p:cNvSpPr/>
          <p:nvPr/>
        </p:nvSpPr>
        <p:spPr bwMode="auto">
          <a:xfrm>
            <a:off x="1046275" y="1669347"/>
            <a:ext cx="2235976" cy="1644100"/>
          </a:xfrm>
          <a:prstGeom prst="roundRect">
            <a:avLst>
              <a:gd name="adj" fmla="val 0"/>
            </a:avLst>
          </a:prstGeom>
          <a:gradFill flip="none" rotWithShape="1">
            <a:gsLst>
              <a:gs pos="0">
                <a:schemeClr val="bg1">
                  <a:lumMod val="75000"/>
                </a:schemeClr>
              </a:gs>
              <a:gs pos="100000">
                <a:schemeClr val="bg1">
                  <a:lumMod val="95000"/>
                </a:schemeClr>
              </a:gs>
            </a:gsLst>
            <a:lin ang="13500000" scaled="1"/>
            <a:tileRect/>
          </a:gradFill>
          <a:ln w="25400">
            <a:noFill/>
          </a:ln>
          <a:effectLst/>
          <a:scene3d>
            <a:camera prst="orthographicFront">
              <a:rot lat="0" lon="0" rev="0"/>
            </a:camera>
            <a:lightRig rig="balanced" dir="t">
              <a:rot lat="0" lon="0" rev="8700000"/>
            </a:lightRig>
          </a:scene3d>
          <a:sp3d>
            <a:bevelT w="95250" h="127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buClr>
                <a:srgbClr val="FF0000"/>
              </a:buClr>
              <a:buSzPct val="70000"/>
              <a:buFont typeface="Wingdings" panose="05000000000000000000" pitchFamily="2" charset="2"/>
              <a:buChar char="u"/>
              <a:tabLst>
                <a:tab pos="136525" algn="l"/>
              </a:tabLst>
            </a:pP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19" name="圆角矩形 18"/>
          <p:cNvSpPr/>
          <p:nvPr/>
        </p:nvSpPr>
        <p:spPr bwMode="auto">
          <a:xfrm>
            <a:off x="5771843" y="1669347"/>
            <a:ext cx="2235976" cy="1644100"/>
          </a:xfrm>
          <a:prstGeom prst="roundRect">
            <a:avLst>
              <a:gd name="adj" fmla="val 0"/>
            </a:avLst>
          </a:prstGeom>
          <a:gradFill flip="none" rotWithShape="1">
            <a:gsLst>
              <a:gs pos="0">
                <a:schemeClr val="bg1">
                  <a:lumMod val="75000"/>
                </a:schemeClr>
              </a:gs>
              <a:gs pos="100000">
                <a:schemeClr val="bg1">
                  <a:lumMod val="95000"/>
                </a:schemeClr>
              </a:gs>
            </a:gsLst>
            <a:lin ang="13500000" scaled="1"/>
            <a:tileRect/>
          </a:gradFill>
          <a:ln w="25400">
            <a:noFill/>
          </a:ln>
          <a:effectLst/>
          <a:scene3d>
            <a:camera prst="orthographicFront">
              <a:rot lat="0" lon="0" rev="0"/>
            </a:camera>
            <a:lightRig rig="balanced" dir="t">
              <a:rot lat="0" lon="0" rev="8700000"/>
            </a:lightRig>
          </a:scene3d>
          <a:sp3d>
            <a:bevelT w="95250" h="127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buClr>
                <a:srgbClr val="FF0000"/>
              </a:buClr>
              <a:buSzPct val="70000"/>
              <a:buFont typeface="Wingdings" panose="05000000000000000000" pitchFamily="2" charset="2"/>
              <a:buChar char="u"/>
              <a:tabLst>
                <a:tab pos="136525" algn="l"/>
              </a:tabLst>
            </a:pP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20" name="矩形 26"/>
          <p:cNvSpPr>
            <a:spLocks noChangeArrowheads="1"/>
          </p:cNvSpPr>
          <p:nvPr/>
        </p:nvSpPr>
        <p:spPr bwMode="auto">
          <a:xfrm>
            <a:off x="6158342" y="1937365"/>
            <a:ext cx="2014058" cy="830997"/>
          </a:xfrm>
          <a:prstGeom prst="rect">
            <a:avLst/>
          </a:prstGeom>
          <a:noFill/>
          <a:ln w="9525">
            <a:noFill/>
            <a:miter lim="800000"/>
          </a:ln>
          <a:effectLst/>
        </p:spPr>
        <p:txBody>
          <a:bodyPr>
            <a:spAutoFit/>
          </a:bodyPr>
          <a:lstStyle/>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p:txBody>
      </p:sp>
      <p:sp>
        <p:nvSpPr>
          <p:cNvPr id="21" name="圆角矩形 20"/>
          <p:cNvSpPr/>
          <p:nvPr/>
        </p:nvSpPr>
        <p:spPr bwMode="auto">
          <a:xfrm>
            <a:off x="3409059" y="1669347"/>
            <a:ext cx="2235976" cy="1644100"/>
          </a:xfrm>
          <a:prstGeom prst="roundRect">
            <a:avLst>
              <a:gd name="adj" fmla="val 0"/>
            </a:avLst>
          </a:prstGeom>
          <a:gradFill flip="none" rotWithShape="1">
            <a:gsLst>
              <a:gs pos="0">
                <a:schemeClr val="bg1">
                  <a:lumMod val="75000"/>
                </a:schemeClr>
              </a:gs>
              <a:gs pos="100000">
                <a:schemeClr val="bg1">
                  <a:lumMod val="95000"/>
                </a:schemeClr>
              </a:gs>
            </a:gsLst>
            <a:lin ang="13500000" scaled="1"/>
            <a:tileRect/>
          </a:gradFill>
          <a:ln w="25400">
            <a:noFill/>
          </a:ln>
          <a:effectLst/>
          <a:scene3d>
            <a:camera prst="orthographicFront">
              <a:rot lat="0" lon="0" rev="0"/>
            </a:camera>
            <a:lightRig rig="balanced" dir="t">
              <a:rot lat="0" lon="0" rev="8700000"/>
            </a:lightRig>
          </a:scene3d>
          <a:sp3d>
            <a:bevelT w="95250" h="127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buClr>
                <a:srgbClr val="FF0000"/>
              </a:buClr>
              <a:buSzPct val="70000"/>
              <a:buFont typeface="Wingdings" panose="05000000000000000000" pitchFamily="2" charset="2"/>
              <a:buChar char="u"/>
              <a:tabLst>
                <a:tab pos="136525" algn="l"/>
              </a:tabLst>
            </a:pP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22" name="矩形 25"/>
          <p:cNvSpPr>
            <a:spLocks noChangeArrowheads="1"/>
          </p:cNvSpPr>
          <p:nvPr/>
        </p:nvSpPr>
        <p:spPr bwMode="auto">
          <a:xfrm>
            <a:off x="3754233" y="1937365"/>
            <a:ext cx="2095258" cy="830997"/>
          </a:xfrm>
          <a:prstGeom prst="rect">
            <a:avLst/>
          </a:prstGeom>
          <a:noFill/>
          <a:ln w="9525">
            <a:noFill/>
            <a:miter lim="800000"/>
          </a:ln>
          <a:effectLst/>
        </p:spPr>
        <p:txBody>
          <a:bodyPr>
            <a:spAutoFit/>
          </a:bodyPr>
          <a:lstStyle/>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p:txBody>
      </p:sp>
      <p:sp>
        <p:nvSpPr>
          <p:cNvPr id="23" name="TextBox 32"/>
          <p:cNvSpPr txBox="1">
            <a:spLocks noChangeArrowheads="1"/>
          </p:cNvSpPr>
          <p:nvPr/>
        </p:nvSpPr>
        <p:spPr bwMode="auto">
          <a:xfrm>
            <a:off x="1441475" y="1967815"/>
            <a:ext cx="1995207" cy="830997"/>
          </a:xfrm>
          <a:prstGeom prst="rect">
            <a:avLst/>
          </a:prstGeom>
          <a:noFill/>
          <a:ln w="9525">
            <a:noFill/>
            <a:miter lim="800000"/>
          </a:ln>
          <a:effectLst/>
        </p:spPr>
        <p:txBody>
          <a:bodyPr>
            <a:spAutoFit/>
          </a:bodyPr>
          <a:lstStyle/>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a:p>
            <a:r>
              <a:rPr lang="zh-CN" altLang="en-US" sz="1200" dirty="0">
                <a:solidFill>
                  <a:schemeClr val="accent2"/>
                </a:solidFill>
                <a:effectLst/>
                <a:latin typeface="微软雅黑" panose="020B0503020204020204" pitchFamily="34" charset="-122"/>
                <a:ea typeface="微软雅黑" panose="020B0503020204020204" pitchFamily="34" charset="-122"/>
              </a:rPr>
              <a:t>这里请输入文本信息</a:t>
            </a:r>
            <a:endParaRPr lang="en-US" altLang="zh-CN" sz="1200" dirty="0">
              <a:solidFill>
                <a:schemeClr val="accent2"/>
              </a:solidFill>
              <a:effectLst/>
              <a:latin typeface="微软雅黑" panose="020B0503020204020204" pitchFamily="34" charset="-122"/>
              <a:ea typeface="微软雅黑" panose="020B0503020204020204" pitchFamily="34" charset="-122"/>
            </a:endParaRPr>
          </a:p>
        </p:txBody>
      </p:sp>
      <p:sp>
        <p:nvSpPr>
          <p:cNvPr id="24" name="燕尾形 23"/>
          <p:cNvSpPr/>
          <p:nvPr/>
        </p:nvSpPr>
        <p:spPr>
          <a:xfrm rot="16200000" flipH="1" flipV="1">
            <a:off x="1966973" y="3527621"/>
            <a:ext cx="394584" cy="526112"/>
          </a:xfrm>
          <a:prstGeom prst="chevron">
            <a:avLst>
              <a:gd name="adj" fmla="val 39402"/>
            </a:avLst>
          </a:prstGeom>
          <a:solidFill>
            <a:srgbClr val="3A9707"/>
          </a:solidFill>
          <a:ln w="25400">
            <a:noFill/>
          </a:ln>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25" name="Rectangle 20"/>
          <p:cNvSpPr>
            <a:spLocks noChangeArrowheads="1"/>
          </p:cNvSpPr>
          <p:nvPr/>
        </p:nvSpPr>
        <p:spPr bwMode="auto">
          <a:xfrm>
            <a:off x="1010026" y="4093523"/>
            <a:ext cx="7089075" cy="494451"/>
          </a:xfrm>
          <a:prstGeom prst="roundRect">
            <a:avLst/>
          </a:prstGeom>
          <a:solidFill>
            <a:srgbClr val="3A9707"/>
          </a:solidFill>
          <a:ln w="25400">
            <a:noFill/>
          </a:ln>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26" name="矩形 25"/>
          <p:cNvSpPr/>
          <p:nvPr/>
        </p:nvSpPr>
        <p:spPr bwMode="auto">
          <a:xfrm>
            <a:off x="1587395" y="4180767"/>
            <a:ext cx="5934337" cy="369332"/>
          </a:xfrm>
          <a:prstGeom prst="rect">
            <a:avLst/>
          </a:prstGeom>
          <a:noFill/>
          <a:effectLst/>
          <a:scene3d>
            <a:camera prst="orthographicFront"/>
            <a:lightRig rig="threePt" dir="t"/>
          </a:scene3d>
          <a:sp3d/>
        </p:spPr>
        <p:txBody>
          <a:bodyPr>
            <a:spAutoFit/>
          </a:bodyPr>
          <a:lstStyle/>
          <a:p>
            <a:pPr algn="ctr" fontAlgn="auto">
              <a:spcBef>
                <a:spcPts val="0"/>
              </a:spcBef>
              <a:spcAft>
                <a:spcPts val="0"/>
              </a:spcAft>
              <a:tabLst>
                <a:tab pos="8521700" algn="r"/>
              </a:tabLst>
              <a:defRPr/>
            </a:pPr>
            <a:r>
              <a:rPr lang="zh-CN" altLang="en-US" dirty="0">
                <a:solidFill>
                  <a:schemeClr val="bg1"/>
                </a:solidFill>
                <a:effectLst/>
                <a:latin typeface="微软雅黑" panose="020B0503020204020204" pitchFamily="34" charset="-122"/>
                <a:ea typeface="微软雅黑" panose="020B0503020204020204" pitchFamily="34" charset="-122"/>
              </a:rPr>
              <a:t>这里请输入文本信息</a:t>
            </a:r>
          </a:p>
        </p:txBody>
      </p:sp>
      <p:sp>
        <p:nvSpPr>
          <p:cNvPr id="27" name="燕尾形 26"/>
          <p:cNvSpPr/>
          <p:nvPr/>
        </p:nvSpPr>
        <p:spPr>
          <a:xfrm rot="16200000" flipH="1" flipV="1">
            <a:off x="4329755" y="3527621"/>
            <a:ext cx="394584" cy="526112"/>
          </a:xfrm>
          <a:prstGeom prst="chevron">
            <a:avLst>
              <a:gd name="adj" fmla="val 39402"/>
            </a:avLst>
          </a:prstGeom>
          <a:solidFill>
            <a:srgbClr val="3A9707"/>
          </a:solidFill>
          <a:ln w="25400">
            <a:noFill/>
          </a:ln>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28" name="燕尾形 27"/>
          <p:cNvSpPr/>
          <p:nvPr/>
        </p:nvSpPr>
        <p:spPr>
          <a:xfrm rot="16200000" flipH="1" flipV="1">
            <a:off x="6692539" y="3527621"/>
            <a:ext cx="394584" cy="526112"/>
          </a:xfrm>
          <a:prstGeom prst="chevron">
            <a:avLst>
              <a:gd name="adj" fmla="val 39402"/>
            </a:avLst>
          </a:prstGeom>
          <a:solidFill>
            <a:srgbClr val="3A9707"/>
          </a:solidFill>
          <a:ln w="25400">
            <a:noFill/>
          </a:ln>
          <a:effectLst/>
          <a:scene3d>
            <a:camera prst="orthographicFront"/>
            <a:lightRig rig="flat" dir="t"/>
          </a:scene3d>
          <a:sp3d extrusionH="304800" contourW="19050">
            <a:bevelT w="101600" prst="convex"/>
            <a:bevelB w="0" h="6350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29" name="圆角矩形 28"/>
          <p:cNvSpPr/>
          <p:nvPr/>
        </p:nvSpPr>
        <p:spPr>
          <a:xfrm>
            <a:off x="3622792" y="1131590"/>
            <a:ext cx="1808510" cy="427466"/>
          </a:xfrm>
          <a:prstGeom prst="roundRect">
            <a:avLst/>
          </a:prstGeom>
          <a:solidFill>
            <a:srgbClr val="3A9707"/>
          </a:solidFill>
          <a:effectLst/>
        </p:spPr>
        <p:style>
          <a:lnRef idx="0">
            <a:schemeClr val="accent5"/>
          </a:lnRef>
          <a:fillRef idx="3">
            <a:schemeClr val="accent5"/>
          </a:fillRef>
          <a:effectRef idx="3">
            <a:schemeClr val="accent5"/>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30" name="圆角矩形 29"/>
          <p:cNvSpPr/>
          <p:nvPr/>
        </p:nvSpPr>
        <p:spPr>
          <a:xfrm>
            <a:off x="5985576" y="1131590"/>
            <a:ext cx="1808510" cy="427466"/>
          </a:xfrm>
          <a:prstGeom prst="roundRect">
            <a:avLst/>
          </a:prstGeom>
          <a:solidFill>
            <a:srgbClr val="3A9707"/>
          </a:solidFill>
          <a:effectLst/>
        </p:spPr>
        <p:style>
          <a:lnRef idx="0">
            <a:schemeClr val="accent5"/>
          </a:lnRef>
          <a:fillRef idx="3">
            <a:schemeClr val="accent5"/>
          </a:fillRef>
          <a:effectRef idx="3">
            <a:schemeClr val="accent5"/>
          </a:effectRef>
          <a:fontRef idx="minor">
            <a:schemeClr val="lt1"/>
          </a:fontRef>
        </p:style>
        <p:txBody>
          <a:bodyPr anchor="ctr"/>
          <a:lstStyle/>
          <a:p>
            <a:pPr algn="ctr" eaLnBrk="0" fontAlgn="ctr" hangingPunct="0">
              <a:buClr>
                <a:srgbClr val="FF0000"/>
              </a:buClr>
              <a:buSzPct val="70000"/>
              <a:buFont typeface="Wingdings" panose="05000000000000000000" pitchFamily="2" charset="2"/>
              <a:buChar char="u"/>
            </a:pP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31" name="圆角矩形 30"/>
          <p:cNvSpPr/>
          <p:nvPr/>
        </p:nvSpPr>
        <p:spPr>
          <a:xfrm>
            <a:off x="1260008" y="1131590"/>
            <a:ext cx="1808510" cy="427466"/>
          </a:xfrm>
          <a:prstGeom prst="roundRect">
            <a:avLst/>
          </a:prstGeom>
          <a:solidFill>
            <a:srgbClr val="3A9707"/>
          </a:solidFill>
          <a:effectLst/>
        </p:spPr>
        <p:style>
          <a:lnRef idx="0">
            <a:schemeClr val="accent5"/>
          </a:lnRef>
          <a:fillRef idx="3">
            <a:schemeClr val="accent5"/>
          </a:fillRef>
          <a:effectRef idx="3">
            <a:schemeClr val="accent5"/>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32" name="矩形 31"/>
          <p:cNvSpPr>
            <a:spLocks noChangeArrowheads="1"/>
          </p:cNvSpPr>
          <p:nvPr/>
        </p:nvSpPr>
        <p:spPr bwMode="auto">
          <a:xfrm>
            <a:off x="1361301" y="1164426"/>
            <a:ext cx="1605924" cy="338554"/>
          </a:xfrm>
          <a:prstGeom prst="rect">
            <a:avLst/>
          </a:prstGeom>
          <a:noFill/>
          <a:ln>
            <a:noFill/>
          </a:ln>
          <a:effectLst/>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
        <p:nvSpPr>
          <p:cNvPr id="33" name="矩形 32"/>
          <p:cNvSpPr>
            <a:spLocks noChangeArrowheads="1"/>
          </p:cNvSpPr>
          <p:nvPr/>
        </p:nvSpPr>
        <p:spPr bwMode="auto">
          <a:xfrm>
            <a:off x="6086869" y="1153076"/>
            <a:ext cx="1605924" cy="338554"/>
          </a:xfrm>
          <a:prstGeom prst="rect">
            <a:avLst/>
          </a:prstGeom>
          <a:noFill/>
          <a:ln>
            <a:noFill/>
          </a:ln>
          <a:effectLst/>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
        <p:nvSpPr>
          <p:cNvPr id="34" name="矩形 33"/>
          <p:cNvSpPr>
            <a:spLocks noChangeArrowheads="1"/>
          </p:cNvSpPr>
          <p:nvPr/>
        </p:nvSpPr>
        <p:spPr bwMode="auto">
          <a:xfrm>
            <a:off x="3724085" y="1164426"/>
            <a:ext cx="1605924" cy="338554"/>
          </a:xfrm>
          <a:prstGeom prst="rect">
            <a:avLst/>
          </a:prstGeom>
          <a:noFill/>
          <a:ln>
            <a:noFill/>
          </a:ln>
          <a:effectLst/>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1000"/>
                                        <p:tgtEl>
                                          <p:spTgt spid="31"/>
                                        </p:tgtEl>
                                      </p:cBhvr>
                                    </p:animEffect>
                                    <p:anim calcmode="lin" valueType="num">
                                      <p:cBhvr>
                                        <p:cTn id="8" dur="1000" fill="hold"/>
                                        <p:tgtEl>
                                          <p:spTgt spid="31"/>
                                        </p:tgtEl>
                                        <p:attrNameLst>
                                          <p:attrName>ppt_x</p:attrName>
                                        </p:attrNameLst>
                                      </p:cBhvr>
                                      <p:tavLst>
                                        <p:tav tm="0">
                                          <p:val>
                                            <p:strVal val="#ppt_x"/>
                                          </p:val>
                                        </p:tav>
                                        <p:tav tm="100000">
                                          <p:val>
                                            <p:strVal val="#ppt_x"/>
                                          </p:val>
                                        </p:tav>
                                      </p:tavLst>
                                    </p:anim>
                                    <p:anim calcmode="lin" valueType="num">
                                      <p:cBhvr>
                                        <p:cTn id="9" dur="900" decel="100000" fill="hold"/>
                                        <p:tgtEl>
                                          <p:spTgt spid="31"/>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1"/>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37" presetClass="entr" presetSubtype="0" fill="hold" grpId="0" nodeType="after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1000"/>
                                        <p:tgtEl>
                                          <p:spTgt spid="29"/>
                                        </p:tgtEl>
                                      </p:cBhvr>
                                    </p:animEffect>
                                    <p:anim calcmode="lin" valueType="num">
                                      <p:cBhvr>
                                        <p:cTn id="15" dur="1000" fill="hold"/>
                                        <p:tgtEl>
                                          <p:spTgt spid="29"/>
                                        </p:tgtEl>
                                        <p:attrNameLst>
                                          <p:attrName>ppt_x</p:attrName>
                                        </p:attrNameLst>
                                      </p:cBhvr>
                                      <p:tavLst>
                                        <p:tav tm="0">
                                          <p:val>
                                            <p:strVal val="#ppt_x"/>
                                          </p:val>
                                        </p:tav>
                                        <p:tav tm="100000">
                                          <p:val>
                                            <p:strVal val="#ppt_x"/>
                                          </p:val>
                                        </p:tav>
                                      </p:tavLst>
                                    </p:anim>
                                    <p:anim calcmode="lin" valueType="num">
                                      <p:cBhvr>
                                        <p:cTn id="16" dur="900" decel="100000" fill="hold"/>
                                        <p:tgtEl>
                                          <p:spTgt spid="29"/>
                                        </p:tgtEl>
                                        <p:attrNameLst>
                                          <p:attrName>ppt_y</p:attrName>
                                        </p:attrNameLst>
                                      </p:cBhvr>
                                      <p:tavLst>
                                        <p:tav tm="0">
                                          <p:val>
                                            <p:strVal val="#ppt_y+1"/>
                                          </p:val>
                                        </p:tav>
                                        <p:tav tm="100000">
                                          <p:val>
                                            <p:strVal val="#ppt_y-.03"/>
                                          </p:val>
                                        </p:tav>
                                      </p:tavLst>
                                    </p:anim>
                                    <p:anim calcmode="lin" valueType="num">
                                      <p:cBhvr>
                                        <p:cTn id="17" dur="100" accel="100000" fill="hold">
                                          <p:stCondLst>
                                            <p:cond delay="900"/>
                                          </p:stCondLst>
                                        </p:cTn>
                                        <p:tgtEl>
                                          <p:spTgt spid="29"/>
                                        </p:tgtEl>
                                        <p:attrNameLst>
                                          <p:attrName>ppt_y</p:attrName>
                                        </p:attrNameLst>
                                      </p:cBhvr>
                                      <p:tavLst>
                                        <p:tav tm="0">
                                          <p:val>
                                            <p:strVal val="#ppt_y-.03"/>
                                          </p:val>
                                        </p:tav>
                                        <p:tav tm="100000">
                                          <p:val>
                                            <p:strVal val="#ppt_y"/>
                                          </p:val>
                                        </p:tav>
                                      </p:tavLst>
                                    </p:anim>
                                  </p:childTnLst>
                                </p:cTn>
                              </p:par>
                            </p:childTnLst>
                          </p:cTn>
                        </p:par>
                        <p:par>
                          <p:cTn id="18" fill="hold">
                            <p:stCondLst>
                              <p:cond delay="2000"/>
                            </p:stCondLst>
                            <p:childTnLst>
                              <p:par>
                                <p:cTn id="19" presetID="37" presetClass="entr" presetSubtype="0" fill="hold" grpId="0" nodeType="after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1000"/>
                                        <p:tgtEl>
                                          <p:spTgt spid="30"/>
                                        </p:tgtEl>
                                      </p:cBhvr>
                                    </p:animEffect>
                                    <p:anim calcmode="lin" valueType="num">
                                      <p:cBhvr>
                                        <p:cTn id="22" dur="1000" fill="hold"/>
                                        <p:tgtEl>
                                          <p:spTgt spid="30"/>
                                        </p:tgtEl>
                                        <p:attrNameLst>
                                          <p:attrName>ppt_x</p:attrName>
                                        </p:attrNameLst>
                                      </p:cBhvr>
                                      <p:tavLst>
                                        <p:tav tm="0">
                                          <p:val>
                                            <p:strVal val="#ppt_x"/>
                                          </p:val>
                                        </p:tav>
                                        <p:tav tm="100000">
                                          <p:val>
                                            <p:strVal val="#ppt_x"/>
                                          </p:val>
                                        </p:tav>
                                      </p:tavLst>
                                    </p:anim>
                                    <p:anim calcmode="lin" valueType="num">
                                      <p:cBhvr>
                                        <p:cTn id="23" dur="900" decel="100000" fill="hold"/>
                                        <p:tgtEl>
                                          <p:spTgt spid="30"/>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30"/>
                                        </p:tgtEl>
                                        <p:attrNameLst>
                                          <p:attrName>ppt_y</p:attrName>
                                        </p:attrNameLst>
                                      </p:cBhvr>
                                      <p:tavLst>
                                        <p:tav tm="0">
                                          <p:val>
                                            <p:strVal val="#ppt_y-.03"/>
                                          </p:val>
                                        </p:tav>
                                        <p:tav tm="100000">
                                          <p:val>
                                            <p:strVal val="#ppt_y"/>
                                          </p:val>
                                        </p:tav>
                                      </p:tavLst>
                                    </p:anim>
                                  </p:childTnLst>
                                </p:cTn>
                              </p:par>
                            </p:childTnLst>
                          </p:cTn>
                        </p:par>
                        <p:par>
                          <p:cTn id="25" fill="hold">
                            <p:stCondLst>
                              <p:cond delay="3000"/>
                            </p:stCondLst>
                            <p:childTnLst>
                              <p:par>
                                <p:cTn id="26" presetID="12" presetClass="entr" presetSubtype="4" fill="hold" grpId="0"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slide(fromBottom)">
                                      <p:cBhvr>
                                        <p:cTn id="28" dur="500"/>
                                        <p:tgtEl>
                                          <p:spTgt spid="32"/>
                                        </p:tgtEl>
                                      </p:cBhvr>
                                    </p:animEffect>
                                  </p:childTnLst>
                                </p:cTn>
                              </p:par>
                            </p:childTnLst>
                          </p:cTn>
                        </p:par>
                        <p:par>
                          <p:cTn id="29" fill="hold">
                            <p:stCondLst>
                              <p:cond delay="3500"/>
                            </p:stCondLst>
                            <p:childTnLst>
                              <p:par>
                                <p:cTn id="30" presetID="12" presetClass="entr" presetSubtype="4" fill="hold" grpId="0" nodeType="after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slide(fromBottom)">
                                      <p:cBhvr>
                                        <p:cTn id="32" dur="500"/>
                                        <p:tgtEl>
                                          <p:spTgt spid="34"/>
                                        </p:tgtEl>
                                      </p:cBhvr>
                                    </p:animEffect>
                                  </p:childTnLst>
                                </p:cTn>
                              </p:par>
                            </p:childTnLst>
                          </p:cTn>
                        </p:par>
                        <p:par>
                          <p:cTn id="33" fill="hold">
                            <p:stCondLst>
                              <p:cond delay="4000"/>
                            </p:stCondLst>
                            <p:childTnLst>
                              <p:par>
                                <p:cTn id="34" presetID="12" presetClass="entr" presetSubtype="4" fill="hold" grpId="0" nodeType="after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slide(fromBottom)">
                                      <p:cBhvr>
                                        <p:cTn id="36" dur="500"/>
                                        <p:tgtEl>
                                          <p:spTgt spid="33"/>
                                        </p:tgtEl>
                                      </p:cBhvr>
                                    </p:animEffect>
                                  </p:childTnLst>
                                </p:cTn>
                              </p:par>
                            </p:childTnLst>
                          </p:cTn>
                        </p:par>
                        <p:par>
                          <p:cTn id="37" fill="hold">
                            <p:stCondLst>
                              <p:cond delay="4500"/>
                            </p:stCondLst>
                            <p:childTnLst>
                              <p:par>
                                <p:cTn id="38" presetID="23" presetClass="entr" presetSubtype="16" fill="hold" grpId="0" nodeType="afterEffect" nodePh="1">
                                  <p:stCondLst>
                                    <p:cond delay="0"/>
                                  </p:stCondLst>
                                  <p:endCondLst>
                                    <p:cond evt="begin" delay="0">
                                      <p:tn val="38"/>
                                    </p:cond>
                                  </p:endCondLst>
                                  <p:childTnLst>
                                    <p:set>
                                      <p:cBhvr>
                                        <p:cTn id="39" dur="1" fill="hold">
                                          <p:stCondLst>
                                            <p:cond delay="0"/>
                                          </p:stCondLst>
                                        </p:cTn>
                                        <p:tgtEl>
                                          <p:spTgt spid="17"/>
                                        </p:tgtEl>
                                        <p:attrNameLst>
                                          <p:attrName>style.visibility</p:attrName>
                                        </p:attrNameLst>
                                      </p:cBhvr>
                                      <p:to>
                                        <p:strVal val="visible"/>
                                      </p:to>
                                    </p:set>
                                    <p:anim calcmode="lin" valueType="num">
                                      <p:cBhvr>
                                        <p:cTn id="40" dur="1000" fill="hold"/>
                                        <p:tgtEl>
                                          <p:spTgt spid="17"/>
                                        </p:tgtEl>
                                        <p:attrNameLst>
                                          <p:attrName>ppt_w</p:attrName>
                                        </p:attrNameLst>
                                      </p:cBhvr>
                                      <p:tavLst>
                                        <p:tav tm="0">
                                          <p:val>
                                            <p:fltVal val="0"/>
                                          </p:val>
                                        </p:tav>
                                        <p:tav tm="100000">
                                          <p:val>
                                            <p:strVal val="#ppt_w"/>
                                          </p:val>
                                        </p:tav>
                                      </p:tavLst>
                                    </p:anim>
                                    <p:anim calcmode="lin" valueType="num">
                                      <p:cBhvr>
                                        <p:cTn id="41" dur="1000" fill="hold"/>
                                        <p:tgtEl>
                                          <p:spTgt spid="17"/>
                                        </p:tgtEl>
                                        <p:attrNameLst>
                                          <p:attrName>ppt_h</p:attrName>
                                        </p:attrNameLst>
                                      </p:cBhvr>
                                      <p:tavLst>
                                        <p:tav tm="0">
                                          <p:val>
                                            <p:fltVal val="0"/>
                                          </p:val>
                                        </p:tav>
                                        <p:tav tm="100000">
                                          <p:val>
                                            <p:strVal val="#ppt_h"/>
                                          </p:val>
                                        </p:tav>
                                      </p:tavLst>
                                    </p:anim>
                                  </p:childTnLst>
                                </p:cTn>
                              </p:par>
                            </p:childTnLst>
                          </p:cTn>
                        </p:par>
                        <p:par>
                          <p:cTn id="42" fill="hold">
                            <p:stCondLst>
                              <p:cond delay="5500"/>
                            </p:stCondLst>
                            <p:childTnLst>
                              <p:par>
                                <p:cTn id="43" presetID="12" presetClass="entr" presetSubtype="1"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slide(fromTop)">
                                      <p:cBhvr>
                                        <p:cTn id="45" dur="500"/>
                                        <p:tgtEl>
                                          <p:spTgt spid="18"/>
                                        </p:tgtEl>
                                      </p:cBhvr>
                                    </p:animEffect>
                                  </p:childTnLst>
                                </p:cTn>
                              </p:par>
                            </p:childTnLst>
                          </p:cTn>
                        </p:par>
                        <p:par>
                          <p:cTn id="46" fill="hold">
                            <p:stCondLst>
                              <p:cond delay="6000"/>
                            </p:stCondLst>
                            <p:childTnLst>
                              <p:par>
                                <p:cTn id="47" presetID="12" presetClass="entr" presetSubtype="1" fill="hold" grpId="0" nodeType="after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slide(fromTop)">
                                      <p:cBhvr>
                                        <p:cTn id="49" dur="500"/>
                                        <p:tgtEl>
                                          <p:spTgt spid="21"/>
                                        </p:tgtEl>
                                      </p:cBhvr>
                                    </p:animEffect>
                                  </p:childTnLst>
                                </p:cTn>
                              </p:par>
                            </p:childTnLst>
                          </p:cTn>
                        </p:par>
                        <p:par>
                          <p:cTn id="50" fill="hold">
                            <p:stCondLst>
                              <p:cond delay="6500"/>
                            </p:stCondLst>
                            <p:childTnLst>
                              <p:par>
                                <p:cTn id="51" presetID="12" presetClass="entr" presetSubtype="1" fill="hold" grpId="0" nodeType="after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slide(fromTop)">
                                      <p:cBhvr>
                                        <p:cTn id="53" dur="500"/>
                                        <p:tgtEl>
                                          <p:spTgt spid="19"/>
                                        </p:tgtEl>
                                      </p:cBhvr>
                                    </p:animEffect>
                                  </p:childTnLst>
                                </p:cTn>
                              </p:par>
                            </p:childTnLst>
                          </p:cTn>
                        </p:par>
                        <p:par>
                          <p:cTn id="54" fill="hold">
                            <p:stCondLst>
                              <p:cond delay="7000"/>
                            </p:stCondLst>
                            <p:childTnLst>
                              <p:par>
                                <p:cTn id="55" presetID="49" presetClass="entr" presetSubtype="0" decel="10000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 calcmode="lin" valueType="num">
                                      <p:cBhvr>
                                        <p:cTn id="57" dur="500" fill="hold"/>
                                        <p:tgtEl>
                                          <p:spTgt spid="23"/>
                                        </p:tgtEl>
                                        <p:attrNameLst>
                                          <p:attrName>ppt_w</p:attrName>
                                        </p:attrNameLst>
                                      </p:cBhvr>
                                      <p:tavLst>
                                        <p:tav tm="0">
                                          <p:val>
                                            <p:fltVal val="0"/>
                                          </p:val>
                                        </p:tav>
                                        <p:tav tm="100000">
                                          <p:val>
                                            <p:strVal val="#ppt_w"/>
                                          </p:val>
                                        </p:tav>
                                      </p:tavLst>
                                    </p:anim>
                                    <p:anim calcmode="lin" valueType="num">
                                      <p:cBhvr>
                                        <p:cTn id="58" dur="500" fill="hold"/>
                                        <p:tgtEl>
                                          <p:spTgt spid="23"/>
                                        </p:tgtEl>
                                        <p:attrNameLst>
                                          <p:attrName>ppt_h</p:attrName>
                                        </p:attrNameLst>
                                      </p:cBhvr>
                                      <p:tavLst>
                                        <p:tav tm="0">
                                          <p:val>
                                            <p:fltVal val="0"/>
                                          </p:val>
                                        </p:tav>
                                        <p:tav tm="100000">
                                          <p:val>
                                            <p:strVal val="#ppt_h"/>
                                          </p:val>
                                        </p:tav>
                                      </p:tavLst>
                                    </p:anim>
                                    <p:anim calcmode="lin" valueType="num">
                                      <p:cBhvr>
                                        <p:cTn id="59" dur="500" fill="hold"/>
                                        <p:tgtEl>
                                          <p:spTgt spid="23"/>
                                        </p:tgtEl>
                                        <p:attrNameLst>
                                          <p:attrName>style.rotation</p:attrName>
                                        </p:attrNameLst>
                                      </p:cBhvr>
                                      <p:tavLst>
                                        <p:tav tm="0">
                                          <p:val>
                                            <p:fltVal val="360"/>
                                          </p:val>
                                        </p:tav>
                                        <p:tav tm="100000">
                                          <p:val>
                                            <p:fltVal val="0"/>
                                          </p:val>
                                        </p:tav>
                                      </p:tavLst>
                                    </p:anim>
                                    <p:animEffect transition="in" filter="fade">
                                      <p:cBhvr>
                                        <p:cTn id="60" dur="500"/>
                                        <p:tgtEl>
                                          <p:spTgt spid="23"/>
                                        </p:tgtEl>
                                      </p:cBhvr>
                                    </p:animEffect>
                                  </p:childTnLst>
                                </p:cTn>
                              </p:par>
                            </p:childTnLst>
                          </p:cTn>
                        </p:par>
                        <p:par>
                          <p:cTn id="61" fill="hold">
                            <p:stCondLst>
                              <p:cond delay="7500"/>
                            </p:stCondLst>
                            <p:childTnLst>
                              <p:par>
                                <p:cTn id="62" presetID="49" presetClass="entr" presetSubtype="0" decel="100000" fill="hold" grpId="0" nodeType="afterEffect">
                                  <p:stCondLst>
                                    <p:cond delay="0"/>
                                  </p:stCondLst>
                                  <p:childTnLst>
                                    <p:set>
                                      <p:cBhvr>
                                        <p:cTn id="63" dur="1" fill="hold">
                                          <p:stCondLst>
                                            <p:cond delay="0"/>
                                          </p:stCondLst>
                                        </p:cTn>
                                        <p:tgtEl>
                                          <p:spTgt spid="22"/>
                                        </p:tgtEl>
                                        <p:attrNameLst>
                                          <p:attrName>style.visibility</p:attrName>
                                        </p:attrNameLst>
                                      </p:cBhvr>
                                      <p:to>
                                        <p:strVal val="visible"/>
                                      </p:to>
                                    </p:set>
                                    <p:anim calcmode="lin" valueType="num">
                                      <p:cBhvr>
                                        <p:cTn id="64" dur="500" fill="hold"/>
                                        <p:tgtEl>
                                          <p:spTgt spid="22"/>
                                        </p:tgtEl>
                                        <p:attrNameLst>
                                          <p:attrName>ppt_w</p:attrName>
                                        </p:attrNameLst>
                                      </p:cBhvr>
                                      <p:tavLst>
                                        <p:tav tm="0">
                                          <p:val>
                                            <p:fltVal val="0"/>
                                          </p:val>
                                        </p:tav>
                                        <p:tav tm="100000">
                                          <p:val>
                                            <p:strVal val="#ppt_w"/>
                                          </p:val>
                                        </p:tav>
                                      </p:tavLst>
                                    </p:anim>
                                    <p:anim calcmode="lin" valueType="num">
                                      <p:cBhvr>
                                        <p:cTn id="65" dur="500" fill="hold"/>
                                        <p:tgtEl>
                                          <p:spTgt spid="22"/>
                                        </p:tgtEl>
                                        <p:attrNameLst>
                                          <p:attrName>ppt_h</p:attrName>
                                        </p:attrNameLst>
                                      </p:cBhvr>
                                      <p:tavLst>
                                        <p:tav tm="0">
                                          <p:val>
                                            <p:fltVal val="0"/>
                                          </p:val>
                                        </p:tav>
                                        <p:tav tm="100000">
                                          <p:val>
                                            <p:strVal val="#ppt_h"/>
                                          </p:val>
                                        </p:tav>
                                      </p:tavLst>
                                    </p:anim>
                                    <p:anim calcmode="lin" valueType="num">
                                      <p:cBhvr>
                                        <p:cTn id="66" dur="500" fill="hold"/>
                                        <p:tgtEl>
                                          <p:spTgt spid="22"/>
                                        </p:tgtEl>
                                        <p:attrNameLst>
                                          <p:attrName>style.rotation</p:attrName>
                                        </p:attrNameLst>
                                      </p:cBhvr>
                                      <p:tavLst>
                                        <p:tav tm="0">
                                          <p:val>
                                            <p:fltVal val="360"/>
                                          </p:val>
                                        </p:tav>
                                        <p:tav tm="100000">
                                          <p:val>
                                            <p:fltVal val="0"/>
                                          </p:val>
                                        </p:tav>
                                      </p:tavLst>
                                    </p:anim>
                                    <p:animEffect transition="in" filter="fade">
                                      <p:cBhvr>
                                        <p:cTn id="67" dur="500"/>
                                        <p:tgtEl>
                                          <p:spTgt spid="22"/>
                                        </p:tgtEl>
                                      </p:cBhvr>
                                    </p:animEffect>
                                  </p:childTnLst>
                                </p:cTn>
                              </p:par>
                            </p:childTnLst>
                          </p:cTn>
                        </p:par>
                        <p:par>
                          <p:cTn id="68" fill="hold">
                            <p:stCondLst>
                              <p:cond delay="8000"/>
                            </p:stCondLst>
                            <p:childTnLst>
                              <p:par>
                                <p:cTn id="69" presetID="49" presetClass="entr" presetSubtype="0" decel="100000" fill="hold" grpId="0" nodeType="afterEffect">
                                  <p:stCondLst>
                                    <p:cond delay="0"/>
                                  </p:stCondLst>
                                  <p:childTnLst>
                                    <p:set>
                                      <p:cBhvr>
                                        <p:cTn id="70" dur="1" fill="hold">
                                          <p:stCondLst>
                                            <p:cond delay="0"/>
                                          </p:stCondLst>
                                        </p:cTn>
                                        <p:tgtEl>
                                          <p:spTgt spid="20"/>
                                        </p:tgtEl>
                                        <p:attrNameLst>
                                          <p:attrName>style.visibility</p:attrName>
                                        </p:attrNameLst>
                                      </p:cBhvr>
                                      <p:to>
                                        <p:strVal val="visible"/>
                                      </p:to>
                                    </p:set>
                                    <p:anim calcmode="lin" valueType="num">
                                      <p:cBhvr>
                                        <p:cTn id="71" dur="500" fill="hold"/>
                                        <p:tgtEl>
                                          <p:spTgt spid="20"/>
                                        </p:tgtEl>
                                        <p:attrNameLst>
                                          <p:attrName>ppt_w</p:attrName>
                                        </p:attrNameLst>
                                      </p:cBhvr>
                                      <p:tavLst>
                                        <p:tav tm="0">
                                          <p:val>
                                            <p:fltVal val="0"/>
                                          </p:val>
                                        </p:tav>
                                        <p:tav tm="100000">
                                          <p:val>
                                            <p:strVal val="#ppt_w"/>
                                          </p:val>
                                        </p:tav>
                                      </p:tavLst>
                                    </p:anim>
                                    <p:anim calcmode="lin" valueType="num">
                                      <p:cBhvr>
                                        <p:cTn id="72" dur="500" fill="hold"/>
                                        <p:tgtEl>
                                          <p:spTgt spid="20"/>
                                        </p:tgtEl>
                                        <p:attrNameLst>
                                          <p:attrName>ppt_h</p:attrName>
                                        </p:attrNameLst>
                                      </p:cBhvr>
                                      <p:tavLst>
                                        <p:tav tm="0">
                                          <p:val>
                                            <p:fltVal val="0"/>
                                          </p:val>
                                        </p:tav>
                                        <p:tav tm="100000">
                                          <p:val>
                                            <p:strVal val="#ppt_h"/>
                                          </p:val>
                                        </p:tav>
                                      </p:tavLst>
                                    </p:anim>
                                    <p:anim calcmode="lin" valueType="num">
                                      <p:cBhvr>
                                        <p:cTn id="73" dur="500" fill="hold"/>
                                        <p:tgtEl>
                                          <p:spTgt spid="20"/>
                                        </p:tgtEl>
                                        <p:attrNameLst>
                                          <p:attrName>style.rotation</p:attrName>
                                        </p:attrNameLst>
                                      </p:cBhvr>
                                      <p:tavLst>
                                        <p:tav tm="0">
                                          <p:val>
                                            <p:fltVal val="360"/>
                                          </p:val>
                                        </p:tav>
                                        <p:tav tm="100000">
                                          <p:val>
                                            <p:fltVal val="0"/>
                                          </p:val>
                                        </p:tav>
                                      </p:tavLst>
                                    </p:anim>
                                    <p:animEffect transition="in" filter="fade">
                                      <p:cBhvr>
                                        <p:cTn id="74" dur="500"/>
                                        <p:tgtEl>
                                          <p:spTgt spid="20"/>
                                        </p:tgtEl>
                                      </p:cBhvr>
                                    </p:animEffect>
                                  </p:childTnLst>
                                </p:cTn>
                              </p:par>
                            </p:childTnLst>
                          </p:cTn>
                        </p:par>
                        <p:par>
                          <p:cTn id="75" fill="hold">
                            <p:stCondLst>
                              <p:cond delay="8500"/>
                            </p:stCondLst>
                            <p:childTnLst>
                              <p:par>
                                <p:cTn id="76" presetID="12" presetClass="entr" presetSubtype="1" fill="hold" grpId="0" nodeType="after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slide(fromTop)">
                                      <p:cBhvr>
                                        <p:cTn id="78" dur="500"/>
                                        <p:tgtEl>
                                          <p:spTgt spid="24"/>
                                        </p:tgtEl>
                                      </p:cBhvr>
                                    </p:animEffect>
                                  </p:childTnLst>
                                </p:cTn>
                              </p:par>
                            </p:childTnLst>
                          </p:cTn>
                        </p:par>
                        <p:par>
                          <p:cTn id="79" fill="hold">
                            <p:stCondLst>
                              <p:cond delay="9000"/>
                            </p:stCondLst>
                            <p:childTnLst>
                              <p:par>
                                <p:cTn id="80" presetID="12" presetClass="entr" presetSubtype="1" fill="hold" grpId="0" nodeType="afterEffect">
                                  <p:stCondLst>
                                    <p:cond delay="0"/>
                                  </p:stCondLst>
                                  <p:childTnLst>
                                    <p:set>
                                      <p:cBhvr>
                                        <p:cTn id="81" dur="1" fill="hold">
                                          <p:stCondLst>
                                            <p:cond delay="0"/>
                                          </p:stCondLst>
                                        </p:cTn>
                                        <p:tgtEl>
                                          <p:spTgt spid="27"/>
                                        </p:tgtEl>
                                        <p:attrNameLst>
                                          <p:attrName>style.visibility</p:attrName>
                                        </p:attrNameLst>
                                      </p:cBhvr>
                                      <p:to>
                                        <p:strVal val="visible"/>
                                      </p:to>
                                    </p:set>
                                    <p:animEffect transition="in" filter="slide(fromTop)">
                                      <p:cBhvr>
                                        <p:cTn id="82" dur="500"/>
                                        <p:tgtEl>
                                          <p:spTgt spid="27"/>
                                        </p:tgtEl>
                                      </p:cBhvr>
                                    </p:animEffect>
                                  </p:childTnLst>
                                </p:cTn>
                              </p:par>
                            </p:childTnLst>
                          </p:cTn>
                        </p:par>
                        <p:par>
                          <p:cTn id="83" fill="hold">
                            <p:stCondLst>
                              <p:cond delay="9500"/>
                            </p:stCondLst>
                            <p:childTnLst>
                              <p:par>
                                <p:cTn id="84" presetID="12" presetClass="entr" presetSubtype="1" fill="hold" grpId="0" nodeType="after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slide(fromTop)">
                                      <p:cBhvr>
                                        <p:cTn id="86" dur="500"/>
                                        <p:tgtEl>
                                          <p:spTgt spid="28"/>
                                        </p:tgtEl>
                                      </p:cBhvr>
                                    </p:animEffect>
                                  </p:childTnLst>
                                </p:cTn>
                              </p:par>
                            </p:childTnLst>
                          </p:cTn>
                        </p:par>
                        <p:par>
                          <p:cTn id="87" fill="hold">
                            <p:stCondLst>
                              <p:cond delay="10000"/>
                            </p:stCondLst>
                            <p:childTnLst>
                              <p:par>
                                <p:cTn id="88" presetID="23" presetClass="entr" presetSubtype="16" fill="hold" grpId="0" nodeType="afterEffect">
                                  <p:stCondLst>
                                    <p:cond delay="0"/>
                                  </p:stCondLst>
                                  <p:childTnLst>
                                    <p:set>
                                      <p:cBhvr>
                                        <p:cTn id="89" dur="1" fill="hold">
                                          <p:stCondLst>
                                            <p:cond delay="0"/>
                                          </p:stCondLst>
                                        </p:cTn>
                                        <p:tgtEl>
                                          <p:spTgt spid="25"/>
                                        </p:tgtEl>
                                        <p:attrNameLst>
                                          <p:attrName>style.visibility</p:attrName>
                                        </p:attrNameLst>
                                      </p:cBhvr>
                                      <p:to>
                                        <p:strVal val="visible"/>
                                      </p:to>
                                    </p:set>
                                    <p:anim calcmode="lin" valueType="num">
                                      <p:cBhvr>
                                        <p:cTn id="90" dur="1000" fill="hold"/>
                                        <p:tgtEl>
                                          <p:spTgt spid="25"/>
                                        </p:tgtEl>
                                        <p:attrNameLst>
                                          <p:attrName>ppt_w</p:attrName>
                                        </p:attrNameLst>
                                      </p:cBhvr>
                                      <p:tavLst>
                                        <p:tav tm="0">
                                          <p:val>
                                            <p:fltVal val="0"/>
                                          </p:val>
                                        </p:tav>
                                        <p:tav tm="100000">
                                          <p:val>
                                            <p:strVal val="#ppt_w"/>
                                          </p:val>
                                        </p:tav>
                                      </p:tavLst>
                                    </p:anim>
                                    <p:anim calcmode="lin" valueType="num">
                                      <p:cBhvr>
                                        <p:cTn id="91" dur="1000" fill="hold"/>
                                        <p:tgtEl>
                                          <p:spTgt spid="25"/>
                                        </p:tgtEl>
                                        <p:attrNameLst>
                                          <p:attrName>ppt_h</p:attrName>
                                        </p:attrNameLst>
                                      </p:cBhvr>
                                      <p:tavLst>
                                        <p:tav tm="0">
                                          <p:val>
                                            <p:fltVal val="0"/>
                                          </p:val>
                                        </p:tav>
                                        <p:tav tm="100000">
                                          <p:val>
                                            <p:strVal val="#ppt_h"/>
                                          </p:val>
                                        </p:tav>
                                      </p:tavLst>
                                    </p:anim>
                                  </p:childTnLst>
                                </p:cTn>
                              </p:par>
                            </p:childTnLst>
                          </p:cTn>
                        </p:par>
                        <p:par>
                          <p:cTn id="92" fill="hold">
                            <p:stCondLst>
                              <p:cond delay="11000"/>
                            </p:stCondLst>
                            <p:childTnLst>
                              <p:par>
                                <p:cTn id="93" presetID="12" presetClass="entr" presetSubtype="4" fill="hold" grpId="0" nodeType="afterEffect">
                                  <p:stCondLst>
                                    <p:cond delay="0"/>
                                  </p:stCondLst>
                                  <p:childTnLst>
                                    <p:set>
                                      <p:cBhvr>
                                        <p:cTn id="94" dur="1" fill="hold">
                                          <p:stCondLst>
                                            <p:cond delay="0"/>
                                          </p:stCondLst>
                                        </p:cTn>
                                        <p:tgtEl>
                                          <p:spTgt spid="26"/>
                                        </p:tgtEl>
                                        <p:attrNameLst>
                                          <p:attrName>style.visibility</p:attrName>
                                        </p:attrNameLst>
                                      </p:cBhvr>
                                      <p:to>
                                        <p:strVal val="visible"/>
                                      </p:to>
                                    </p:set>
                                    <p:animEffect transition="in" filter="slide(fromBottom)">
                                      <p:cBhvr>
                                        <p:cTn id="9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19" grpId="0" animBg="1"/>
      <p:bldP spid="20" grpId="0"/>
      <p:bldP spid="21" grpId="0" animBg="1"/>
      <p:bldP spid="22" grpId="0"/>
      <p:bldP spid="23" grpId="0"/>
      <p:bldP spid="24" grpId="0" animBg="1"/>
      <p:bldP spid="25" grpId="0" animBg="1"/>
      <p:bldP spid="26" grpId="0"/>
      <p:bldP spid="27" grpId="0" animBg="1"/>
      <p:bldP spid="28" grpId="0" animBg="1"/>
      <p:bldP spid="29" grpId="0" animBg="1"/>
      <p:bldP spid="30" grpId="0" animBg="1"/>
      <p:bldP spid="31" grpId="0" animBg="1"/>
      <p:bldP spid="32" grpId="0"/>
      <p:bldP spid="33" grpId="0"/>
      <p:bldP spid="3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60"/>
          <p:cNvSpPr>
            <a:spLocks noChangeArrowheads="1"/>
          </p:cNvSpPr>
          <p:nvPr/>
        </p:nvSpPr>
        <p:spPr bwMode="auto">
          <a:xfrm rot="5400000">
            <a:off x="2862000" y="-1280418"/>
            <a:ext cx="3420000" cy="8100000"/>
          </a:xfrm>
          <a:prstGeom prst="homePlate">
            <a:avLst>
              <a:gd name="adj" fmla="val 28135"/>
            </a:avLst>
          </a:prstGeom>
          <a:solidFill>
            <a:schemeClr val="bg1">
              <a:alpha val="60000"/>
            </a:schemeClr>
          </a:solidFill>
          <a:ln w="25400">
            <a:noFill/>
          </a:ln>
          <a:effectLst>
            <a:outerShdw blurRad="225425" dist="38100" dir="5220000" algn="ctr">
              <a:srgbClr val="000000">
                <a:alpha val="33000"/>
              </a:srgbClr>
            </a:outerShdw>
          </a:effectLst>
          <a:scene3d>
            <a:camera prst="orthographicFront"/>
            <a:lightRig rig="flat" dir="t"/>
          </a:scene3d>
          <a:sp3d contourW="19050">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effectLst/>
              <a:latin typeface="微软雅黑" panose="020B0503020204020204" pitchFamily="34" charset="-122"/>
              <a:ea typeface="微软雅黑" panose="020B0503020204020204" pitchFamily="34" charset="-122"/>
            </a:endParaRPr>
          </a:p>
        </p:txBody>
      </p:sp>
      <p:sp>
        <p:nvSpPr>
          <p:cNvPr id="3" name="AutoShape 4"/>
          <p:cNvSpPr>
            <a:spLocks noChangeArrowheads="1"/>
          </p:cNvSpPr>
          <p:nvPr>
            <p:custDataLst>
              <p:tags r:id="rId1"/>
            </p:custDataLst>
          </p:nvPr>
        </p:nvSpPr>
        <p:spPr bwMode="white">
          <a:xfrm>
            <a:off x="845785" y="1709754"/>
            <a:ext cx="2340000" cy="1620000"/>
          </a:xfrm>
          <a:prstGeom prst="roundRect">
            <a:avLst>
              <a:gd name="adj" fmla="val 5304"/>
            </a:avLst>
          </a:prstGeom>
          <a:solidFill>
            <a:schemeClr val="bg1">
              <a:alpha val="60000"/>
            </a:schemeClr>
          </a:solidFill>
          <a:ln w="38100">
            <a:solidFill>
              <a:srgbClr val="3A9707"/>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4" name="AutoShape 4"/>
          <p:cNvSpPr>
            <a:spLocks noChangeArrowheads="1"/>
          </p:cNvSpPr>
          <p:nvPr>
            <p:custDataLst>
              <p:tags r:id="rId2"/>
            </p:custDataLst>
          </p:nvPr>
        </p:nvSpPr>
        <p:spPr bwMode="white">
          <a:xfrm>
            <a:off x="3396997" y="1709754"/>
            <a:ext cx="2340000" cy="1620000"/>
          </a:xfrm>
          <a:prstGeom prst="roundRect">
            <a:avLst>
              <a:gd name="adj" fmla="val 7012"/>
            </a:avLst>
          </a:prstGeom>
          <a:solidFill>
            <a:schemeClr val="bg1">
              <a:alpha val="60000"/>
            </a:schemeClr>
          </a:solidFill>
          <a:ln w="38100">
            <a:solidFill>
              <a:srgbClr val="3A9707"/>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6" name="矩形 46"/>
          <p:cNvSpPr>
            <a:spLocks noChangeArrowheads="1"/>
          </p:cNvSpPr>
          <p:nvPr/>
        </p:nvSpPr>
        <p:spPr bwMode="auto">
          <a:xfrm>
            <a:off x="3004690" y="3729245"/>
            <a:ext cx="3107689" cy="338554"/>
          </a:xfrm>
          <a:prstGeom prst="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dirty="0">
                <a:solidFill>
                  <a:schemeClr val="accent2"/>
                </a:solidFill>
                <a:effectLst/>
                <a:latin typeface="微软雅黑" panose="020B0503020204020204" pitchFamily="34" charset="-122"/>
                <a:ea typeface="微软雅黑" panose="020B0503020204020204" pitchFamily="34" charset="-122"/>
              </a:rPr>
              <a:t>点击添加标题</a:t>
            </a:r>
          </a:p>
        </p:txBody>
      </p:sp>
      <p:sp>
        <p:nvSpPr>
          <p:cNvPr id="7" name="AutoShape 3"/>
          <p:cNvSpPr>
            <a:spLocks noChangeArrowheads="1"/>
          </p:cNvSpPr>
          <p:nvPr/>
        </p:nvSpPr>
        <p:spPr bwMode="auto">
          <a:xfrm>
            <a:off x="3756997" y="1342709"/>
            <a:ext cx="1620000" cy="504000"/>
          </a:xfrm>
          <a:prstGeom prst="roundRect">
            <a:avLst/>
          </a:prstGeom>
          <a:solidFill>
            <a:srgbClr val="3A9707"/>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bg1"/>
              </a:solidFill>
              <a:effectLst/>
              <a:latin typeface="微软雅黑" panose="020B0503020204020204" pitchFamily="34" charset="-122"/>
              <a:ea typeface="微软雅黑" panose="020B0503020204020204" pitchFamily="34" charset="-122"/>
            </a:endParaRPr>
          </a:p>
        </p:txBody>
      </p:sp>
      <p:sp>
        <p:nvSpPr>
          <p:cNvPr id="8" name="TextBox 7"/>
          <p:cNvSpPr txBox="1"/>
          <p:nvPr/>
        </p:nvSpPr>
        <p:spPr bwMode="auto">
          <a:xfrm>
            <a:off x="3849600" y="1408919"/>
            <a:ext cx="1434795"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latin typeface="微软雅黑" panose="020B0503020204020204" pitchFamily="34" charset="-122"/>
                <a:ea typeface="微软雅黑" panose="020B0503020204020204" pitchFamily="34" charset="-122"/>
              </a:rPr>
              <a:t>分标题二</a:t>
            </a:r>
          </a:p>
        </p:txBody>
      </p:sp>
      <p:sp>
        <p:nvSpPr>
          <p:cNvPr id="11" name="AutoShape 3"/>
          <p:cNvSpPr>
            <a:spLocks noChangeArrowheads="1"/>
          </p:cNvSpPr>
          <p:nvPr/>
        </p:nvSpPr>
        <p:spPr bwMode="auto">
          <a:xfrm>
            <a:off x="1205785" y="1342709"/>
            <a:ext cx="1620000" cy="504000"/>
          </a:xfrm>
          <a:prstGeom prst="roundRect">
            <a:avLst/>
          </a:prstGeom>
          <a:solidFill>
            <a:srgbClr val="3A9707"/>
          </a:soli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0099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zh-CN" sz="1600" b="1" dirty="0">
              <a:solidFill>
                <a:schemeClr val="bg1"/>
              </a:solidFill>
              <a:effectLst/>
              <a:latin typeface="微软雅黑" panose="020B0503020204020204" pitchFamily="34" charset="-122"/>
              <a:ea typeface="微软雅黑" panose="020B0503020204020204" pitchFamily="34" charset="-122"/>
            </a:endParaRPr>
          </a:p>
        </p:txBody>
      </p:sp>
      <p:sp>
        <p:nvSpPr>
          <p:cNvPr id="12" name="TextBox 11"/>
          <p:cNvSpPr txBox="1"/>
          <p:nvPr/>
        </p:nvSpPr>
        <p:spPr bwMode="auto">
          <a:xfrm>
            <a:off x="1325726" y="1408919"/>
            <a:ext cx="1380118"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latin typeface="微软雅黑" panose="020B0503020204020204" pitchFamily="34" charset="-122"/>
                <a:ea typeface="微软雅黑" panose="020B0503020204020204" pitchFamily="34" charset="-122"/>
              </a:rPr>
              <a:t>分标题一</a:t>
            </a:r>
            <a:endParaRPr lang="zh-CN" altLang="zh-CN" sz="1600" dirty="0">
              <a:solidFill>
                <a:schemeClr val="bg1"/>
              </a:solidFill>
              <a:effectLst/>
              <a:latin typeface="微软雅黑" panose="020B0503020204020204" pitchFamily="34" charset="-122"/>
              <a:ea typeface="微软雅黑" panose="020B0503020204020204" pitchFamily="34" charset="-122"/>
            </a:endParaRPr>
          </a:p>
        </p:txBody>
      </p:sp>
      <p:sp>
        <p:nvSpPr>
          <p:cNvPr id="13" name="矩形 12"/>
          <p:cNvSpPr/>
          <p:nvPr/>
        </p:nvSpPr>
        <p:spPr>
          <a:xfrm>
            <a:off x="879475" y="2011079"/>
            <a:ext cx="2273300" cy="522288"/>
          </a:xfrm>
          <a:prstGeom prst="rect">
            <a:avLst/>
          </a:prstGeom>
        </p:spPr>
        <p:txBody>
          <a:bodyPr>
            <a:spAutoFit/>
          </a:bodyPr>
          <a:lstStyle/>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14" name="矩形 13"/>
          <p:cNvSpPr/>
          <p:nvPr/>
        </p:nvSpPr>
        <p:spPr>
          <a:xfrm>
            <a:off x="879475" y="2576229"/>
            <a:ext cx="2273300" cy="522288"/>
          </a:xfrm>
          <a:prstGeom prst="rect">
            <a:avLst/>
          </a:prstGeom>
        </p:spPr>
        <p:txBody>
          <a:bodyPr>
            <a:spAutoFit/>
          </a:bodyPr>
          <a:lstStyle/>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15" name="矩形 14"/>
          <p:cNvSpPr/>
          <p:nvPr/>
        </p:nvSpPr>
        <p:spPr>
          <a:xfrm>
            <a:off x="3430588" y="2011079"/>
            <a:ext cx="2273300" cy="522288"/>
          </a:xfrm>
          <a:prstGeom prst="rect">
            <a:avLst/>
          </a:prstGeom>
        </p:spPr>
        <p:txBody>
          <a:bodyPr>
            <a:spAutoFit/>
          </a:bodyPr>
          <a:lstStyle/>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16" name="矩形 15"/>
          <p:cNvSpPr/>
          <p:nvPr/>
        </p:nvSpPr>
        <p:spPr>
          <a:xfrm>
            <a:off x="3430588" y="2576229"/>
            <a:ext cx="2273300" cy="522288"/>
          </a:xfrm>
          <a:prstGeom prst="rect">
            <a:avLst/>
          </a:prstGeom>
        </p:spPr>
        <p:txBody>
          <a:bodyPr>
            <a:spAutoFit/>
          </a:bodyPr>
          <a:lstStyle/>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19" name="AutoShape 4"/>
          <p:cNvSpPr>
            <a:spLocks noChangeArrowheads="1"/>
          </p:cNvSpPr>
          <p:nvPr>
            <p:custDataLst>
              <p:tags r:id="rId3"/>
            </p:custDataLst>
          </p:nvPr>
        </p:nvSpPr>
        <p:spPr bwMode="white">
          <a:xfrm>
            <a:off x="5940152" y="1709754"/>
            <a:ext cx="2340000" cy="1620000"/>
          </a:xfrm>
          <a:prstGeom prst="roundRect">
            <a:avLst>
              <a:gd name="adj" fmla="val 7012"/>
            </a:avLst>
          </a:prstGeom>
          <a:solidFill>
            <a:schemeClr val="bg1">
              <a:alpha val="60000"/>
            </a:schemeClr>
          </a:solidFill>
          <a:ln w="38100">
            <a:solidFill>
              <a:srgbClr val="3A9707"/>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n"/>
              <a:tabLst>
                <a:tab pos="136525" algn="l"/>
              </a:tabLst>
              <a:defRPr/>
            </a:pPr>
            <a:endParaRPr lang="zh-CN" altLang="en-US" sz="1400" dirty="0">
              <a:solidFill>
                <a:schemeClr val="tx1"/>
              </a:solidFill>
              <a:effectLst/>
              <a:latin typeface="微软雅黑" panose="020B0503020204020204" pitchFamily="34" charset="-122"/>
              <a:ea typeface="微软雅黑" panose="020B0503020204020204" pitchFamily="34" charset="-122"/>
            </a:endParaRPr>
          </a:p>
        </p:txBody>
      </p:sp>
      <p:sp>
        <p:nvSpPr>
          <p:cNvPr id="20" name="AutoShape 3"/>
          <p:cNvSpPr>
            <a:spLocks noChangeArrowheads="1"/>
          </p:cNvSpPr>
          <p:nvPr/>
        </p:nvSpPr>
        <p:spPr bwMode="auto">
          <a:xfrm>
            <a:off x="6300152" y="1342709"/>
            <a:ext cx="1620000" cy="504000"/>
          </a:xfrm>
          <a:prstGeom prst="roundRect">
            <a:avLst/>
          </a:prstGeom>
          <a:solidFill>
            <a:srgbClr val="3A9707"/>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bg1"/>
              </a:solidFill>
              <a:effectLst/>
              <a:latin typeface="微软雅黑" panose="020B0503020204020204" pitchFamily="34" charset="-122"/>
              <a:ea typeface="微软雅黑" panose="020B0503020204020204" pitchFamily="34" charset="-122"/>
            </a:endParaRPr>
          </a:p>
        </p:txBody>
      </p:sp>
      <p:sp>
        <p:nvSpPr>
          <p:cNvPr id="21" name="TextBox 20"/>
          <p:cNvSpPr txBox="1"/>
          <p:nvPr/>
        </p:nvSpPr>
        <p:spPr bwMode="auto">
          <a:xfrm>
            <a:off x="6392755" y="1408919"/>
            <a:ext cx="1434795" cy="374571"/>
          </a:xfrm>
          <a:prstGeom prst="roundRect">
            <a:avLst/>
          </a:prstGeom>
          <a:noFill/>
          <a:scene3d>
            <a:camera prst="orthographicFront"/>
            <a:lightRig rig="threePt" dir="t"/>
          </a:scene3d>
          <a:sp3d/>
        </p:spPr>
        <p:txBody>
          <a:bodyPr>
            <a:spAutoFit/>
          </a:bodyPr>
          <a:lstStyle/>
          <a:p>
            <a:pPr algn="ctr" fontAlgn="auto">
              <a:spcBef>
                <a:spcPts val="0"/>
              </a:spcBef>
              <a:spcAft>
                <a:spcPts val="0"/>
              </a:spcAft>
              <a:buClr>
                <a:schemeClr val="hlink"/>
              </a:buClr>
              <a:defRPr/>
            </a:pPr>
            <a:r>
              <a:rPr lang="zh-CN" altLang="en-US" sz="1600" dirty="0">
                <a:solidFill>
                  <a:schemeClr val="bg1"/>
                </a:solidFill>
                <a:effectLst/>
                <a:latin typeface="微软雅黑" panose="020B0503020204020204" pitchFamily="34" charset="-122"/>
                <a:ea typeface="微软雅黑" panose="020B0503020204020204" pitchFamily="34" charset="-122"/>
              </a:rPr>
              <a:t>分标题三</a:t>
            </a:r>
          </a:p>
        </p:txBody>
      </p:sp>
      <p:sp>
        <p:nvSpPr>
          <p:cNvPr id="22" name="矩形 21"/>
          <p:cNvSpPr/>
          <p:nvPr/>
        </p:nvSpPr>
        <p:spPr>
          <a:xfrm>
            <a:off x="5973743" y="2011079"/>
            <a:ext cx="2273300" cy="522288"/>
          </a:xfrm>
          <a:prstGeom prst="rect">
            <a:avLst/>
          </a:prstGeom>
        </p:spPr>
        <p:txBody>
          <a:bodyPr>
            <a:spAutoFit/>
          </a:bodyPr>
          <a:lstStyle/>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23" name="矩形 22"/>
          <p:cNvSpPr/>
          <p:nvPr/>
        </p:nvSpPr>
        <p:spPr>
          <a:xfrm>
            <a:off x="5973743" y="2576229"/>
            <a:ext cx="2273300" cy="522288"/>
          </a:xfrm>
          <a:prstGeom prst="rect">
            <a:avLst/>
          </a:prstGeom>
        </p:spPr>
        <p:txBody>
          <a:bodyPr>
            <a:spAutoFit/>
          </a:bodyPr>
          <a:lstStyle/>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endParaRPr lang="en-US" altLang="zh-CN" sz="1400" spc="50" dirty="0">
              <a:ln w="11430"/>
              <a:solidFill>
                <a:schemeClr val="accent2"/>
              </a:solidFill>
              <a:effectLst/>
              <a:latin typeface="微软雅黑" panose="020B0503020204020204" pitchFamily="34" charset="-122"/>
              <a:ea typeface="微软雅黑" panose="020B0503020204020204" pitchFamily="34" charset="-122"/>
            </a:endParaRPr>
          </a:p>
          <a:p>
            <a:pPr marL="0" lvl="2" algn="ctr" defTabSz="913130" eaLnBrk="0" fontAlgn="auto" hangingPunct="0">
              <a:spcBef>
                <a:spcPts val="0"/>
              </a:spcBef>
              <a:spcAft>
                <a:spcPts val="0"/>
              </a:spcAft>
              <a:buClr>
                <a:srgbClr val="0070C0"/>
              </a:buClr>
              <a:buSzPct val="80000"/>
              <a:tabLst>
                <a:tab pos="136525" algn="l"/>
              </a:tabLst>
              <a:defRPr/>
            </a:pPr>
            <a:r>
              <a:rPr lang="zh-CN" altLang="en-US" sz="1400" spc="50" dirty="0">
                <a:ln w="11430"/>
                <a:solidFill>
                  <a:schemeClr val="accent2"/>
                </a:solidFill>
                <a:effectLst/>
                <a:latin typeface="微软雅黑" panose="020B0503020204020204" pitchFamily="34" charset="-122"/>
                <a:ea typeface="微软雅黑" panose="020B0503020204020204" pitchFamily="34" charset="-122"/>
              </a:rPr>
              <a:t>点击添加文本</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900" decel="100000" fill="hold"/>
                                        <p:tgtEl>
                                          <p:spTgt spid="11"/>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slide(fromBottom)">
                                      <p:cBhvr>
                                        <p:cTn id="14" dur="500"/>
                                        <p:tgtEl>
                                          <p:spTgt spid="12"/>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slide(fromTop)">
                                      <p:cBhvr>
                                        <p:cTn id="18" dur="500"/>
                                        <p:tgtEl>
                                          <p:spTgt spid="3"/>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slide(fromBottom)">
                                      <p:cBhvr>
                                        <p:cTn id="22" dur="500"/>
                                        <p:tgtEl>
                                          <p:spTgt spid="13"/>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slide(fromBottom)">
                                      <p:cBhvr>
                                        <p:cTn id="26" dur="500"/>
                                        <p:tgtEl>
                                          <p:spTgt spid="14"/>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1000"/>
                                        <p:tgtEl>
                                          <p:spTgt spid="7"/>
                                        </p:tgtEl>
                                      </p:cBhvr>
                                    </p:animEffect>
                                    <p:anim calcmode="lin" valueType="num">
                                      <p:cBhvr>
                                        <p:cTn id="31" dur="1000" fill="hold"/>
                                        <p:tgtEl>
                                          <p:spTgt spid="7"/>
                                        </p:tgtEl>
                                        <p:attrNameLst>
                                          <p:attrName>ppt_x</p:attrName>
                                        </p:attrNameLst>
                                      </p:cBhvr>
                                      <p:tavLst>
                                        <p:tav tm="0">
                                          <p:val>
                                            <p:strVal val="#ppt_x"/>
                                          </p:val>
                                        </p:tav>
                                        <p:tav tm="100000">
                                          <p:val>
                                            <p:strVal val="#ppt_x"/>
                                          </p:val>
                                        </p:tav>
                                      </p:tavLst>
                                    </p:anim>
                                    <p:anim calcmode="lin" valueType="num">
                                      <p:cBhvr>
                                        <p:cTn id="32" dur="900" decel="100000" fill="hold"/>
                                        <p:tgtEl>
                                          <p:spTgt spid="7"/>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slide(fromBottom)">
                                      <p:cBhvr>
                                        <p:cTn id="37" dur="500"/>
                                        <p:tgtEl>
                                          <p:spTgt spid="8"/>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slide(fromTop)">
                                      <p:cBhvr>
                                        <p:cTn id="41" dur="500"/>
                                        <p:tgtEl>
                                          <p:spTgt spid="4"/>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slide(fromBottom)">
                                      <p:cBhvr>
                                        <p:cTn id="45" dur="500"/>
                                        <p:tgtEl>
                                          <p:spTgt spid="15"/>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slide(fromBottom)">
                                      <p:cBhvr>
                                        <p:cTn id="49" dur="500"/>
                                        <p:tgtEl>
                                          <p:spTgt spid="16"/>
                                        </p:tgtEl>
                                      </p:cBhvr>
                                    </p:animEffect>
                                  </p:childTnLst>
                                </p:cTn>
                              </p:par>
                            </p:childTnLst>
                          </p:cTn>
                        </p:par>
                        <p:par>
                          <p:cTn id="50" fill="hold">
                            <p:stCondLst>
                              <p:cond delay="6000"/>
                            </p:stCondLst>
                            <p:childTnLst>
                              <p:par>
                                <p:cTn id="51" presetID="23" presetClass="entr" presetSubtype="16" fill="hold" grpId="0" nodeType="afterEffect">
                                  <p:stCondLst>
                                    <p:cond delay="0"/>
                                  </p:stCondLst>
                                  <p:childTnLst>
                                    <p:set>
                                      <p:cBhvr>
                                        <p:cTn id="52" dur="1" fill="hold">
                                          <p:stCondLst>
                                            <p:cond delay="0"/>
                                          </p:stCondLst>
                                        </p:cTn>
                                        <p:tgtEl>
                                          <p:spTgt spid="2"/>
                                        </p:tgtEl>
                                        <p:attrNameLst>
                                          <p:attrName>style.visibility</p:attrName>
                                        </p:attrNameLst>
                                      </p:cBhvr>
                                      <p:to>
                                        <p:strVal val="visible"/>
                                      </p:to>
                                    </p:set>
                                    <p:anim calcmode="lin" valueType="num">
                                      <p:cBhvr>
                                        <p:cTn id="53" dur="1000" fill="hold"/>
                                        <p:tgtEl>
                                          <p:spTgt spid="2"/>
                                        </p:tgtEl>
                                        <p:attrNameLst>
                                          <p:attrName>ppt_w</p:attrName>
                                        </p:attrNameLst>
                                      </p:cBhvr>
                                      <p:tavLst>
                                        <p:tav tm="0">
                                          <p:val>
                                            <p:fltVal val="0"/>
                                          </p:val>
                                        </p:tav>
                                        <p:tav tm="100000">
                                          <p:val>
                                            <p:strVal val="#ppt_w"/>
                                          </p:val>
                                        </p:tav>
                                      </p:tavLst>
                                    </p:anim>
                                    <p:anim calcmode="lin" valueType="num">
                                      <p:cBhvr>
                                        <p:cTn id="54" dur="1000" fill="hold"/>
                                        <p:tgtEl>
                                          <p:spTgt spid="2"/>
                                        </p:tgtEl>
                                        <p:attrNameLst>
                                          <p:attrName>ppt_h</p:attrName>
                                        </p:attrNameLst>
                                      </p:cBhvr>
                                      <p:tavLst>
                                        <p:tav tm="0">
                                          <p:val>
                                            <p:fltVal val="0"/>
                                          </p:val>
                                        </p:tav>
                                        <p:tav tm="100000">
                                          <p:val>
                                            <p:strVal val="#ppt_h"/>
                                          </p:val>
                                        </p:tav>
                                      </p:tavLst>
                                    </p:anim>
                                  </p:childTnLst>
                                </p:cTn>
                              </p:par>
                            </p:childTnLst>
                          </p:cTn>
                        </p:par>
                        <p:par>
                          <p:cTn id="55" fill="hold">
                            <p:stCondLst>
                              <p:cond delay="7000"/>
                            </p:stCondLst>
                            <p:childTnLst>
                              <p:par>
                                <p:cTn id="56" presetID="37" presetClass="entr" presetSubtype="0" fill="hold" grpId="0" nodeType="after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fade">
                                      <p:cBhvr>
                                        <p:cTn id="58" dur="1000"/>
                                        <p:tgtEl>
                                          <p:spTgt spid="6"/>
                                        </p:tgtEl>
                                      </p:cBhvr>
                                    </p:animEffect>
                                    <p:anim calcmode="lin" valueType="num">
                                      <p:cBhvr>
                                        <p:cTn id="59" dur="1000" fill="hold"/>
                                        <p:tgtEl>
                                          <p:spTgt spid="6"/>
                                        </p:tgtEl>
                                        <p:attrNameLst>
                                          <p:attrName>ppt_x</p:attrName>
                                        </p:attrNameLst>
                                      </p:cBhvr>
                                      <p:tavLst>
                                        <p:tav tm="0">
                                          <p:val>
                                            <p:strVal val="#ppt_x"/>
                                          </p:val>
                                        </p:tav>
                                        <p:tav tm="100000">
                                          <p:val>
                                            <p:strVal val="#ppt_x"/>
                                          </p:val>
                                        </p:tav>
                                      </p:tavLst>
                                    </p:anim>
                                    <p:anim calcmode="lin" valueType="num">
                                      <p:cBhvr>
                                        <p:cTn id="60" dur="900" decel="100000" fill="hold"/>
                                        <p:tgtEl>
                                          <p:spTgt spid="6"/>
                                        </p:tgtEl>
                                        <p:attrNameLst>
                                          <p:attrName>ppt_y</p:attrName>
                                        </p:attrNameLst>
                                      </p:cBhvr>
                                      <p:tavLst>
                                        <p:tav tm="0">
                                          <p:val>
                                            <p:strVal val="#ppt_y+1"/>
                                          </p:val>
                                        </p:tav>
                                        <p:tav tm="100000">
                                          <p:val>
                                            <p:strVal val="#ppt_y-.03"/>
                                          </p:val>
                                        </p:tav>
                                      </p:tavLst>
                                    </p:anim>
                                    <p:anim calcmode="lin" valueType="num">
                                      <p:cBhvr>
                                        <p:cTn id="61"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childTnLst>
                          </p:cTn>
                        </p:par>
                        <p:par>
                          <p:cTn id="62" fill="hold">
                            <p:stCondLst>
                              <p:cond delay="8000"/>
                            </p:stCondLst>
                            <p:childTnLst>
                              <p:par>
                                <p:cTn id="63" presetID="37" presetClass="entr" presetSubtype="0" fill="hold" grpId="0" nodeType="after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1000"/>
                                        <p:tgtEl>
                                          <p:spTgt spid="20"/>
                                        </p:tgtEl>
                                      </p:cBhvr>
                                    </p:animEffect>
                                    <p:anim calcmode="lin" valueType="num">
                                      <p:cBhvr>
                                        <p:cTn id="66" dur="1000" fill="hold"/>
                                        <p:tgtEl>
                                          <p:spTgt spid="20"/>
                                        </p:tgtEl>
                                        <p:attrNameLst>
                                          <p:attrName>ppt_x</p:attrName>
                                        </p:attrNameLst>
                                      </p:cBhvr>
                                      <p:tavLst>
                                        <p:tav tm="0">
                                          <p:val>
                                            <p:strVal val="#ppt_x"/>
                                          </p:val>
                                        </p:tav>
                                        <p:tav tm="100000">
                                          <p:val>
                                            <p:strVal val="#ppt_x"/>
                                          </p:val>
                                        </p:tav>
                                      </p:tavLst>
                                    </p:anim>
                                    <p:anim calcmode="lin" valueType="num">
                                      <p:cBhvr>
                                        <p:cTn id="67" dur="900" decel="100000" fill="hold"/>
                                        <p:tgtEl>
                                          <p:spTgt spid="20"/>
                                        </p:tgtEl>
                                        <p:attrNameLst>
                                          <p:attrName>ppt_y</p:attrName>
                                        </p:attrNameLst>
                                      </p:cBhvr>
                                      <p:tavLst>
                                        <p:tav tm="0">
                                          <p:val>
                                            <p:strVal val="#ppt_y+1"/>
                                          </p:val>
                                        </p:tav>
                                        <p:tav tm="100000">
                                          <p:val>
                                            <p:strVal val="#ppt_y-.03"/>
                                          </p:val>
                                        </p:tav>
                                      </p:tavLst>
                                    </p:anim>
                                    <p:anim calcmode="lin" valueType="num">
                                      <p:cBhvr>
                                        <p:cTn id="68" dur="100" accel="100000" fill="hold">
                                          <p:stCondLst>
                                            <p:cond delay="900"/>
                                          </p:stCondLst>
                                        </p:cTn>
                                        <p:tgtEl>
                                          <p:spTgt spid="20"/>
                                        </p:tgtEl>
                                        <p:attrNameLst>
                                          <p:attrName>ppt_y</p:attrName>
                                        </p:attrNameLst>
                                      </p:cBhvr>
                                      <p:tavLst>
                                        <p:tav tm="0">
                                          <p:val>
                                            <p:strVal val="#ppt_y-.03"/>
                                          </p:val>
                                        </p:tav>
                                        <p:tav tm="100000">
                                          <p:val>
                                            <p:strVal val="#ppt_y"/>
                                          </p:val>
                                        </p:tav>
                                      </p:tavLst>
                                    </p:anim>
                                  </p:childTnLst>
                                </p:cTn>
                              </p:par>
                            </p:childTnLst>
                          </p:cTn>
                        </p:par>
                        <p:par>
                          <p:cTn id="69" fill="hold">
                            <p:stCondLst>
                              <p:cond delay="9000"/>
                            </p:stCondLst>
                            <p:childTnLst>
                              <p:par>
                                <p:cTn id="70" presetID="12" presetClass="entr" presetSubtype="4" fill="hold" grpId="0" nodeType="after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slide(fromBottom)">
                                      <p:cBhvr>
                                        <p:cTn id="72" dur="500"/>
                                        <p:tgtEl>
                                          <p:spTgt spid="21"/>
                                        </p:tgtEl>
                                      </p:cBhvr>
                                    </p:animEffect>
                                  </p:childTnLst>
                                </p:cTn>
                              </p:par>
                            </p:childTnLst>
                          </p:cTn>
                        </p:par>
                        <p:par>
                          <p:cTn id="73" fill="hold">
                            <p:stCondLst>
                              <p:cond delay="9500"/>
                            </p:stCondLst>
                            <p:childTnLst>
                              <p:par>
                                <p:cTn id="74" presetID="12" presetClass="entr" presetSubtype="1" fill="hold" grpId="0" nodeType="afterEffect">
                                  <p:stCondLst>
                                    <p:cond delay="0"/>
                                  </p:stCondLst>
                                  <p:childTnLst>
                                    <p:set>
                                      <p:cBhvr>
                                        <p:cTn id="75" dur="1" fill="hold">
                                          <p:stCondLst>
                                            <p:cond delay="0"/>
                                          </p:stCondLst>
                                        </p:cTn>
                                        <p:tgtEl>
                                          <p:spTgt spid="19"/>
                                        </p:tgtEl>
                                        <p:attrNameLst>
                                          <p:attrName>style.visibility</p:attrName>
                                        </p:attrNameLst>
                                      </p:cBhvr>
                                      <p:to>
                                        <p:strVal val="visible"/>
                                      </p:to>
                                    </p:set>
                                    <p:animEffect transition="in" filter="slide(fromTop)">
                                      <p:cBhvr>
                                        <p:cTn id="76" dur="500"/>
                                        <p:tgtEl>
                                          <p:spTgt spid="19"/>
                                        </p:tgtEl>
                                      </p:cBhvr>
                                    </p:animEffect>
                                  </p:childTnLst>
                                </p:cTn>
                              </p:par>
                            </p:childTnLst>
                          </p:cTn>
                        </p:par>
                        <p:par>
                          <p:cTn id="77" fill="hold">
                            <p:stCondLst>
                              <p:cond delay="10000"/>
                            </p:stCondLst>
                            <p:childTnLst>
                              <p:par>
                                <p:cTn id="78" presetID="12" presetClass="entr" presetSubtype="4" fill="hold" grpId="0"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slide(fromBottom)">
                                      <p:cBhvr>
                                        <p:cTn id="80" dur="500"/>
                                        <p:tgtEl>
                                          <p:spTgt spid="22"/>
                                        </p:tgtEl>
                                      </p:cBhvr>
                                    </p:animEffect>
                                  </p:childTnLst>
                                </p:cTn>
                              </p:par>
                            </p:childTnLst>
                          </p:cTn>
                        </p:par>
                        <p:par>
                          <p:cTn id="81" fill="hold">
                            <p:stCondLst>
                              <p:cond delay="10500"/>
                            </p:stCondLst>
                            <p:childTnLst>
                              <p:par>
                                <p:cTn id="82" presetID="12" presetClass="entr" presetSubtype="4" fill="hold" grpId="0" nodeType="after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slide(fromBottom)">
                                      <p:cBhvr>
                                        <p:cTn id="8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p:bldP spid="7" grpId="0" animBg="1"/>
      <p:bldP spid="8" grpId="0"/>
      <p:bldP spid="11" grpId="0" animBg="1"/>
      <p:bldP spid="12" grpId="0"/>
      <p:bldP spid="13" grpId="0"/>
      <p:bldP spid="14" grpId="0"/>
      <p:bldP spid="15" grpId="0"/>
      <p:bldP spid="16" grpId="0"/>
      <p:bldP spid="19" grpId="0" animBg="1"/>
      <p:bldP spid="20" grpId="0" animBg="1"/>
      <p:bldP spid="21" grpId="0"/>
      <p:bldP spid="22" grpId="0"/>
      <p:bldP spid="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49"/>
          <p:cNvGrpSpPr/>
          <p:nvPr/>
        </p:nvGrpSpPr>
        <p:grpSpPr>
          <a:xfrm>
            <a:off x="814698" y="1789326"/>
            <a:ext cx="7285694" cy="389155"/>
            <a:chOff x="-569466" y="1371600"/>
            <a:chExt cx="12836078" cy="685800"/>
          </a:xfrm>
          <a:solidFill>
            <a:schemeClr val="bg2"/>
          </a:solidFill>
        </p:grpSpPr>
        <p:sp>
          <p:nvSpPr>
            <p:cNvPr id="31" name="Rectangle 44"/>
            <p:cNvSpPr/>
            <p:nvPr/>
          </p:nvSpPr>
          <p:spPr bwMode="auto">
            <a:xfrm>
              <a:off x="-77788" y="1371600"/>
              <a:ext cx="12344400" cy="685800"/>
            </a:xfrm>
            <a:prstGeom prst="rect">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tx1"/>
                </a:solidFill>
              </a:endParaRPr>
            </a:p>
          </p:txBody>
        </p:sp>
        <p:sp>
          <p:nvSpPr>
            <p:cNvPr id="33" name="Rounded Rectangle 21"/>
            <p:cNvSpPr/>
            <p:nvPr/>
          </p:nvSpPr>
          <p:spPr bwMode="auto">
            <a:xfrm>
              <a:off x="-569466" y="1480784"/>
              <a:ext cx="4970442" cy="480463"/>
            </a:xfrm>
            <a:prstGeom prst="roundRect">
              <a:avLst>
                <a:gd name="adj" fmla="val 9078"/>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1"/>
              <a:r>
                <a:rPr lang="zh-CN" altLang="en-US" dirty="0">
                  <a:solidFill>
                    <a:schemeClr val="bg1"/>
                  </a:solidFill>
                  <a:latin typeface="微软雅黑" panose="020B0503020204020204" pitchFamily="34" charset="-122"/>
                  <a:ea typeface="微软雅黑" panose="020B0503020204020204" pitchFamily="34" charset="-122"/>
                </a:rPr>
                <a:t>单击此处填加标题一</a:t>
              </a:r>
              <a:endParaRPr lang="en-US" dirty="0">
                <a:solidFill>
                  <a:schemeClr val="bg1"/>
                </a:solidFill>
                <a:latin typeface="微软雅黑" panose="020B0503020204020204" pitchFamily="34" charset="-122"/>
                <a:ea typeface="微软雅黑" panose="020B0503020204020204" pitchFamily="34" charset="-122"/>
              </a:endParaRPr>
            </a:p>
          </p:txBody>
        </p:sp>
      </p:grpSp>
      <p:sp>
        <p:nvSpPr>
          <p:cNvPr id="37" name="Title 2"/>
          <p:cNvSpPr txBox="1"/>
          <p:nvPr/>
        </p:nvSpPr>
        <p:spPr>
          <a:xfrm>
            <a:off x="1019712" y="1145368"/>
            <a:ext cx="2976224" cy="457049"/>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r>
              <a:rPr lang="zh-CN" altLang="en-US" sz="2400" dirty="0">
                <a:solidFill>
                  <a:schemeClr val="bg2">
                    <a:lumMod val="75000"/>
                  </a:schemeClr>
                </a:solidFill>
              </a:rPr>
              <a:t>目录 </a:t>
            </a:r>
            <a:r>
              <a:rPr lang="en-US" altLang="zh-CN" sz="2400" dirty="0">
                <a:solidFill>
                  <a:schemeClr val="bg2">
                    <a:lumMod val="75000"/>
                  </a:schemeClr>
                </a:solidFill>
              </a:rPr>
              <a:t>CONTENTS</a:t>
            </a:r>
            <a:endParaRPr lang="en-US" sz="2400" dirty="0">
              <a:solidFill>
                <a:schemeClr val="bg2">
                  <a:lumMod val="75000"/>
                </a:schemeClr>
              </a:solidFill>
            </a:endParaRPr>
          </a:p>
        </p:txBody>
      </p:sp>
      <p:grpSp>
        <p:nvGrpSpPr>
          <p:cNvPr id="18" name="Group 49"/>
          <p:cNvGrpSpPr/>
          <p:nvPr/>
        </p:nvGrpSpPr>
        <p:grpSpPr>
          <a:xfrm>
            <a:off x="814698" y="2301689"/>
            <a:ext cx="7285694" cy="389155"/>
            <a:chOff x="-569466" y="1371600"/>
            <a:chExt cx="12836078" cy="685800"/>
          </a:xfrm>
          <a:solidFill>
            <a:schemeClr val="bg2"/>
          </a:solidFill>
        </p:grpSpPr>
        <p:sp>
          <p:nvSpPr>
            <p:cNvPr id="19" name="Rectangle 44"/>
            <p:cNvSpPr/>
            <p:nvPr/>
          </p:nvSpPr>
          <p:spPr bwMode="auto">
            <a:xfrm>
              <a:off x="-77788" y="1371600"/>
              <a:ext cx="12344400" cy="685800"/>
            </a:xfrm>
            <a:prstGeom prst="rect">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tx1"/>
                </a:solidFill>
              </a:endParaRPr>
            </a:p>
          </p:txBody>
        </p:sp>
        <p:sp>
          <p:nvSpPr>
            <p:cNvPr id="20" name="Rounded Rectangle 21"/>
            <p:cNvSpPr/>
            <p:nvPr/>
          </p:nvSpPr>
          <p:spPr bwMode="auto">
            <a:xfrm>
              <a:off x="-569466" y="1480784"/>
              <a:ext cx="4970442" cy="480463"/>
            </a:xfrm>
            <a:prstGeom prst="roundRect">
              <a:avLst>
                <a:gd name="adj" fmla="val 9078"/>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1"/>
              <a:r>
                <a:rPr lang="zh-CN" altLang="en-US" dirty="0">
                  <a:solidFill>
                    <a:schemeClr val="bg1"/>
                  </a:solidFill>
                  <a:latin typeface="微软雅黑" panose="020B0503020204020204" pitchFamily="34" charset="-122"/>
                  <a:ea typeface="微软雅黑" panose="020B0503020204020204" pitchFamily="34" charset="-122"/>
                </a:rPr>
                <a:t>单击此处填加标题二</a:t>
              </a:r>
              <a:endParaRPr lang="en-US" dirty="0">
                <a:solidFill>
                  <a:schemeClr val="bg1"/>
                </a:solidFill>
                <a:latin typeface="微软雅黑" panose="020B0503020204020204" pitchFamily="34" charset="-122"/>
                <a:ea typeface="微软雅黑" panose="020B0503020204020204" pitchFamily="34" charset="-122"/>
              </a:endParaRPr>
            </a:p>
          </p:txBody>
        </p:sp>
      </p:grpSp>
      <p:grpSp>
        <p:nvGrpSpPr>
          <p:cNvPr id="21" name="Group 49"/>
          <p:cNvGrpSpPr/>
          <p:nvPr/>
        </p:nvGrpSpPr>
        <p:grpSpPr>
          <a:xfrm>
            <a:off x="814698" y="2814052"/>
            <a:ext cx="7285694" cy="389155"/>
            <a:chOff x="-569466" y="1371600"/>
            <a:chExt cx="12836078" cy="685800"/>
          </a:xfrm>
          <a:solidFill>
            <a:schemeClr val="bg2"/>
          </a:solidFill>
        </p:grpSpPr>
        <p:sp>
          <p:nvSpPr>
            <p:cNvPr id="22" name="Rectangle 44"/>
            <p:cNvSpPr/>
            <p:nvPr/>
          </p:nvSpPr>
          <p:spPr bwMode="auto">
            <a:xfrm>
              <a:off x="-77788" y="1371600"/>
              <a:ext cx="12344400" cy="685800"/>
            </a:xfrm>
            <a:prstGeom prst="rect">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tx1"/>
                </a:solidFill>
              </a:endParaRPr>
            </a:p>
          </p:txBody>
        </p:sp>
        <p:sp>
          <p:nvSpPr>
            <p:cNvPr id="23" name="Rounded Rectangle 21"/>
            <p:cNvSpPr/>
            <p:nvPr/>
          </p:nvSpPr>
          <p:spPr bwMode="auto">
            <a:xfrm>
              <a:off x="-569466" y="1480784"/>
              <a:ext cx="4970442" cy="480463"/>
            </a:xfrm>
            <a:prstGeom prst="roundRect">
              <a:avLst>
                <a:gd name="adj" fmla="val 9078"/>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1"/>
              <a:r>
                <a:rPr lang="zh-CN" altLang="en-US" dirty="0">
                  <a:solidFill>
                    <a:schemeClr val="bg1"/>
                  </a:solidFill>
                  <a:latin typeface="微软雅黑" panose="020B0503020204020204" pitchFamily="34" charset="-122"/>
                  <a:ea typeface="微软雅黑" panose="020B0503020204020204" pitchFamily="34" charset="-122"/>
                </a:rPr>
                <a:t>单击此处填加标题三</a:t>
              </a:r>
              <a:endParaRPr lang="en-US" dirty="0">
                <a:solidFill>
                  <a:schemeClr val="bg1"/>
                </a:solidFill>
                <a:latin typeface="微软雅黑" panose="020B0503020204020204" pitchFamily="34" charset="-122"/>
                <a:ea typeface="微软雅黑" panose="020B0503020204020204" pitchFamily="34" charset="-122"/>
              </a:endParaRPr>
            </a:p>
          </p:txBody>
        </p:sp>
      </p:grpSp>
      <p:grpSp>
        <p:nvGrpSpPr>
          <p:cNvPr id="24" name="Group 49"/>
          <p:cNvGrpSpPr/>
          <p:nvPr/>
        </p:nvGrpSpPr>
        <p:grpSpPr>
          <a:xfrm>
            <a:off x="814698" y="3326415"/>
            <a:ext cx="7285694" cy="389155"/>
            <a:chOff x="-569466" y="1371600"/>
            <a:chExt cx="12836078" cy="685800"/>
          </a:xfrm>
          <a:solidFill>
            <a:schemeClr val="bg2"/>
          </a:solidFill>
        </p:grpSpPr>
        <p:sp>
          <p:nvSpPr>
            <p:cNvPr id="25" name="Rectangle 44"/>
            <p:cNvSpPr/>
            <p:nvPr/>
          </p:nvSpPr>
          <p:spPr bwMode="auto">
            <a:xfrm>
              <a:off x="-77788" y="1371600"/>
              <a:ext cx="12344400" cy="685800"/>
            </a:xfrm>
            <a:prstGeom prst="rect">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tx1"/>
                </a:solidFill>
              </a:endParaRPr>
            </a:p>
          </p:txBody>
        </p:sp>
        <p:sp>
          <p:nvSpPr>
            <p:cNvPr id="26" name="Rounded Rectangle 21"/>
            <p:cNvSpPr/>
            <p:nvPr/>
          </p:nvSpPr>
          <p:spPr bwMode="auto">
            <a:xfrm>
              <a:off x="-569466" y="1480784"/>
              <a:ext cx="4970442" cy="480463"/>
            </a:xfrm>
            <a:prstGeom prst="roundRect">
              <a:avLst>
                <a:gd name="adj" fmla="val 9078"/>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1"/>
              <a:r>
                <a:rPr lang="zh-CN" altLang="en-US" dirty="0">
                  <a:solidFill>
                    <a:schemeClr val="bg1"/>
                  </a:solidFill>
                  <a:latin typeface="微软雅黑" panose="020B0503020204020204" pitchFamily="34" charset="-122"/>
                  <a:ea typeface="微软雅黑" panose="020B0503020204020204" pitchFamily="34" charset="-122"/>
                </a:rPr>
                <a:t>单击此处填加标题四</a:t>
              </a:r>
              <a:endParaRPr lang="en-US" dirty="0">
                <a:solidFill>
                  <a:schemeClr val="bg1"/>
                </a:solidFill>
                <a:latin typeface="微软雅黑" panose="020B0503020204020204" pitchFamily="34" charset="-122"/>
                <a:ea typeface="微软雅黑" panose="020B0503020204020204" pitchFamily="34" charset="-122"/>
              </a:endParaRPr>
            </a:p>
          </p:txBody>
        </p:sp>
      </p:grpSp>
      <p:grpSp>
        <p:nvGrpSpPr>
          <p:cNvPr id="27" name="Group 49"/>
          <p:cNvGrpSpPr/>
          <p:nvPr/>
        </p:nvGrpSpPr>
        <p:grpSpPr>
          <a:xfrm>
            <a:off x="814698" y="3838779"/>
            <a:ext cx="7285694" cy="389155"/>
            <a:chOff x="-569466" y="1371600"/>
            <a:chExt cx="12836078" cy="685800"/>
          </a:xfrm>
          <a:solidFill>
            <a:schemeClr val="bg2"/>
          </a:solidFill>
        </p:grpSpPr>
        <p:sp>
          <p:nvSpPr>
            <p:cNvPr id="28" name="Rectangle 44"/>
            <p:cNvSpPr/>
            <p:nvPr/>
          </p:nvSpPr>
          <p:spPr bwMode="auto">
            <a:xfrm>
              <a:off x="-77788" y="1371600"/>
              <a:ext cx="12344400" cy="685800"/>
            </a:xfrm>
            <a:prstGeom prst="rect">
              <a:avLst/>
            </a:prstGeom>
            <a:grp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chemeClr val="tx1"/>
                </a:solidFill>
              </a:endParaRPr>
            </a:p>
          </p:txBody>
        </p:sp>
        <p:sp>
          <p:nvSpPr>
            <p:cNvPr id="29" name="Rounded Rectangle 21"/>
            <p:cNvSpPr/>
            <p:nvPr/>
          </p:nvSpPr>
          <p:spPr bwMode="auto">
            <a:xfrm>
              <a:off x="-569466" y="1480784"/>
              <a:ext cx="4970442" cy="480463"/>
            </a:xfrm>
            <a:prstGeom prst="roundRect">
              <a:avLst>
                <a:gd name="adj" fmla="val 9078"/>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1"/>
              <a:r>
                <a:rPr lang="zh-CN" altLang="en-US" dirty="0">
                  <a:solidFill>
                    <a:schemeClr val="bg1"/>
                  </a:solidFill>
                  <a:latin typeface="微软雅黑" panose="020B0503020204020204" pitchFamily="34" charset="-122"/>
                  <a:ea typeface="微软雅黑" panose="020B0503020204020204" pitchFamily="34" charset="-122"/>
                </a:rPr>
                <a:t>单击此处填加标题五</a:t>
              </a:r>
              <a:endParaRPr lang="en-US"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750"/>
                                        <p:tgtEl>
                                          <p:spTgt spid="37"/>
                                        </p:tgtEl>
                                      </p:cBhvr>
                                    </p:animEffect>
                                  </p:childTnLst>
                                </p:cTn>
                              </p:par>
                            </p:childTnLst>
                          </p:cTn>
                        </p:par>
                        <p:par>
                          <p:cTn id="8" fill="hold">
                            <p:stCondLst>
                              <p:cond delay="1000"/>
                            </p:stCondLst>
                            <p:childTnLst>
                              <p:par>
                                <p:cTn id="9" presetID="2" presetClass="entr" presetSubtype="2"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500" fill="hold"/>
                                        <p:tgtEl>
                                          <p:spTgt spid="30"/>
                                        </p:tgtEl>
                                        <p:attrNameLst>
                                          <p:attrName>ppt_x</p:attrName>
                                        </p:attrNameLst>
                                      </p:cBhvr>
                                      <p:tavLst>
                                        <p:tav tm="0">
                                          <p:val>
                                            <p:strVal val="1+#ppt_w/2"/>
                                          </p:val>
                                        </p:tav>
                                        <p:tav tm="100000">
                                          <p:val>
                                            <p:strVal val="#ppt_x"/>
                                          </p:val>
                                        </p:tav>
                                      </p:tavLst>
                                    </p:anim>
                                    <p:anim calcmode="lin" valueType="num">
                                      <p:cBhvr additive="base">
                                        <p:cTn id="12" dur="500" fill="hold"/>
                                        <p:tgtEl>
                                          <p:spTgt spid="30"/>
                                        </p:tgtEl>
                                        <p:attrNameLst>
                                          <p:attrName>ppt_y</p:attrName>
                                        </p:attrNameLst>
                                      </p:cBhvr>
                                      <p:tavLst>
                                        <p:tav tm="0">
                                          <p:val>
                                            <p:strVal val="#ppt_y"/>
                                          </p:val>
                                        </p:tav>
                                        <p:tav tm="100000">
                                          <p:val>
                                            <p:strVal val="#ppt_y"/>
                                          </p:val>
                                        </p:tav>
                                      </p:tavLst>
                                    </p:anim>
                                  </p:childTnLst>
                                </p:cTn>
                              </p:par>
                            </p:childTnLst>
                          </p:cTn>
                        </p:par>
                        <p:par>
                          <p:cTn id="13" fill="hold">
                            <p:stCondLst>
                              <p:cond delay="1500"/>
                            </p:stCondLst>
                            <p:childTnLst>
                              <p:par>
                                <p:cTn id="14" presetID="2" presetClass="entr" presetSubtype="2"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500" fill="hold"/>
                                        <p:tgtEl>
                                          <p:spTgt spid="18"/>
                                        </p:tgtEl>
                                        <p:attrNameLst>
                                          <p:attrName>ppt_x</p:attrName>
                                        </p:attrNameLst>
                                      </p:cBhvr>
                                      <p:tavLst>
                                        <p:tav tm="0">
                                          <p:val>
                                            <p:strVal val="1+#ppt_w/2"/>
                                          </p:val>
                                        </p:tav>
                                        <p:tav tm="100000">
                                          <p:val>
                                            <p:strVal val="#ppt_x"/>
                                          </p:val>
                                        </p:tav>
                                      </p:tavLst>
                                    </p:anim>
                                    <p:anim calcmode="lin" valueType="num">
                                      <p:cBhvr additive="base">
                                        <p:cTn id="17" dur="500" fill="hold"/>
                                        <p:tgtEl>
                                          <p:spTgt spid="18"/>
                                        </p:tgtEl>
                                        <p:attrNameLst>
                                          <p:attrName>ppt_y</p:attrName>
                                        </p:attrNameLst>
                                      </p:cBhvr>
                                      <p:tavLst>
                                        <p:tav tm="0">
                                          <p:val>
                                            <p:strVal val="#ppt_y"/>
                                          </p:val>
                                        </p:tav>
                                        <p:tav tm="100000">
                                          <p:val>
                                            <p:strVal val="#ppt_y"/>
                                          </p:val>
                                        </p:tav>
                                      </p:tavLst>
                                    </p:anim>
                                  </p:childTnLst>
                                </p:cTn>
                              </p:par>
                            </p:childTnLst>
                          </p:cTn>
                        </p:par>
                        <p:par>
                          <p:cTn id="18" fill="hold">
                            <p:stCondLst>
                              <p:cond delay="2000"/>
                            </p:stCondLst>
                            <p:childTnLst>
                              <p:par>
                                <p:cTn id="19" presetID="2" presetClass="entr" presetSubtype="2"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500" fill="hold"/>
                                        <p:tgtEl>
                                          <p:spTgt spid="21"/>
                                        </p:tgtEl>
                                        <p:attrNameLst>
                                          <p:attrName>ppt_x</p:attrName>
                                        </p:attrNameLst>
                                      </p:cBhvr>
                                      <p:tavLst>
                                        <p:tav tm="0">
                                          <p:val>
                                            <p:strVal val="1+#ppt_w/2"/>
                                          </p:val>
                                        </p:tav>
                                        <p:tav tm="100000">
                                          <p:val>
                                            <p:strVal val="#ppt_x"/>
                                          </p:val>
                                        </p:tav>
                                      </p:tavLst>
                                    </p:anim>
                                    <p:anim calcmode="lin" valueType="num">
                                      <p:cBhvr additive="base">
                                        <p:cTn id="22" dur="500" fill="hold"/>
                                        <p:tgtEl>
                                          <p:spTgt spid="21"/>
                                        </p:tgtEl>
                                        <p:attrNameLst>
                                          <p:attrName>ppt_y</p:attrName>
                                        </p:attrNameLst>
                                      </p:cBhvr>
                                      <p:tavLst>
                                        <p:tav tm="0">
                                          <p:val>
                                            <p:strVal val="#ppt_y"/>
                                          </p:val>
                                        </p:tav>
                                        <p:tav tm="100000">
                                          <p:val>
                                            <p:strVal val="#ppt_y"/>
                                          </p:val>
                                        </p:tav>
                                      </p:tavLst>
                                    </p:anim>
                                  </p:childTnLst>
                                </p:cTn>
                              </p:par>
                            </p:childTnLst>
                          </p:cTn>
                        </p:par>
                        <p:par>
                          <p:cTn id="23" fill="hold">
                            <p:stCondLst>
                              <p:cond delay="2500"/>
                            </p:stCondLst>
                            <p:childTnLst>
                              <p:par>
                                <p:cTn id="24" presetID="2" presetClass="entr" presetSubtype="2" fill="hold" nodeType="afterEffect">
                                  <p:stCondLst>
                                    <p:cond delay="0"/>
                                  </p:stCondLst>
                                  <p:childTnLst>
                                    <p:set>
                                      <p:cBhvr>
                                        <p:cTn id="25" dur="1" fill="hold">
                                          <p:stCondLst>
                                            <p:cond delay="0"/>
                                          </p:stCondLst>
                                        </p:cTn>
                                        <p:tgtEl>
                                          <p:spTgt spid="24"/>
                                        </p:tgtEl>
                                        <p:attrNameLst>
                                          <p:attrName>style.visibility</p:attrName>
                                        </p:attrNameLst>
                                      </p:cBhvr>
                                      <p:to>
                                        <p:strVal val="visible"/>
                                      </p:to>
                                    </p:set>
                                    <p:anim calcmode="lin" valueType="num">
                                      <p:cBhvr additive="base">
                                        <p:cTn id="26" dur="500" fill="hold"/>
                                        <p:tgtEl>
                                          <p:spTgt spid="24"/>
                                        </p:tgtEl>
                                        <p:attrNameLst>
                                          <p:attrName>ppt_x</p:attrName>
                                        </p:attrNameLst>
                                      </p:cBhvr>
                                      <p:tavLst>
                                        <p:tav tm="0">
                                          <p:val>
                                            <p:strVal val="1+#ppt_w/2"/>
                                          </p:val>
                                        </p:tav>
                                        <p:tav tm="100000">
                                          <p:val>
                                            <p:strVal val="#ppt_x"/>
                                          </p:val>
                                        </p:tav>
                                      </p:tavLst>
                                    </p:anim>
                                    <p:anim calcmode="lin" valueType="num">
                                      <p:cBhvr additive="base">
                                        <p:cTn id="27" dur="500" fill="hold"/>
                                        <p:tgtEl>
                                          <p:spTgt spid="24"/>
                                        </p:tgtEl>
                                        <p:attrNameLst>
                                          <p:attrName>ppt_y</p:attrName>
                                        </p:attrNameLst>
                                      </p:cBhvr>
                                      <p:tavLst>
                                        <p:tav tm="0">
                                          <p:val>
                                            <p:strVal val="#ppt_y"/>
                                          </p:val>
                                        </p:tav>
                                        <p:tav tm="100000">
                                          <p:val>
                                            <p:strVal val="#ppt_y"/>
                                          </p:val>
                                        </p:tav>
                                      </p:tavLst>
                                    </p:anim>
                                  </p:childTnLst>
                                </p:cTn>
                              </p:par>
                            </p:childTnLst>
                          </p:cTn>
                        </p:par>
                        <p:par>
                          <p:cTn id="28" fill="hold">
                            <p:stCondLst>
                              <p:cond delay="3000"/>
                            </p:stCondLst>
                            <p:childTnLst>
                              <p:par>
                                <p:cTn id="29" presetID="2" presetClass="entr" presetSubtype="2" fill="hold"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p:cNvGrpSpPr/>
          <p:nvPr/>
        </p:nvGrpSpPr>
        <p:grpSpPr bwMode="auto">
          <a:xfrm>
            <a:off x="5761038" y="843558"/>
            <a:ext cx="1943100" cy="2857500"/>
            <a:chOff x="3538" y="1434"/>
            <a:chExt cx="1224" cy="1800"/>
          </a:xfrm>
        </p:grpSpPr>
        <p:sp>
          <p:nvSpPr>
            <p:cNvPr id="3" name="Rectangle 8"/>
            <p:cNvSpPr>
              <a:spLocks noChangeArrowheads="1"/>
            </p:cNvSpPr>
            <p:nvPr/>
          </p:nvSpPr>
          <p:spPr bwMode="auto">
            <a:xfrm>
              <a:off x="3538" y="1506"/>
              <a:ext cx="1152" cy="1728"/>
            </a:xfrm>
            <a:prstGeom prst="rect">
              <a:avLst/>
            </a:prstGeom>
            <a:solidFill>
              <a:schemeClr val="bg2"/>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 name="Freeform 9"/>
            <p:cNvSpPr/>
            <p:nvPr/>
          </p:nvSpPr>
          <p:spPr bwMode="auto">
            <a:xfrm>
              <a:off x="3538" y="1434"/>
              <a:ext cx="1224" cy="72"/>
            </a:xfrm>
            <a:custGeom>
              <a:avLst/>
              <a:gdLst>
                <a:gd name="T0" fmla="*/ 0 w 1224"/>
                <a:gd name="T1" fmla="*/ 72 h 72"/>
                <a:gd name="T2" fmla="*/ 72 w 1224"/>
                <a:gd name="T3" fmla="*/ 0 h 72"/>
                <a:gd name="T4" fmla="*/ 1224 w 1224"/>
                <a:gd name="T5" fmla="*/ 0 h 72"/>
                <a:gd name="T6" fmla="*/ 1152 w 1224"/>
                <a:gd name="T7" fmla="*/ 72 h 72"/>
                <a:gd name="T8" fmla="*/ 0 w 1224"/>
                <a:gd name="T9" fmla="*/ 72 h 72"/>
              </a:gdLst>
              <a:ahLst/>
              <a:cxnLst>
                <a:cxn ang="0">
                  <a:pos x="T0" y="T1"/>
                </a:cxn>
                <a:cxn ang="0">
                  <a:pos x="T2" y="T3"/>
                </a:cxn>
                <a:cxn ang="0">
                  <a:pos x="T4" y="T5"/>
                </a:cxn>
                <a:cxn ang="0">
                  <a:pos x="T6" y="T7"/>
                </a:cxn>
                <a:cxn ang="0">
                  <a:pos x="T8" y="T9"/>
                </a:cxn>
              </a:cxnLst>
              <a:rect l="0" t="0" r="r" b="b"/>
              <a:pathLst>
                <a:path w="1224" h="72">
                  <a:moveTo>
                    <a:pt x="0" y="72"/>
                  </a:moveTo>
                  <a:lnTo>
                    <a:pt x="72" y="0"/>
                  </a:lnTo>
                  <a:lnTo>
                    <a:pt x="1224" y="0"/>
                  </a:lnTo>
                  <a:lnTo>
                    <a:pt x="1152" y="72"/>
                  </a:lnTo>
                  <a:lnTo>
                    <a:pt x="0" y="72"/>
                  </a:lnTo>
                  <a:close/>
                </a:path>
              </a:pathLst>
            </a:custGeom>
            <a:solidFill>
              <a:schemeClr val="bg2">
                <a:lumMod val="60000"/>
                <a:lumOff val="40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 name="Freeform 10"/>
            <p:cNvSpPr/>
            <p:nvPr/>
          </p:nvSpPr>
          <p:spPr bwMode="auto">
            <a:xfrm>
              <a:off x="4690" y="1434"/>
              <a:ext cx="72" cy="1800"/>
            </a:xfrm>
            <a:custGeom>
              <a:avLst/>
              <a:gdLst>
                <a:gd name="T0" fmla="*/ 72 w 72"/>
                <a:gd name="T1" fmla="*/ 0 h 1800"/>
                <a:gd name="T2" fmla="*/ 72 w 72"/>
                <a:gd name="T3" fmla="*/ 1728 h 1800"/>
                <a:gd name="T4" fmla="*/ 0 w 72"/>
                <a:gd name="T5" fmla="*/ 1800 h 1800"/>
                <a:gd name="T6" fmla="*/ 0 w 72"/>
                <a:gd name="T7" fmla="*/ 72 h 1800"/>
                <a:gd name="T8" fmla="*/ 72 w 72"/>
                <a:gd name="T9" fmla="*/ 0 h 1800"/>
              </a:gdLst>
              <a:ahLst/>
              <a:cxnLst>
                <a:cxn ang="0">
                  <a:pos x="T0" y="T1"/>
                </a:cxn>
                <a:cxn ang="0">
                  <a:pos x="T2" y="T3"/>
                </a:cxn>
                <a:cxn ang="0">
                  <a:pos x="T4" y="T5"/>
                </a:cxn>
                <a:cxn ang="0">
                  <a:pos x="T6" y="T7"/>
                </a:cxn>
                <a:cxn ang="0">
                  <a:pos x="T8" y="T9"/>
                </a:cxn>
              </a:cxnLst>
              <a:rect l="0" t="0" r="r" b="b"/>
              <a:pathLst>
                <a:path w="72" h="1800">
                  <a:moveTo>
                    <a:pt x="72" y="0"/>
                  </a:moveTo>
                  <a:lnTo>
                    <a:pt x="72" y="1728"/>
                  </a:lnTo>
                  <a:lnTo>
                    <a:pt x="0" y="1800"/>
                  </a:lnTo>
                  <a:lnTo>
                    <a:pt x="0" y="72"/>
                  </a:lnTo>
                  <a:lnTo>
                    <a:pt x="72" y="0"/>
                  </a:lnTo>
                  <a:close/>
                </a:path>
              </a:pathLst>
            </a:custGeom>
            <a:solidFill>
              <a:schemeClr val="bg2">
                <a:lumMod val="75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6" name="Group 11"/>
          <p:cNvGrpSpPr/>
          <p:nvPr/>
        </p:nvGrpSpPr>
        <p:grpSpPr bwMode="auto">
          <a:xfrm>
            <a:off x="3602038" y="843558"/>
            <a:ext cx="2628900" cy="2857500"/>
            <a:chOff x="930" y="1408"/>
            <a:chExt cx="1656" cy="1800"/>
          </a:xfrm>
        </p:grpSpPr>
        <p:sp>
          <p:nvSpPr>
            <p:cNvPr id="7" name="Rectangle 12"/>
            <p:cNvSpPr>
              <a:spLocks noChangeArrowheads="1"/>
            </p:cNvSpPr>
            <p:nvPr/>
          </p:nvSpPr>
          <p:spPr bwMode="auto">
            <a:xfrm>
              <a:off x="930" y="1480"/>
              <a:ext cx="1152" cy="1728"/>
            </a:xfrm>
            <a:prstGeom prst="rect">
              <a:avLst/>
            </a:prstGeom>
            <a:solidFill>
              <a:srgbClr val="3A9707"/>
            </a:soli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 name="Freeform 13"/>
            <p:cNvSpPr/>
            <p:nvPr/>
          </p:nvSpPr>
          <p:spPr bwMode="auto">
            <a:xfrm>
              <a:off x="930" y="1408"/>
              <a:ext cx="1224" cy="72"/>
            </a:xfrm>
            <a:custGeom>
              <a:avLst/>
              <a:gdLst>
                <a:gd name="T0" fmla="*/ 0 w 1224"/>
                <a:gd name="T1" fmla="*/ 72 h 72"/>
                <a:gd name="T2" fmla="*/ 72 w 1224"/>
                <a:gd name="T3" fmla="*/ 0 h 72"/>
                <a:gd name="T4" fmla="*/ 1224 w 1224"/>
                <a:gd name="T5" fmla="*/ 0 h 72"/>
                <a:gd name="T6" fmla="*/ 1152 w 1224"/>
                <a:gd name="T7" fmla="*/ 72 h 72"/>
                <a:gd name="T8" fmla="*/ 0 w 1224"/>
                <a:gd name="T9" fmla="*/ 72 h 72"/>
              </a:gdLst>
              <a:ahLst/>
              <a:cxnLst>
                <a:cxn ang="0">
                  <a:pos x="T0" y="T1"/>
                </a:cxn>
                <a:cxn ang="0">
                  <a:pos x="T2" y="T3"/>
                </a:cxn>
                <a:cxn ang="0">
                  <a:pos x="T4" y="T5"/>
                </a:cxn>
                <a:cxn ang="0">
                  <a:pos x="T6" y="T7"/>
                </a:cxn>
                <a:cxn ang="0">
                  <a:pos x="T8" y="T9"/>
                </a:cxn>
              </a:cxnLst>
              <a:rect l="0" t="0" r="r" b="b"/>
              <a:pathLst>
                <a:path w="1224" h="72">
                  <a:moveTo>
                    <a:pt x="0" y="72"/>
                  </a:moveTo>
                  <a:lnTo>
                    <a:pt x="72" y="0"/>
                  </a:lnTo>
                  <a:lnTo>
                    <a:pt x="1224" y="0"/>
                  </a:lnTo>
                  <a:lnTo>
                    <a:pt x="1152" y="72"/>
                  </a:lnTo>
                  <a:lnTo>
                    <a:pt x="0" y="72"/>
                  </a:lnTo>
                  <a:close/>
                </a:path>
              </a:pathLst>
            </a:custGeom>
            <a:solidFill>
              <a:schemeClr val="bg2">
                <a:lumMod val="40000"/>
                <a:lumOff val="60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 name="Freeform 14"/>
            <p:cNvSpPr/>
            <p:nvPr/>
          </p:nvSpPr>
          <p:spPr bwMode="auto">
            <a:xfrm>
              <a:off x="2082" y="1408"/>
              <a:ext cx="72" cy="1800"/>
            </a:xfrm>
            <a:custGeom>
              <a:avLst/>
              <a:gdLst>
                <a:gd name="T0" fmla="*/ 72 w 72"/>
                <a:gd name="T1" fmla="*/ 0 h 1800"/>
                <a:gd name="T2" fmla="*/ 72 w 72"/>
                <a:gd name="T3" fmla="*/ 1728 h 1800"/>
                <a:gd name="T4" fmla="*/ 0 w 72"/>
                <a:gd name="T5" fmla="*/ 1800 h 1800"/>
                <a:gd name="T6" fmla="*/ 0 w 72"/>
                <a:gd name="T7" fmla="*/ 72 h 1800"/>
                <a:gd name="T8" fmla="*/ 72 w 72"/>
                <a:gd name="T9" fmla="*/ 0 h 1800"/>
              </a:gdLst>
              <a:ahLst/>
              <a:cxnLst>
                <a:cxn ang="0">
                  <a:pos x="T0" y="T1"/>
                </a:cxn>
                <a:cxn ang="0">
                  <a:pos x="T2" y="T3"/>
                </a:cxn>
                <a:cxn ang="0">
                  <a:pos x="T4" y="T5"/>
                </a:cxn>
                <a:cxn ang="0">
                  <a:pos x="T6" y="T7"/>
                </a:cxn>
                <a:cxn ang="0">
                  <a:pos x="T8" y="T9"/>
                </a:cxn>
              </a:cxnLst>
              <a:rect l="0" t="0" r="r" b="b"/>
              <a:pathLst>
                <a:path w="72" h="1800">
                  <a:moveTo>
                    <a:pt x="72" y="0"/>
                  </a:moveTo>
                  <a:lnTo>
                    <a:pt x="72" y="1728"/>
                  </a:lnTo>
                  <a:lnTo>
                    <a:pt x="0" y="1800"/>
                  </a:lnTo>
                  <a:lnTo>
                    <a:pt x="0" y="72"/>
                  </a:lnTo>
                  <a:lnTo>
                    <a:pt x="72" y="0"/>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 name="Freeform 15"/>
            <p:cNvSpPr/>
            <p:nvPr/>
          </p:nvSpPr>
          <p:spPr bwMode="auto">
            <a:xfrm>
              <a:off x="2082" y="2056"/>
              <a:ext cx="432" cy="576"/>
            </a:xfrm>
            <a:custGeom>
              <a:avLst/>
              <a:gdLst>
                <a:gd name="T0" fmla="*/ 0 w 432"/>
                <a:gd name="T1" fmla="*/ 432 h 576"/>
                <a:gd name="T2" fmla="*/ 144 w 432"/>
                <a:gd name="T3" fmla="*/ 432 h 576"/>
                <a:gd name="T4" fmla="*/ 144 w 432"/>
                <a:gd name="T5" fmla="*/ 576 h 576"/>
                <a:gd name="T6" fmla="*/ 432 w 432"/>
                <a:gd name="T7" fmla="*/ 288 h 576"/>
                <a:gd name="T8" fmla="*/ 144 w 432"/>
                <a:gd name="T9" fmla="*/ 0 h 576"/>
                <a:gd name="T10" fmla="*/ 144 w 432"/>
                <a:gd name="T11" fmla="*/ 144 h 576"/>
                <a:gd name="T12" fmla="*/ 0 w 432"/>
                <a:gd name="T13" fmla="*/ 144 h 576"/>
                <a:gd name="T14" fmla="*/ 0 w 432"/>
                <a:gd name="T15" fmla="*/ 432 h 5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6">
                  <a:moveTo>
                    <a:pt x="0" y="432"/>
                  </a:moveTo>
                  <a:lnTo>
                    <a:pt x="144" y="432"/>
                  </a:lnTo>
                  <a:lnTo>
                    <a:pt x="144" y="576"/>
                  </a:lnTo>
                  <a:lnTo>
                    <a:pt x="432" y="288"/>
                  </a:lnTo>
                  <a:lnTo>
                    <a:pt x="144" y="0"/>
                  </a:lnTo>
                  <a:lnTo>
                    <a:pt x="144" y="144"/>
                  </a:lnTo>
                  <a:lnTo>
                    <a:pt x="0" y="144"/>
                  </a:lnTo>
                  <a:lnTo>
                    <a:pt x="0" y="432"/>
                  </a:lnTo>
                  <a:close/>
                </a:path>
              </a:pathLst>
            </a:custGeom>
            <a:solidFill>
              <a:srgbClr val="C0C0C0"/>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 name="Freeform 16"/>
            <p:cNvSpPr/>
            <p:nvPr/>
          </p:nvSpPr>
          <p:spPr bwMode="auto">
            <a:xfrm>
              <a:off x="2226" y="1984"/>
              <a:ext cx="360" cy="360"/>
            </a:xfrm>
            <a:custGeom>
              <a:avLst/>
              <a:gdLst>
                <a:gd name="T0" fmla="*/ 0 w 360"/>
                <a:gd name="T1" fmla="*/ 72 h 360"/>
                <a:gd name="T2" fmla="*/ 72 w 360"/>
                <a:gd name="T3" fmla="*/ 0 h 360"/>
                <a:gd name="T4" fmla="*/ 360 w 360"/>
                <a:gd name="T5" fmla="*/ 288 h 360"/>
                <a:gd name="T6" fmla="*/ 288 w 360"/>
                <a:gd name="T7" fmla="*/ 360 h 360"/>
                <a:gd name="T8" fmla="*/ 0 w 360"/>
                <a:gd name="T9" fmla="*/ 72 h 360"/>
              </a:gdLst>
              <a:ahLst/>
              <a:cxnLst>
                <a:cxn ang="0">
                  <a:pos x="T0" y="T1"/>
                </a:cxn>
                <a:cxn ang="0">
                  <a:pos x="T2" y="T3"/>
                </a:cxn>
                <a:cxn ang="0">
                  <a:pos x="T4" y="T5"/>
                </a:cxn>
                <a:cxn ang="0">
                  <a:pos x="T6" y="T7"/>
                </a:cxn>
                <a:cxn ang="0">
                  <a:pos x="T8" y="T9"/>
                </a:cxn>
              </a:cxnLst>
              <a:rect l="0" t="0" r="r" b="b"/>
              <a:pathLst>
                <a:path w="360" h="360">
                  <a:moveTo>
                    <a:pt x="0" y="72"/>
                  </a:moveTo>
                  <a:lnTo>
                    <a:pt x="72" y="0"/>
                  </a:lnTo>
                  <a:lnTo>
                    <a:pt x="360" y="288"/>
                  </a:lnTo>
                  <a:lnTo>
                    <a:pt x="288" y="36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2" name="Freeform 17"/>
            <p:cNvSpPr/>
            <p:nvPr/>
          </p:nvSpPr>
          <p:spPr bwMode="auto">
            <a:xfrm>
              <a:off x="2082" y="2128"/>
              <a:ext cx="144" cy="72"/>
            </a:xfrm>
            <a:custGeom>
              <a:avLst/>
              <a:gdLst>
                <a:gd name="T0" fmla="*/ 144 w 144"/>
                <a:gd name="T1" fmla="*/ 0 h 72"/>
                <a:gd name="T2" fmla="*/ 72 w 144"/>
                <a:gd name="T3" fmla="*/ 0 h 72"/>
                <a:gd name="T4" fmla="*/ 0 w 144"/>
                <a:gd name="T5" fmla="*/ 72 h 72"/>
                <a:gd name="T6" fmla="*/ 144 w 144"/>
                <a:gd name="T7" fmla="*/ 72 h 72"/>
                <a:gd name="T8" fmla="*/ 144 w 144"/>
                <a:gd name="T9" fmla="*/ 0 h 72"/>
              </a:gdLst>
              <a:ahLst/>
              <a:cxnLst>
                <a:cxn ang="0">
                  <a:pos x="T0" y="T1"/>
                </a:cxn>
                <a:cxn ang="0">
                  <a:pos x="T2" y="T3"/>
                </a:cxn>
                <a:cxn ang="0">
                  <a:pos x="T4" y="T5"/>
                </a:cxn>
                <a:cxn ang="0">
                  <a:pos x="T6" y="T7"/>
                </a:cxn>
                <a:cxn ang="0">
                  <a:pos x="T8" y="T9"/>
                </a:cxn>
              </a:cxnLst>
              <a:rect l="0" t="0" r="r" b="b"/>
              <a:pathLst>
                <a:path w="144" h="72">
                  <a:moveTo>
                    <a:pt x="144" y="0"/>
                  </a:moveTo>
                  <a:lnTo>
                    <a:pt x="72" y="0"/>
                  </a:lnTo>
                  <a:lnTo>
                    <a:pt x="0" y="72"/>
                  </a:lnTo>
                  <a:lnTo>
                    <a:pt x="144" y="72"/>
                  </a:lnTo>
                  <a:lnTo>
                    <a:pt x="144" y="0"/>
                  </a:lnTo>
                  <a:close/>
                </a:path>
              </a:pathLst>
            </a:custGeom>
            <a:solidFill>
              <a:schemeClr val="bg1"/>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3" name="Group 18"/>
          <p:cNvGrpSpPr/>
          <p:nvPr/>
        </p:nvGrpSpPr>
        <p:grpSpPr bwMode="auto">
          <a:xfrm>
            <a:off x="1441450" y="843558"/>
            <a:ext cx="2628900" cy="2857500"/>
            <a:chOff x="930" y="1408"/>
            <a:chExt cx="1656" cy="1800"/>
          </a:xfrm>
        </p:grpSpPr>
        <p:sp>
          <p:nvSpPr>
            <p:cNvPr id="14" name="Rectangle 19"/>
            <p:cNvSpPr>
              <a:spLocks noChangeArrowheads="1"/>
            </p:cNvSpPr>
            <p:nvPr/>
          </p:nvSpPr>
          <p:spPr bwMode="auto">
            <a:xfrm>
              <a:off x="930" y="1480"/>
              <a:ext cx="1152" cy="1728"/>
            </a:xfrm>
            <a:prstGeom prst="rect">
              <a:avLst/>
            </a:prstGeom>
            <a:solidFill>
              <a:srgbClr val="DDDDDD"/>
            </a:soli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5" name="Freeform 20"/>
            <p:cNvSpPr/>
            <p:nvPr/>
          </p:nvSpPr>
          <p:spPr bwMode="auto">
            <a:xfrm>
              <a:off x="930" y="1408"/>
              <a:ext cx="1224" cy="72"/>
            </a:xfrm>
            <a:custGeom>
              <a:avLst/>
              <a:gdLst>
                <a:gd name="T0" fmla="*/ 0 w 1224"/>
                <a:gd name="T1" fmla="*/ 72 h 72"/>
                <a:gd name="T2" fmla="*/ 72 w 1224"/>
                <a:gd name="T3" fmla="*/ 0 h 72"/>
                <a:gd name="T4" fmla="*/ 1224 w 1224"/>
                <a:gd name="T5" fmla="*/ 0 h 72"/>
                <a:gd name="T6" fmla="*/ 1152 w 1224"/>
                <a:gd name="T7" fmla="*/ 72 h 72"/>
                <a:gd name="T8" fmla="*/ 0 w 1224"/>
                <a:gd name="T9" fmla="*/ 72 h 72"/>
              </a:gdLst>
              <a:ahLst/>
              <a:cxnLst>
                <a:cxn ang="0">
                  <a:pos x="T0" y="T1"/>
                </a:cxn>
                <a:cxn ang="0">
                  <a:pos x="T2" y="T3"/>
                </a:cxn>
                <a:cxn ang="0">
                  <a:pos x="T4" y="T5"/>
                </a:cxn>
                <a:cxn ang="0">
                  <a:pos x="T6" y="T7"/>
                </a:cxn>
                <a:cxn ang="0">
                  <a:pos x="T8" y="T9"/>
                </a:cxn>
              </a:cxnLst>
              <a:rect l="0" t="0" r="r" b="b"/>
              <a:pathLst>
                <a:path w="1224" h="72">
                  <a:moveTo>
                    <a:pt x="0" y="72"/>
                  </a:moveTo>
                  <a:lnTo>
                    <a:pt x="72" y="0"/>
                  </a:lnTo>
                  <a:lnTo>
                    <a:pt x="1224" y="0"/>
                  </a:lnTo>
                  <a:lnTo>
                    <a:pt x="1152" y="72"/>
                  </a:lnTo>
                  <a:lnTo>
                    <a:pt x="0" y="72"/>
                  </a:lnTo>
                  <a:close/>
                </a:path>
              </a:pathLst>
            </a:custGeom>
            <a:solidFill>
              <a:schemeClr val="bg1"/>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6" name="Freeform 21"/>
            <p:cNvSpPr/>
            <p:nvPr/>
          </p:nvSpPr>
          <p:spPr bwMode="auto">
            <a:xfrm>
              <a:off x="2082" y="1408"/>
              <a:ext cx="72" cy="1800"/>
            </a:xfrm>
            <a:custGeom>
              <a:avLst/>
              <a:gdLst>
                <a:gd name="T0" fmla="*/ 72 w 72"/>
                <a:gd name="T1" fmla="*/ 0 h 1800"/>
                <a:gd name="T2" fmla="*/ 72 w 72"/>
                <a:gd name="T3" fmla="*/ 1728 h 1800"/>
                <a:gd name="T4" fmla="*/ 0 w 72"/>
                <a:gd name="T5" fmla="*/ 1800 h 1800"/>
                <a:gd name="T6" fmla="*/ 0 w 72"/>
                <a:gd name="T7" fmla="*/ 72 h 1800"/>
                <a:gd name="T8" fmla="*/ 72 w 72"/>
                <a:gd name="T9" fmla="*/ 0 h 1800"/>
              </a:gdLst>
              <a:ahLst/>
              <a:cxnLst>
                <a:cxn ang="0">
                  <a:pos x="T0" y="T1"/>
                </a:cxn>
                <a:cxn ang="0">
                  <a:pos x="T2" y="T3"/>
                </a:cxn>
                <a:cxn ang="0">
                  <a:pos x="T4" y="T5"/>
                </a:cxn>
                <a:cxn ang="0">
                  <a:pos x="T6" y="T7"/>
                </a:cxn>
                <a:cxn ang="0">
                  <a:pos x="T8" y="T9"/>
                </a:cxn>
              </a:cxnLst>
              <a:rect l="0" t="0" r="r" b="b"/>
              <a:pathLst>
                <a:path w="72" h="1800">
                  <a:moveTo>
                    <a:pt x="72" y="0"/>
                  </a:moveTo>
                  <a:lnTo>
                    <a:pt x="72" y="1728"/>
                  </a:lnTo>
                  <a:lnTo>
                    <a:pt x="0" y="1800"/>
                  </a:lnTo>
                  <a:lnTo>
                    <a:pt x="0" y="72"/>
                  </a:lnTo>
                  <a:lnTo>
                    <a:pt x="72" y="0"/>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7" name="Freeform 22"/>
            <p:cNvSpPr/>
            <p:nvPr/>
          </p:nvSpPr>
          <p:spPr bwMode="auto">
            <a:xfrm>
              <a:off x="2082" y="2056"/>
              <a:ext cx="432" cy="576"/>
            </a:xfrm>
            <a:custGeom>
              <a:avLst/>
              <a:gdLst>
                <a:gd name="T0" fmla="*/ 0 w 432"/>
                <a:gd name="T1" fmla="*/ 432 h 576"/>
                <a:gd name="T2" fmla="*/ 144 w 432"/>
                <a:gd name="T3" fmla="*/ 432 h 576"/>
                <a:gd name="T4" fmla="*/ 144 w 432"/>
                <a:gd name="T5" fmla="*/ 576 h 576"/>
                <a:gd name="T6" fmla="*/ 432 w 432"/>
                <a:gd name="T7" fmla="*/ 288 h 576"/>
                <a:gd name="T8" fmla="*/ 144 w 432"/>
                <a:gd name="T9" fmla="*/ 0 h 576"/>
                <a:gd name="T10" fmla="*/ 144 w 432"/>
                <a:gd name="T11" fmla="*/ 144 h 576"/>
                <a:gd name="T12" fmla="*/ 0 w 432"/>
                <a:gd name="T13" fmla="*/ 144 h 576"/>
                <a:gd name="T14" fmla="*/ 0 w 432"/>
                <a:gd name="T15" fmla="*/ 432 h 5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6">
                  <a:moveTo>
                    <a:pt x="0" y="432"/>
                  </a:moveTo>
                  <a:lnTo>
                    <a:pt x="144" y="432"/>
                  </a:lnTo>
                  <a:lnTo>
                    <a:pt x="144" y="576"/>
                  </a:lnTo>
                  <a:lnTo>
                    <a:pt x="432" y="288"/>
                  </a:lnTo>
                  <a:lnTo>
                    <a:pt x="144" y="0"/>
                  </a:lnTo>
                  <a:lnTo>
                    <a:pt x="144" y="144"/>
                  </a:lnTo>
                  <a:lnTo>
                    <a:pt x="0" y="144"/>
                  </a:lnTo>
                  <a:lnTo>
                    <a:pt x="0" y="432"/>
                  </a:lnTo>
                  <a:close/>
                </a:path>
              </a:pathLst>
            </a:custGeom>
            <a:solidFill>
              <a:srgbClr val="DDDDDD"/>
            </a:solidFill>
            <a:ln>
              <a:noFill/>
            </a:ln>
            <a:effectLst/>
            <a:extLst>
              <a:ext uri="{91240B29-F687-4F45-9708-019B960494DF}">
                <a14:hiddenLine xmlns:a14="http://schemas.microsoft.com/office/drawing/2010/main" w="12700">
                  <a:solidFill>
                    <a:srgbClr val="000000"/>
                  </a:solidFill>
                  <a:prstDash val="solid"/>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8" name="Freeform 23"/>
            <p:cNvSpPr/>
            <p:nvPr/>
          </p:nvSpPr>
          <p:spPr bwMode="auto">
            <a:xfrm>
              <a:off x="2226" y="1984"/>
              <a:ext cx="360" cy="360"/>
            </a:xfrm>
            <a:custGeom>
              <a:avLst/>
              <a:gdLst>
                <a:gd name="T0" fmla="*/ 0 w 360"/>
                <a:gd name="T1" fmla="*/ 72 h 360"/>
                <a:gd name="T2" fmla="*/ 72 w 360"/>
                <a:gd name="T3" fmla="*/ 0 h 360"/>
                <a:gd name="T4" fmla="*/ 360 w 360"/>
                <a:gd name="T5" fmla="*/ 288 h 360"/>
                <a:gd name="T6" fmla="*/ 288 w 360"/>
                <a:gd name="T7" fmla="*/ 360 h 360"/>
                <a:gd name="T8" fmla="*/ 0 w 360"/>
                <a:gd name="T9" fmla="*/ 72 h 360"/>
              </a:gdLst>
              <a:ahLst/>
              <a:cxnLst>
                <a:cxn ang="0">
                  <a:pos x="T0" y="T1"/>
                </a:cxn>
                <a:cxn ang="0">
                  <a:pos x="T2" y="T3"/>
                </a:cxn>
                <a:cxn ang="0">
                  <a:pos x="T4" y="T5"/>
                </a:cxn>
                <a:cxn ang="0">
                  <a:pos x="T6" y="T7"/>
                </a:cxn>
                <a:cxn ang="0">
                  <a:pos x="T8" y="T9"/>
                </a:cxn>
              </a:cxnLst>
              <a:rect l="0" t="0" r="r" b="b"/>
              <a:pathLst>
                <a:path w="360" h="360">
                  <a:moveTo>
                    <a:pt x="0" y="72"/>
                  </a:moveTo>
                  <a:lnTo>
                    <a:pt x="72" y="0"/>
                  </a:lnTo>
                  <a:lnTo>
                    <a:pt x="360" y="288"/>
                  </a:lnTo>
                  <a:lnTo>
                    <a:pt x="288" y="36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9" name="Freeform 24"/>
            <p:cNvSpPr/>
            <p:nvPr/>
          </p:nvSpPr>
          <p:spPr bwMode="auto">
            <a:xfrm>
              <a:off x="2082" y="2128"/>
              <a:ext cx="144" cy="72"/>
            </a:xfrm>
            <a:custGeom>
              <a:avLst/>
              <a:gdLst>
                <a:gd name="T0" fmla="*/ 144 w 144"/>
                <a:gd name="T1" fmla="*/ 0 h 72"/>
                <a:gd name="T2" fmla="*/ 72 w 144"/>
                <a:gd name="T3" fmla="*/ 0 h 72"/>
                <a:gd name="T4" fmla="*/ 0 w 144"/>
                <a:gd name="T5" fmla="*/ 72 h 72"/>
                <a:gd name="T6" fmla="*/ 144 w 144"/>
                <a:gd name="T7" fmla="*/ 72 h 72"/>
                <a:gd name="T8" fmla="*/ 144 w 144"/>
                <a:gd name="T9" fmla="*/ 0 h 72"/>
              </a:gdLst>
              <a:ahLst/>
              <a:cxnLst>
                <a:cxn ang="0">
                  <a:pos x="T0" y="T1"/>
                </a:cxn>
                <a:cxn ang="0">
                  <a:pos x="T2" y="T3"/>
                </a:cxn>
                <a:cxn ang="0">
                  <a:pos x="T4" y="T5"/>
                </a:cxn>
                <a:cxn ang="0">
                  <a:pos x="T6" y="T7"/>
                </a:cxn>
                <a:cxn ang="0">
                  <a:pos x="T8" y="T9"/>
                </a:cxn>
              </a:cxnLst>
              <a:rect l="0" t="0" r="r" b="b"/>
              <a:pathLst>
                <a:path w="144" h="72">
                  <a:moveTo>
                    <a:pt x="144" y="0"/>
                  </a:moveTo>
                  <a:lnTo>
                    <a:pt x="72" y="0"/>
                  </a:lnTo>
                  <a:lnTo>
                    <a:pt x="0" y="72"/>
                  </a:lnTo>
                  <a:lnTo>
                    <a:pt x="144" y="72"/>
                  </a:lnTo>
                  <a:lnTo>
                    <a:pt x="144" y="0"/>
                  </a:lnTo>
                  <a:close/>
                </a:path>
              </a:pathLst>
            </a:custGeom>
            <a:solidFill>
              <a:schemeClr val="bg1"/>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24" name="Line 29"/>
          <p:cNvSpPr>
            <a:spLocks noChangeShapeType="1"/>
          </p:cNvSpPr>
          <p:nvPr/>
        </p:nvSpPr>
        <p:spPr bwMode="auto">
          <a:xfrm>
            <a:off x="1439863" y="3977283"/>
            <a:ext cx="6300787" cy="0"/>
          </a:xfrm>
          <a:prstGeom prst="line">
            <a:avLst/>
          </a:prstGeom>
          <a:noFill/>
          <a:ln w="15875">
            <a:solidFill>
              <a:srgbClr val="9E9E9E"/>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5" name="Text Box 45"/>
          <p:cNvSpPr txBox="1">
            <a:spLocks noChangeArrowheads="1"/>
          </p:cNvSpPr>
          <p:nvPr/>
        </p:nvSpPr>
        <p:spPr bwMode="auto">
          <a:xfrm>
            <a:off x="1441450" y="4132406"/>
            <a:ext cx="5650830" cy="815608"/>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3A9707"/>
                </a:solidFill>
                <a:latin typeface="微软雅黑" panose="020B0503020204020204" pitchFamily="34" charset="-122"/>
                <a:ea typeface="微软雅黑" panose="020B0503020204020204" pitchFamily="34" charset="-122"/>
              </a:rPr>
              <a:t>单击填加标题</a:t>
            </a:r>
            <a:endParaRPr lang="en-US" altLang="ko-KR" sz="1400" b="1" dirty="0">
              <a:solidFill>
                <a:srgbClr val="3A9707"/>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点击添加文本点击添加文本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点击添加文本点击添加文本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26" name="Text Box 45"/>
          <p:cNvSpPr txBox="1">
            <a:spLocks noChangeArrowheads="1"/>
          </p:cNvSpPr>
          <p:nvPr/>
        </p:nvSpPr>
        <p:spPr bwMode="auto">
          <a:xfrm>
            <a:off x="1115392" y="1275606"/>
            <a:ext cx="2016448" cy="98488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r>
              <a:rPr lang="zh-CN" altLang="en-US" sz="1400" b="1" dirty="0">
                <a:solidFill>
                  <a:schemeClr val="bg2"/>
                </a:solidFill>
                <a:latin typeface="微软雅黑" panose="020B0503020204020204" pitchFamily="34" charset="-122"/>
                <a:ea typeface="微软雅黑" panose="020B0503020204020204" pitchFamily="34" charset="-122"/>
              </a:rPr>
              <a:t>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2"/>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2"/>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2"/>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2"/>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2"/>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2"/>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2"/>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2"/>
              </a:solidFill>
              <a:latin typeface="微软雅黑" panose="020B0503020204020204" pitchFamily="34" charset="-122"/>
              <a:ea typeface="微软雅黑" panose="020B0503020204020204" pitchFamily="34" charset="-122"/>
            </a:endParaRPr>
          </a:p>
        </p:txBody>
      </p:sp>
      <p:sp>
        <p:nvSpPr>
          <p:cNvPr id="27" name="Text Box 45"/>
          <p:cNvSpPr txBox="1">
            <a:spLocks noChangeArrowheads="1"/>
          </p:cNvSpPr>
          <p:nvPr/>
        </p:nvSpPr>
        <p:spPr bwMode="auto">
          <a:xfrm>
            <a:off x="3275632" y="1275606"/>
            <a:ext cx="2016448" cy="98488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r>
              <a:rPr lang="zh-CN" altLang="en-US" sz="1400" b="1" dirty="0">
                <a:solidFill>
                  <a:schemeClr val="bg1"/>
                </a:solidFill>
                <a:latin typeface="微软雅黑" panose="020B0503020204020204" pitchFamily="34" charset="-122"/>
                <a:ea typeface="微软雅黑" panose="020B0503020204020204" pitchFamily="34" charset="-122"/>
              </a:rPr>
              <a:t>填加标题</a:t>
            </a:r>
            <a:endParaRPr lang="en-US" altLang="ko-KR" sz="1400" b="1" dirty="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p:txBody>
      </p:sp>
      <p:sp>
        <p:nvSpPr>
          <p:cNvPr id="28" name="Text Box 45"/>
          <p:cNvSpPr txBox="1">
            <a:spLocks noChangeArrowheads="1"/>
          </p:cNvSpPr>
          <p:nvPr/>
        </p:nvSpPr>
        <p:spPr bwMode="auto">
          <a:xfrm>
            <a:off x="5773738" y="1275606"/>
            <a:ext cx="1678806" cy="98488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r>
              <a:rPr lang="zh-CN" altLang="en-US" sz="1400" b="1" dirty="0">
                <a:solidFill>
                  <a:schemeClr val="bg1"/>
                </a:solidFill>
                <a:latin typeface="微软雅黑" panose="020B0503020204020204" pitchFamily="34" charset="-122"/>
                <a:ea typeface="微软雅黑" panose="020B0503020204020204" pitchFamily="34" charset="-122"/>
              </a:rPr>
              <a:t>填加标题</a:t>
            </a:r>
            <a:endParaRPr lang="en-US" altLang="ko-KR" sz="1400" b="1" dirty="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a:p>
            <a:pPr marL="0" lvl="2" algn="r"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750" fill="hold"/>
                                        <p:tgtEl>
                                          <p:spTgt spid="13"/>
                                        </p:tgtEl>
                                        <p:attrNameLst>
                                          <p:attrName>ppt_x</p:attrName>
                                        </p:attrNameLst>
                                      </p:cBhvr>
                                      <p:tavLst>
                                        <p:tav tm="0">
                                          <p:val>
                                            <p:strVal val="0-#ppt_w/2"/>
                                          </p:val>
                                        </p:tav>
                                        <p:tav tm="100000">
                                          <p:val>
                                            <p:strVal val="#ppt_x"/>
                                          </p:val>
                                        </p:tav>
                                      </p:tavLst>
                                    </p:anim>
                                    <p:anim calcmode="lin" valueType="num">
                                      <p:cBhvr additive="base">
                                        <p:cTn id="8" dur="75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left)">
                                      <p:cBhvr>
                                        <p:cTn id="12" dur="750"/>
                                        <p:tgtEl>
                                          <p:spTgt spid="26"/>
                                        </p:tgtEl>
                                      </p:cBhvr>
                                    </p:animEffect>
                                  </p:childTnLst>
                                </p:cTn>
                              </p:par>
                            </p:childTnLst>
                          </p:cTn>
                        </p:par>
                        <p:par>
                          <p:cTn id="13" fill="hold">
                            <p:stCondLst>
                              <p:cond delay="2000"/>
                            </p:stCondLst>
                            <p:childTnLst>
                              <p:par>
                                <p:cTn id="14" presetID="2" presetClass="entr" presetSubtype="8"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750" fill="hold"/>
                                        <p:tgtEl>
                                          <p:spTgt spid="6"/>
                                        </p:tgtEl>
                                        <p:attrNameLst>
                                          <p:attrName>ppt_x</p:attrName>
                                        </p:attrNameLst>
                                      </p:cBhvr>
                                      <p:tavLst>
                                        <p:tav tm="0">
                                          <p:val>
                                            <p:strVal val="0-#ppt_w/2"/>
                                          </p:val>
                                        </p:tav>
                                        <p:tav tm="100000">
                                          <p:val>
                                            <p:strVal val="#ppt_x"/>
                                          </p:val>
                                        </p:tav>
                                      </p:tavLst>
                                    </p:anim>
                                    <p:anim calcmode="lin" valueType="num">
                                      <p:cBhvr additive="base">
                                        <p:cTn id="17" dur="750" fill="hold"/>
                                        <p:tgtEl>
                                          <p:spTgt spid="6"/>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22" presetClass="entr" presetSubtype="8" fill="hold" grpId="0"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750"/>
                                        <p:tgtEl>
                                          <p:spTgt spid="27"/>
                                        </p:tgtEl>
                                      </p:cBhvr>
                                    </p:animEffect>
                                  </p:childTnLst>
                                </p:cTn>
                              </p:par>
                            </p:childTnLst>
                          </p:cTn>
                        </p:par>
                        <p:par>
                          <p:cTn id="22" fill="hold">
                            <p:stCondLst>
                              <p:cond delay="4000"/>
                            </p:stCondLst>
                            <p:childTnLst>
                              <p:par>
                                <p:cTn id="23" presetID="2" presetClass="entr" presetSubtype="8"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additive="base">
                                        <p:cTn id="25" dur="750" fill="hold"/>
                                        <p:tgtEl>
                                          <p:spTgt spid="2"/>
                                        </p:tgtEl>
                                        <p:attrNameLst>
                                          <p:attrName>ppt_x</p:attrName>
                                        </p:attrNameLst>
                                      </p:cBhvr>
                                      <p:tavLst>
                                        <p:tav tm="0">
                                          <p:val>
                                            <p:strVal val="0-#ppt_w/2"/>
                                          </p:val>
                                        </p:tav>
                                        <p:tav tm="100000">
                                          <p:val>
                                            <p:strVal val="#ppt_x"/>
                                          </p:val>
                                        </p:tav>
                                      </p:tavLst>
                                    </p:anim>
                                    <p:anim calcmode="lin" valueType="num">
                                      <p:cBhvr additive="base">
                                        <p:cTn id="26" dur="750" fill="hold"/>
                                        <p:tgtEl>
                                          <p:spTgt spid="2"/>
                                        </p:tgtEl>
                                        <p:attrNameLst>
                                          <p:attrName>ppt_y</p:attrName>
                                        </p:attrNameLst>
                                      </p:cBhvr>
                                      <p:tavLst>
                                        <p:tav tm="0">
                                          <p:val>
                                            <p:strVal val="#ppt_y"/>
                                          </p:val>
                                        </p:tav>
                                        <p:tav tm="100000">
                                          <p:val>
                                            <p:strVal val="#ppt_y"/>
                                          </p:val>
                                        </p:tav>
                                      </p:tavLst>
                                    </p:anim>
                                  </p:childTnLst>
                                </p:cTn>
                              </p:par>
                            </p:childTnLst>
                          </p:cTn>
                        </p:par>
                        <p:par>
                          <p:cTn id="27" fill="hold">
                            <p:stCondLst>
                              <p:cond delay="5000"/>
                            </p:stCondLst>
                            <p:childTnLst>
                              <p:par>
                                <p:cTn id="28" presetID="22" presetClass="entr" presetSubtype="8" fill="hold" grpId="0"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wipe(left)">
                                      <p:cBhvr>
                                        <p:cTn id="30" dur="750"/>
                                        <p:tgtEl>
                                          <p:spTgt spid="28"/>
                                        </p:tgtEl>
                                      </p:cBhvr>
                                    </p:animEffect>
                                  </p:childTnLst>
                                </p:cTn>
                              </p:par>
                            </p:childTnLst>
                          </p:cTn>
                        </p:par>
                        <p:par>
                          <p:cTn id="31" fill="hold">
                            <p:stCondLst>
                              <p:cond delay="6000"/>
                            </p:stCondLst>
                            <p:childTnLst>
                              <p:par>
                                <p:cTn id="32" presetID="10" presetClass="entr" presetSubtype="0" fill="hold" grpId="0" nodeType="after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childTnLst>
                          </p:cTn>
                        </p:par>
                        <p:par>
                          <p:cTn id="35" fill="hold">
                            <p:stCondLst>
                              <p:cond delay="6500"/>
                            </p:stCondLst>
                            <p:childTnLst>
                              <p:par>
                                <p:cTn id="36" presetID="22" presetClass="entr" presetSubtype="8"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wipe(left)">
                                      <p:cBhvr>
                                        <p:cTn id="38"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p:bldP spid="26" grpId="0"/>
      <p:bldP spid="27" grpId="0"/>
      <p:bldP spid="2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190625" y="1400150"/>
            <a:ext cx="6729413" cy="2971800"/>
            <a:chOff x="1190625" y="1400150"/>
            <a:chExt cx="6729413" cy="2971800"/>
          </a:xfrm>
        </p:grpSpPr>
        <p:sp>
          <p:nvSpPr>
            <p:cNvPr id="3" name="Freeform 8"/>
            <p:cNvSpPr/>
            <p:nvPr/>
          </p:nvSpPr>
          <p:spPr bwMode="auto">
            <a:xfrm>
              <a:off x="1304925" y="2543150"/>
              <a:ext cx="800100" cy="1714500"/>
            </a:xfrm>
            <a:custGeom>
              <a:avLst/>
              <a:gdLst>
                <a:gd name="T0" fmla="*/ 0 w 504"/>
                <a:gd name="T1" fmla="*/ 576 h 1080"/>
                <a:gd name="T2" fmla="*/ 0 w 504"/>
                <a:gd name="T3" fmla="*/ 576 h 1080"/>
                <a:gd name="T4" fmla="*/ 0 w 504"/>
                <a:gd name="T5" fmla="*/ 602 h 1080"/>
                <a:gd name="T6" fmla="*/ 2 w 504"/>
                <a:gd name="T7" fmla="*/ 628 h 1080"/>
                <a:gd name="T8" fmla="*/ 6 w 504"/>
                <a:gd name="T9" fmla="*/ 652 h 1080"/>
                <a:gd name="T10" fmla="*/ 10 w 504"/>
                <a:gd name="T11" fmla="*/ 678 h 1080"/>
                <a:gd name="T12" fmla="*/ 16 w 504"/>
                <a:gd name="T13" fmla="*/ 702 h 1080"/>
                <a:gd name="T14" fmla="*/ 22 w 504"/>
                <a:gd name="T15" fmla="*/ 726 h 1080"/>
                <a:gd name="T16" fmla="*/ 30 w 504"/>
                <a:gd name="T17" fmla="*/ 750 h 1080"/>
                <a:gd name="T18" fmla="*/ 40 w 504"/>
                <a:gd name="T19" fmla="*/ 772 h 1080"/>
                <a:gd name="T20" fmla="*/ 60 w 504"/>
                <a:gd name="T21" fmla="*/ 816 h 1080"/>
                <a:gd name="T22" fmla="*/ 86 w 504"/>
                <a:gd name="T23" fmla="*/ 858 h 1080"/>
                <a:gd name="T24" fmla="*/ 116 w 504"/>
                <a:gd name="T25" fmla="*/ 896 h 1080"/>
                <a:gd name="T26" fmla="*/ 148 w 504"/>
                <a:gd name="T27" fmla="*/ 932 h 1080"/>
                <a:gd name="T28" fmla="*/ 184 w 504"/>
                <a:gd name="T29" fmla="*/ 964 h 1080"/>
                <a:gd name="T30" fmla="*/ 222 w 504"/>
                <a:gd name="T31" fmla="*/ 994 h 1080"/>
                <a:gd name="T32" fmla="*/ 264 w 504"/>
                <a:gd name="T33" fmla="*/ 1020 h 1080"/>
                <a:gd name="T34" fmla="*/ 308 w 504"/>
                <a:gd name="T35" fmla="*/ 1040 h 1080"/>
                <a:gd name="T36" fmla="*/ 330 w 504"/>
                <a:gd name="T37" fmla="*/ 1050 h 1080"/>
                <a:gd name="T38" fmla="*/ 354 w 504"/>
                <a:gd name="T39" fmla="*/ 1058 h 1080"/>
                <a:gd name="T40" fmla="*/ 378 w 504"/>
                <a:gd name="T41" fmla="*/ 1064 h 1080"/>
                <a:gd name="T42" fmla="*/ 402 w 504"/>
                <a:gd name="T43" fmla="*/ 1070 h 1080"/>
                <a:gd name="T44" fmla="*/ 428 w 504"/>
                <a:gd name="T45" fmla="*/ 1074 h 1080"/>
                <a:gd name="T46" fmla="*/ 452 w 504"/>
                <a:gd name="T47" fmla="*/ 1078 h 1080"/>
                <a:gd name="T48" fmla="*/ 478 w 504"/>
                <a:gd name="T49" fmla="*/ 1080 h 1080"/>
                <a:gd name="T50" fmla="*/ 504 w 504"/>
                <a:gd name="T51" fmla="*/ 1080 h 1080"/>
                <a:gd name="T52" fmla="*/ 504 w 504"/>
                <a:gd name="T53" fmla="*/ 504 h 1080"/>
                <a:gd name="T54" fmla="*/ 504 w 504"/>
                <a:gd name="T55" fmla="*/ 504 h 1080"/>
                <a:gd name="T56" fmla="*/ 478 w 504"/>
                <a:gd name="T57" fmla="*/ 504 h 1080"/>
                <a:gd name="T58" fmla="*/ 452 w 504"/>
                <a:gd name="T59" fmla="*/ 502 h 1080"/>
                <a:gd name="T60" fmla="*/ 428 w 504"/>
                <a:gd name="T61" fmla="*/ 498 h 1080"/>
                <a:gd name="T62" fmla="*/ 402 w 504"/>
                <a:gd name="T63" fmla="*/ 494 h 1080"/>
                <a:gd name="T64" fmla="*/ 378 w 504"/>
                <a:gd name="T65" fmla="*/ 488 h 1080"/>
                <a:gd name="T66" fmla="*/ 354 w 504"/>
                <a:gd name="T67" fmla="*/ 482 h 1080"/>
                <a:gd name="T68" fmla="*/ 330 w 504"/>
                <a:gd name="T69" fmla="*/ 474 h 1080"/>
                <a:gd name="T70" fmla="*/ 308 w 504"/>
                <a:gd name="T71" fmla="*/ 464 h 1080"/>
                <a:gd name="T72" fmla="*/ 264 w 504"/>
                <a:gd name="T73" fmla="*/ 444 h 1080"/>
                <a:gd name="T74" fmla="*/ 222 w 504"/>
                <a:gd name="T75" fmla="*/ 418 h 1080"/>
                <a:gd name="T76" fmla="*/ 184 w 504"/>
                <a:gd name="T77" fmla="*/ 388 h 1080"/>
                <a:gd name="T78" fmla="*/ 148 w 504"/>
                <a:gd name="T79" fmla="*/ 356 h 1080"/>
                <a:gd name="T80" fmla="*/ 116 w 504"/>
                <a:gd name="T81" fmla="*/ 320 h 1080"/>
                <a:gd name="T82" fmla="*/ 86 w 504"/>
                <a:gd name="T83" fmla="*/ 282 h 1080"/>
                <a:gd name="T84" fmla="*/ 60 w 504"/>
                <a:gd name="T85" fmla="*/ 240 h 1080"/>
                <a:gd name="T86" fmla="*/ 40 w 504"/>
                <a:gd name="T87" fmla="*/ 196 h 1080"/>
                <a:gd name="T88" fmla="*/ 30 w 504"/>
                <a:gd name="T89" fmla="*/ 174 h 1080"/>
                <a:gd name="T90" fmla="*/ 22 w 504"/>
                <a:gd name="T91" fmla="*/ 150 h 1080"/>
                <a:gd name="T92" fmla="*/ 16 w 504"/>
                <a:gd name="T93" fmla="*/ 126 h 1080"/>
                <a:gd name="T94" fmla="*/ 10 w 504"/>
                <a:gd name="T95" fmla="*/ 102 h 1080"/>
                <a:gd name="T96" fmla="*/ 6 w 504"/>
                <a:gd name="T97" fmla="*/ 76 h 1080"/>
                <a:gd name="T98" fmla="*/ 2 w 504"/>
                <a:gd name="T99" fmla="*/ 52 h 1080"/>
                <a:gd name="T100" fmla="*/ 0 w 504"/>
                <a:gd name="T101" fmla="*/ 26 h 1080"/>
                <a:gd name="T102" fmla="*/ 0 w 504"/>
                <a:gd name="T103" fmla="*/ 0 h 1080"/>
                <a:gd name="T104" fmla="*/ 0 w 504"/>
                <a:gd name="T105" fmla="*/ 576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4" h="1080">
                  <a:moveTo>
                    <a:pt x="0" y="576"/>
                  </a:moveTo>
                  <a:lnTo>
                    <a:pt x="0" y="576"/>
                  </a:lnTo>
                  <a:lnTo>
                    <a:pt x="0" y="602"/>
                  </a:lnTo>
                  <a:lnTo>
                    <a:pt x="2" y="628"/>
                  </a:lnTo>
                  <a:lnTo>
                    <a:pt x="6" y="652"/>
                  </a:lnTo>
                  <a:lnTo>
                    <a:pt x="10" y="678"/>
                  </a:lnTo>
                  <a:lnTo>
                    <a:pt x="16" y="702"/>
                  </a:lnTo>
                  <a:lnTo>
                    <a:pt x="22" y="726"/>
                  </a:lnTo>
                  <a:lnTo>
                    <a:pt x="30" y="750"/>
                  </a:lnTo>
                  <a:lnTo>
                    <a:pt x="40" y="772"/>
                  </a:lnTo>
                  <a:lnTo>
                    <a:pt x="60" y="816"/>
                  </a:lnTo>
                  <a:lnTo>
                    <a:pt x="86" y="858"/>
                  </a:lnTo>
                  <a:lnTo>
                    <a:pt x="116" y="896"/>
                  </a:lnTo>
                  <a:lnTo>
                    <a:pt x="148" y="932"/>
                  </a:lnTo>
                  <a:lnTo>
                    <a:pt x="184" y="964"/>
                  </a:lnTo>
                  <a:lnTo>
                    <a:pt x="222" y="994"/>
                  </a:lnTo>
                  <a:lnTo>
                    <a:pt x="264" y="1020"/>
                  </a:lnTo>
                  <a:lnTo>
                    <a:pt x="308" y="1040"/>
                  </a:lnTo>
                  <a:lnTo>
                    <a:pt x="330" y="1050"/>
                  </a:lnTo>
                  <a:lnTo>
                    <a:pt x="354" y="1058"/>
                  </a:lnTo>
                  <a:lnTo>
                    <a:pt x="378" y="1064"/>
                  </a:lnTo>
                  <a:lnTo>
                    <a:pt x="402" y="1070"/>
                  </a:lnTo>
                  <a:lnTo>
                    <a:pt x="428" y="1074"/>
                  </a:lnTo>
                  <a:lnTo>
                    <a:pt x="452" y="1078"/>
                  </a:lnTo>
                  <a:lnTo>
                    <a:pt x="478" y="1080"/>
                  </a:lnTo>
                  <a:lnTo>
                    <a:pt x="504" y="1080"/>
                  </a:lnTo>
                  <a:lnTo>
                    <a:pt x="504" y="504"/>
                  </a:lnTo>
                  <a:lnTo>
                    <a:pt x="504" y="504"/>
                  </a:lnTo>
                  <a:lnTo>
                    <a:pt x="478" y="504"/>
                  </a:lnTo>
                  <a:lnTo>
                    <a:pt x="452" y="502"/>
                  </a:lnTo>
                  <a:lnTo>
                    <a:pt x="428" y="498"/>
                  </a:lnTo>
                  <a:lnTo>
                    <a:pt x="402" y="494"/>
                  </a:lnTo>
                  <a:lnTo>
                    <a:pt x="378" y="488"/>
                  </a:lnTo>
                  <a:lnTo>
                    <a:pt x="354" y="482"/>
                  </a:lnTo>
                  <a:lnTo>
                    <a:pt x="330" y="474"/>
                  </a:lnTo>
                  <a:lnTo>
                    <a:pt x="308" y="464"/>
                  </a:lnTo>
                  <a:lnTo>
                    <a:pt x="264" y="444"/>
                  </a:lnTo>
                  <a:lnTo>
                    <a:pt x="222" y="418"/>
                  </a:lnTo>
                  <a:lnTo>
                    <a:pt x="184" y="388"/>
                  </a:lnTo>
                  <a:lnTo>
                    <a:pt x="148" y="356"/>
                  </a:lnTo>
                  <a:lnTo>
                    <a:pt x="116" y="320"/>
                  </a:lnTo>
                  <a:lnTo>
                    <a:pt x="86" y="282"/>
                  </a:lnTo>
                  <a:lnTo>
                    <a:pt x="60" y="240"/>
                  </a:lnTo>
                  <a:lnTo>
                    <a:pt x="40" y="196"/>
                  </a:lnTo>
                  <a:lnTo>
                    <a:pt x="30" y="174"/>
                  </a:lnTo>
                  <a:lnTo>
                    <a:pt x="22" y="150"/>
                  </a:lnTo>
                  <a:lnTo>
                    <a:pt x="16" y="126"/>
                  </a:lnTo>
                  <a:lnTo>
                    <a:pt x="10" y="102"/>
                  </a:lnTo>
                  <a:lnTo>
                    <a:pt x="6" y="76"/>
                  </a:lnTo>
                  <a:lnTo>
                    <a:pt x="2" y="52"/>
                  </a:lnTo>
                  <a:lnTo>
                    <a:pt x="0" y="26"/>
                  </a:lnTo>
                  <a:lnTo>
                    <a:pt x="0" y="0"/>
                  </a:lnTo>
                  <a:lnTo>
                    <a:pt x="0" y="576"/>
                  </a:lnTo>
                  <a:close/>
                </a:path>
              </a:pathLst>
            </a:custGeom>
            <a:gradFill rotWithShape="1">
              <a:gsLst>
                <a:gs pos="0">
                  <a:srgbClr val="333333"/>
                </a:gs>
                <a:gs pos="100000">
                  <a:srgbClr val="B2B2B2"/>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 name="Freeform 9"/>
            <p:cNvSpPr/>
            <p:nvPr/>
          </p:nvSpPr>
          <p:spPr bwMode="auto">
            <a:xfrm>
              <a:off x="1190625" y="2543150"/>
              <a:ext cx="914400" cy="1828800"/>
            </a:xfrm>
            <a:custGeom>
              <a:avLst/>
              <a:gdLst>
                <a:gd name="T0" fmla="*/ 576 w 576"/>
                <a:gd name="T1" fmla="*/ 1080 h 1152"/>
                <a:gd name="T2" fmla="*/ 524 w 576"/>
                <a:gd name="T3" fmla="*/ 1078 h 1152"/>
                <a:gd name="T4" fmla="*/ 474 w 576"/>
                <a:gd name="T5" fmla="*/ 1070 h 1152"/>
                <a:gd name="T6" fmla="*/ 426 w 576"/>
                <a:gd name="T7" fmla="*/ 1058 h 1152"/>
                <a:gd name="T8" fmla="*/ 380 w 576"/>
                <a:gd name="T9" fmla="*/ 1040 h 1152"/>
                <a:gd name="T10" fmla="*/ 294 w 576"/>
                <a:gd name="T11" fmla="*/ 994 h 1152"/>
                <a:gd name="T12" fmla="*/ 220 w 576"/>
                <a:gd name="T13" fmla="*/ 932 h 1152"/>
                <a:gd name="T14" fmla="*/ 158 w 576"/>
                <a:gd name="T15" fmla="*/ 858 h 1152"/>
                <a:gd name="T16" fmla="*/ 112 w 576"/>
                <a:gd name="T17" fmla="*/ 772 h 1152"/>
                <a:gd name="T18" fmla="*/ 94 w 576"/>
                <a:gd name="T19" fmla="*/ 726 h 1152"/>
                <a:gd name="T20" fmla="*/ 82 w 576"/>
                <a:gd name="T21" fmla="*/ 678 h 1152"/>
                <a:gd name="T22" fmla="*/ 74 w 576"/>
                <a:gd name="T23" fmla="*/ 628 h 1152"/>
                <a:gd name="T24" fmla="*/ 72 w 576"/>
                <a:gd name="T25" fmla="*/ 576 h 1152"/>
                <a:gd name="T26" fmla="*/ 72 w 576"/>
                <a:gd name="T27" fmla="*/ 550 h 1152"/>
                <a:gd name="T28" fmla="*/ 78 w 576"/>
                <a:gd name="T29" fmla="*/ 500 h 1152"/>
                <a:gd name="T30" fmla="*/ 88 w 576"/>
                <a:gd name="T31" fmla="*/ 450 h 1152"/>
                <a:gd name="T32" fmla="*/ 102 w 576"/>
                <a:gd name="T33" fmla="*/ 402 h 1152"/>
                <a:gd name="T34" fmla="*/ 132 w 576"/>
                <a:gd name="T35" fmla="*/ 336 h 1152"/>
                <a:gd name="T36" fmla="*/ 188 w 576"/>
                <a:gd name="T37" fmla="*/ 256 h 1152"/>
                <a:gd name="T38" fmla="*/ 256 w 576"/>
                <a:gd name="T39" fmla="*/ 188 h 1152"/>
                <a:gd name="T40" fmla="*/ 336 w 576"/>
                <a:gd name="T41" fmla="*/ 132 h 1152"/>
                <a:gd name="T42" fmla="*/ 402 w 576"/>
                <a:gd name="T43" fmla="*/ 102 h 1152"/>
                <a:gd name="T44" fmla="*/ 450 w 576"/>
                <a:gd name="T45" fmla="*/ 88 h 1152"/>
                <a:gd name="T46" fmla="*/ 500 w 576"/>
                <a:gd name="T47" fmla="*/ 78 h 1152"/>
                <a:gd name="T48" fmla="*/ 550 w 576"/>
                <a:gd name="T49" fmla="*/ 72 h 1152"/>
                <a:gd name="T50" fmla="*/ 576 w 576"/>
                <a:gd name="T51" fmla="*/ 0 h 1152"/>
                <a:gd name="T52" fmla="*/ 546 w 576"/>
                <a:gd name="T53" fmla="*/ 0 h 1152"/>
                <a:gd name="T54" fmla="*/ 488 w 576"/>
                <a:gd name="T55" fmla="*/ 6 h 1152"/>
                <a:gd name="T56" fmla="*/ 432 w 576"/>
                <a:gd name="T57" fmla="*/ 18 h 1152"/>
                <a:gd name="T58" fmla="*/ 378 w 576"/>
                <a:gd name="T59" fmla="*/ 34 h 1152"/>
                <a:gd name="T60" fmla="*/ 326 w 576"/>
                <a:gd name="T61" fmla="*/ 56 h 1152"/>
                <a:gd name="T62" fmla="*/ 278 w 576"/>
                <a:gd name="T63" fmla="*/ 84 h 1152"/>
                <a:gd name="T64" fmla="*/ 232 w 576"/>
                <a:gd name="T65" fmla="*/ 114 h 1152"/>
                <a:gd name="T66" fmla="*/ 188 w 576"/>
                <a:gd name="T67" fmla="*/ 150 h 1152"/>
                <a:gd name="T68" fmla="*/ 150 w 576"/>
                <a:gd name="T69" fmla="*/ 188 h 1152"/>
                <a:gd name="T70" fmla="*/ 114 w 576"/>
                <a:gd name="T71" fmla="*/ 232 h 1152"/>
                <a:gd name="T72" fmla="*/ 84 w 576"/>
                <a:gd name="T73" fmla="*/ 278 h 1152"/>
                <a:gd name="T74" fmla="*/ 56 w 576"/>
                <a:gd name="T75" fmla="*/ 326 h 1152"/>
                <a:gd name="T76" fmla="*/ 34 w 576"/>
                <a:gd name="T77" fmla="*/ 378 h 1152"/>
                <a:gd name="T78" fmla="*/ 18 w 576"/>
                <a:gd name="T79" fmla="*/ 432 h 1152"/>
                <a:gd name="T80" fmla="*/ 6 w 576"/>
                <a:gd name="T81" fmla="*/ 488 h 1152"/>
                <a:gd name="T82" fmla="*/ 0 w 576"/>
                <a:gd name="T83" fmla="*/ 546 h 1152"/>
                <a:gd name="T84" fmla="*/ 0 w 576"/>
                <a:gd name="T85" fmla="*/ 576 h 1152"/>
                <a:gd name="T86" fmla="*/ 2 w 576"/>
                <a:gd name="T87" fmla="*/ 634 h 1152"/>
                <a:gd name="T88" fmla="*/ 12 w 576"/>
                <a:gd name="T89" fmla="*/ 692 h 1152"/>
                <a:gd name="T90" fmla="*/ 26 w 576"/>
                <a:gd name="T91" fmla="*/ 748 h 1152"/>
                <a:gd name="T92" fmla="*/ 46 w 576"/>
                <a:gd name="T93" fmla="*/ 800 h 1152"/>
                <a:gd name="T94" fmla="*/ 70 w 576"/>
                <a:gd name="T95" fmla="*/ 850 h 1152"/>
                <a:gd name="T96" fmla="*/ 98 w 576"/>
                <a:gd name="T97" fmla="*/ 898 h 1152"/>
                <a:gd name="T98" fmla="*/ 132 w 576"/>
                <a:gd name="T99" fmla="*/ 942 h 1152"/>
                <a:gd name="T100" fmla="*/ 168 w 576"/>
                <a:gd name="T101" fmla="*/ 984 h 1152"/>
                <a:gd name="T102" fmla="*/ 210 w 576"/>
                <a:gd name="T103" fmla="*/ 1020 h 1152"/>
                <a:gd name="T104" fmla="*/ 254 w 576"/>
                <a:gd name="T105" fmla="*/ 1054 h 1152"/>
                <a:gd name="T106" fmla="*/ 302 w 576"/>
                <a:gd name="T107" fmla="*/ 1082 h 1152"/>
                <a:gd name="T108" fmla="*/ 352 w 576"/>
                <a:gd name="T109" fmla="*/ 1106 h 1152"/>
                <a:gd name="T110" fmla="*/ 404 w 576"/>
                <a:gd name="T111" fmla="*/ 1126 h 1152"/>
                <a:gd name="T112" fmla="*/ 460 w 576"/>
                <a:gd name="T113" fmla="*/ 1140 h 1152"/>
                <a:gd name="T114" fmla="*/ 518 w 576"/>
                <a:gd name="T115" fmla="*/ 1150 h 1152"/>
                <a:gd name="T116" fmla="*/ 576 w 576"/>
                <a:gd name="T117" fmla="*/ 115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 h="1152">
                  <a:moveTo>
                    <a:pt x="576" y="1080"/>
                  </a:moveTo>
                  <a:lnTo>
                    <a:pt x="576" y="1080"/>
                  </a:lnTo>
                  <a:lnTo>
                    <a:pt x="550" y="1080"/>
                  </a:lnTo>
                  <a:lnTo>
                    <a:pt x="524" y="1078"/>
                  </a:lnTo>
                  <a:lnTo>
                    <a:pt x="500" y="1074"/>
                  </a:lnTo>
                  <a:lnTo>
                    <a:pt x="474" y="1070"/>
                  </a:lnTo>
                  <a:lnTo>
                    <a:pt x="450" y="1064"/>
                  </a:lnTo>
                  <a:lnTo>
                    <a:pt x="426" y="1058"/>
                  </a:lnTo>
                  <a:lnTo>
                    <a:pt x="402" y="1050"/>
                  </a:lnTo>
                  <a:lnTo>
                    <a:pt x="380" y="1040"/>
                  </a:lnTo>
                  <a:lnTo>
                    <a:pt x="336" y="1020"/>
                  </a:lnTo>
                  <a:lnTo>
                    <a:pt x="294" y="994"/>
                  </a:lnTo>
                  <a:lnTo>
                    <a:pt x="256" y="964"/>
                  </a:lnTo>
                  <a:lnTo>
                    <a:pt x="220" y="932"/>
                  </a:lnTo>
                  <a:lnTo>
                    <a:pt x="188" y="896"/>
                  </a:lnTo>
                  <a:lnTo>
                    <a:pt x="158" y="858"/>
                  </a:lnTo>
                  <a:lnTo>
                    <a:pt x="132" y="816"/>
                  </a:lnTo>
                  <a:lnTo>
                    <a:pt x="112" y="772"/>
                  </a:lnTo>
                  <a:lnTo>
                    <a:pt x="102" y="750"/>
                  </a:lnTo>
                  <a:lnTo>
                    <a:pt x="94" y="726"/>
                  </a:lnTo>
                  <a:lnTo>
                    <a:pt x="88" y="702"/>
                  </a:lnTo>
                  <a:lnTo>
                    <a:pt x="82" y="678"/>
                  </a:lnTo>
                  <a:lnTo>
                    <a:pt x="78" y="652"/>
                  </a:lnTo>
                  <a:lnTo>
                    <a:pt x="74" y="628"/>
                  </a:lnTo>
                  <a:lnTo>
                    <a:pt x="72" y="602"/>
                  </a:lnTo>
                  <a:lnTo>
                    <a:pt x="72" y="576"/>
                  </a:lnTo>
                  <a:lnTo>
                    <a:pt x="72" y="576"/>
                  </a:lnTo>
                  <a:lnTo>
                    <a:pt x="72" y="550"/>
                  </a:lnTo>
                  <a:lnTo>
                    <a:pt x="74" y="524"/>
                  </a:lnTo>
                  <a:lnTo>
                    <a:pt x="78" y="500"/>
                  </a:lnTo>
                  <a:lnTo>
                    <a:pt x="82" y="474"/>
                  </a:lnTo>
                  <a:lnTo>
                    <a:pt x="88" y="450"/>
                  </a:lnTo>
                  <a:lnTo>
                    <a:pt x="94" y="426"/>
                  </a:lnTo>
                  <a:lnTo>
                    <a:pt x="102" y="402"/>
                  </a:lnTo>
                  <a:lnTo>
                    <a:pt x="112" y="380"/>
                  </a:lnTo>
                  <a:lnTo>
                    <a:pt x="132" y="336"/>
                  </a:lnTo>
                  <a:lnTo>
                    <a:pt x="158" y="294"/>
                  </a:lnTo>
                  <a:lnTo>
                    <a:pt x="188" y="256"/>
                  </a:lnTo>
                  <a:lnTo>
                    <a:pt x="220" y="220"/>
                  </a:lnTo>
                  <a:lnTo>
                    <a:pt x="256" y="188"/>
                  </a:lnTo>
                  <a:lnTo>
                    <a:pt x="294" y="158"/>
                  </a:lnTo>
                  <a:lnTo>
                    <a:pt x="336" y="132"/>
                  </a:lnTo>
                  <a:lnTo>
                    <a:pt x="380" y="112"/>
                  </a:lnTo>
                  <a:lnTo>
                    <a:pt x="402" y="102"/>
                  </a:lnTo>
                  <a:lnTo>
                    <a:pt x="426" y="94"/>
                  </a:lnTo>
                  <a:lnTo>
                    <a:pt x="450" y="88"/>
                  </a:lnTo>
                  <a:lnTo>
                    <a:pt x="474" y="82"/>
                  </a:lnTo>
                  <a:lnTo>
                    <a:pt x="500" y="78"/>
                  </a:lnTo>
                  <a:lnTo>
                    <a:pt x="524" y="74"/>
                  </a:lnTo>
                  <a:lnTo>
                    <a:pt x="550" y="72"/>
                  </a:lnTo>
                  <a:lnTo>
                    <a:pt x="576" y="72"/>
                  </a:lnTo>
                  <a:lnTo>
                    <a:pt x="576" y="0"/>
                  </a:lnTo>
                  <a:lnTo>
                    <a:pt x="576" y="0"/>
                  </a:lnTo>
                  <a:lnTo>
                    <a:pt x="546" y="0"/>
                  </a:lnTo>
                  <a:lnTo>
                    <a:pt x="518" y="2"/>
                  </a:lnTo>
                  <a:lnTo>
                    <a:pt x="488" y="6"/>
                  </a:lnTo>
                  <a:lnTo>
                    <a:pt x="460" y="12"/>
                  </a:lnTo>
                  <a:lnTo>
                    <a:pt x="432" y="18"/>
                  </a:lnTo>
                  <a:lnTo>
                    <a:pt x="404" y="26"/>
                  </a:lnTo>
                  <a:lnTo>
                    <a:pt x="378" y="34"/>
                  </a:lnTo>
                  <a:lnTo>
                    <a:pt x="352" y="46"/>
                  </a:lnTo>
                  <a:lnTo>
                    <a:pt x="326" y="56"/>
                  </a:lnTo>
                  <a:lnTo>
                    <a:pt x="302" y="70"/>
                  </a:lnTo>
                  <a:lnTo>
                    <a:pt x="278" y="84"/>
                  </a:lnTo>
                  <a:lnTo>
                    <a:pt x="254" y="98"/>
                  </a:lnTo>
                  <a:lnTo>
                    <a:pt x="232" y="114"/>
                  </a:lnTo>
                  <a:lnTo>
                    <a:pt x="210" y="132"/>
                  </a:lnTo>
                  <a:lnTo>
                    <a:pt x="188" y="150"/>
                  </a:lnTo>
                  <a:lnTo>
                    <a:pt x="168" y="168"/>
                  </a:lnTo>
                  <a:lnTo>
                    <a:pt x="150" y="188"/>
                  </a:lnTo>
                  <a:lnTo>
                    <a:pt x="132" y="210"/>
                  </a:lnTo>
                  <a:lnTo>
                    <a:pt x="114" y="232"/>
                  </a:lnTo>
                  <a:lnTo>
                    <a:pt x="98" y="254"/>
                  </a:lnTo>
                  <a:lnTo>
                    <a:pt x="84" y="278"/>
                  </a:lnTo>
                  <a:lnTo>
                    <a:pt x="70" y="302"/>
                  </a:lnTo>
                  <a:lnTo>
                    <a:pt x="56" y="326"/>
                  </a:lnTo>
                  <a:lnTo>
                    <a:pt x="46" y="352"/>
                  </a:lnTo>
                  <a:lnTo>
                    <a:pt x="34" y="378"/>
                  </a:lnTo>
                  <a:lnTo>
                    <a:pt x="26" y="404"/>
                  </a:lnTo>
                  <a:lnTo>
                    <a:pt x="18" y="432"/>
                  </a:lnTo>
                  <a:lnTo>
                    <a:pt x="12" y="460"/>
                  </a:lnTo>
                  <a:lnTo>
                    <a:pt x="6" y="488"/>
                  </a:lnTo>
                  <a:lnTo>
                    <a:pt x="2" y="518"/>
                  </a:lnTo>
                  <a:lnTo>
                    <a:pt x="0" y="546"/>
                  </a:lnTo>
                  <a:lnTo>
                    <a:pt x="0" y="576"/>
                  </a:lnTo>
                  <a:lnTo>
                    <a:pt x="0" y="576"/>
                  </a:lnTo>
                  <a:lnTo>
                    <a:pt x="0" y="606"/>
                  </a:lnTo>
                  <a:lnTo>
                    <a:pt x="2" y="634"/>
                  </a:lnTo>
                  <a:lnTo>
                    <a:pt x="6" y="664"/>
                  </a:lnTo>
                  <a:lnTo>
                    <a:pt x="12" y="692"/>
                  </a:lnTo>
                  <a:lnTo>
                    <a:pt x="18" y="720"/>
                  </a:lnTo>
                  <a:lnTo>
                    <a:pt x="26" y="748"/>
                  </a:lnTo>
                  <a:lnTo>
                    <a:pt x="34" y="774"/>
                  </a:lnTo>
                  <a:lnTo>
                    <a:pt x="46" y="800"/>
                  </a:lnTo>
                  <a:lnTo>
                    <a:pt x="56" y="826"/>
                  </a:lnTo>
                  <a:lnTo>
                    <a:pt x="70" y="850"/>
                  </a:lnTo>
                  <a:lnTo>
                    <a:pt x="84" y="874"/>
                  </a:lnTo>
                  <a:lnTo>
                    <a:pt x="98" y="898"/>
                  </a:lnTo>
                  <a:lnTo>
                    <a:pt x="114" y="920"/>
                  </a:lnTo>
                  <a:lnTo>
                    <a:pt x="132" y="942"/>
                  </a:lnTo>
                  <a:lnTo>
                    <a:pt x="150" y="964"/>
                  </a:lnTo>
                  <a:lnTo>
                    <a:pt x="168" y="984"/>
                  </a:lnTo>
                  <a:lnTo>
                    <a:pt x="188" y="1002"/>
                  </a:lnTo>
                  <a:lnTo>
                    <a:pt x="210" y="1020"/>
                  </a:lnTo>
                  <a:lnTo>
                    <a:pt x="232" y="1038"/>
                  </a:lnTo>
                  <a:lnTo>
                    <a:pt x="254" y="1054"/>
                  </a:lnTo>
                  <a:lnTo>
                    <a:pt x="278" y="1068"/>
                  </a:lnTo>
                  <a:lnTo>
                    <a:pt x="302" y="1082"/>
                  </a:lnTo>
                  <a:lnTo>
                    <a:pt x="326" y="1096"/>
                  </a:lnTo>
                  <a:lnTo>
                    <a:pt x="352" y="1106"/>
                  </a:lnTo>
                  <a:lnTo>
                    <a:pt x="378" y="1118"/>
                  </a:lnTo>
                  <a:lnTo>
                    <a:pt x="404" y="1126"/>
                  </a:lnTo>
                  <a:lnTo>
                    <a:pt x="432" y="1134"/>
                  </a:lnTo>
                  <a:lnTo>
                    <a:pt x="460" y="1140"/>
                  </a:lnTo>
                  <a:lnTo>
                    <a:pt x="488" y="1146"/>
                  </a:lnTo>
                  <a:lnTo>
                    <a:pt x="518" y="1150"/>
                  </a:lnTo>
                  <a:lnTo>
                    <a:pt x="546" y="1152"/>
                  </a:lnTo>
                  <a:lnTo>
                    <a:pt x="576" y="1152"/>
                  </a:lnTo>
                  <a:lnTo>
                    <a:pt x="576" y="1080"/>
                  </a:lnTo>
                  <a:close/>
                </a:path>
              </a:pathLst>
            </a:custGeom>
            <a:solidFill>
              <a:srgbClr val="969696"/>
            </a:solidFill>
            <a:ln>
              <a:noFill/>
            </a:ln>
            <a:effectLst/>
            <a:extLst>
              <a:ext uri="{91240B29-F687-4F45-9708-019B960494DF}">
                <a14:hiddenLine xmlns:a14="http://schemas.microsoft.com/office/drawing/2010/main" w="12700">
                  <a:solidFill>
                    <a:srgbClr val="000000"/>
                  </a:solidFill>
                  <a:prstDash val="solid"/>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 name="Freeform 10"/>
            <p:cNvSpPr/>
            <p:nvPr/>
          </p:nvSpPr>
          <p:spPr bwMode="auto">
            <a:xfrm>
              <a:off x="1190625" y="1628750"/>
              <a:ext cx="914400" cy="1828800"/>
            </a:xfrm>
            <a:custGeom>
              <a:avLst/>
              <a:gdLst>
                <a:gd name="T0" fmla="*/ 0 w 576"/>
                <a:gd name="T1" fmla="*/ 1152 h 1152"/>
                <a:gd name="T2" fmla="*/ 2 w 576"/>
                <a:gd name="T3" fmla="*/ 1094 h 1152"/>
                <a:gd name="T4" fmla="*/ 12 w 576"/>
                <a:gd name="T5" fmla="*/ 1036 h 1152"/>
                <a:gd name="T6" fmla="*/ 26 w 576"/>
                <a:gd name="T7" fmla="*/ 980 h 1152"/>
                <a:gd name="T8" fmla="*/ 46 w 576"/>
                <a:gd name="T9" fmla="*/ 928 h 1152"/>
                <a:gd name="T10" fmla="*/ 70 w 576"/>
                <a:gd name="T11" fmla="*/ 878 h 1152"/>
                <a:gd name="T12" fmla="*/ 98 w 576"/>
                <a:gd name="T13" fmla="*/ 830 h 1152"/>
                <a:gd name="T14" fmla="*/ 132 w 576"/>
                <a:gd name="T15" fmla="*/ 786 h 1152"/>
                <a:gd name="T16" fmla="*/ 168 w 576"/>
                <a:gd name="T17" fmla="*/ 744 h 1152"/>
                <a:gd name="T18" fmla="*/ 210 w 576"/>
                <a:gd name="T19" fmla="*/ 708 h 1152"/>
                <a:gd name="T20" fmla="*/ 254 w 576"/>
                <a:gd name="T21" fmla="*/ 674 h 1152"/>
                <a:gd name="T22" fmla="*/ 302 w 576"/>
                <a:gd name="T23" fmla="*/ 646 h 1152"/>
                <a:gd name="T24" fmla="*/ 352 w 576"/>
                <a:gd name="T25" fmla="*/ 622 h 1152"/>
                <a:gd name="T26" fmla="*/ 404 w 576"/>
                <a:gd name="T27" fmla="*/ 602 h 1152"/>
                <a:gd name="T28" fmla="*/ 460 w 576"/>
                <a:gd name="T29" fmla="*/ 588 h 1152"/>
                <a:gd name="T30" fmla="*/ 518 w 576"/>
                <a:gd name="T31" fmla="*/ 578 h 1152"/>
                <a:gd name="T32" fmla="*/ 576 w 576"/>
                <a:gd name="T33" fmla="*/ 576 h 1152"/>
                <a:gd name="T34" fmla="*/ 576 w 576"/>
                <a:gd name="T35" fmla="*/ 0 h 1152"/>
                <a:gd name="T36" fmla="*/ 518 w 576"/>
                <a:gd name="T37" fmla="*/ 2 h 1152"/>
                <a:gd name="T38" fmla="*/ 460 w 576"/>
                <a:gd name="T39" fmla="*/ 12 h 1152"/>
                <a:gd name="T40" fmla="*/ 404 w 576"/>
                <a:gd name="T41" fmla="*/ 26 h 1152"/>
                <a:gd name="T42" fmla="*/ 352 w 576"/>
                <a:gd name="T43" fmla="*/ 46 h 1152"/>
                <a:gd name="T44" fmla="*/ 302 w 576"/>
                <a:gd name="T45" fmla="*/ 70 h 1152"/>
                <a:gd name="T46" fmla="*/ 254 w 576"/>
                <a:gd name="T47" fmla="*/ 98 h 1152"/>
                <a:gd name="T48" fmla="*/ 210 w 576"/>
                <a:gd name="T49" fmla="*/ 132 h 1152"/>
                <a:gd name="T50" fmla="*/ 168 w 576"/>
                <a:gd name="T51" fmla="*/ 168 h 1152"/>
                <a:gd name="T52" fmla="*/ 132 w 576"/>
                <a:gd name="T53" fmla="*/ 210 h 1152"/>
                <a:gd name="T54" fmla="*/ 98 w 576"/>
                <a:gd name="T55" fmla="*/ 254 h 1152"/>
                <a:gd name="T56" fmla="*/ 70 w 576"/>
                <a:gd name="T57" fmla="*/ 302 h 1152"/>
                <a:gd name="T58" fmla="*/ 46 w 576"/>
                <a:gd name="T59" fmla="*/ 352 h 1152"/>
                <a:gd name="T60" fmla="*/ 26 w 576"/>
                <a:gd name="T61" fmla="*/ 404 h 1152"/>
                <a:gd name="T62" fmla="*/ 12 w 576"/>
                <a:gd name="T63" fmla="*/ 460 h 1152"/>
                <a:gd name="T64" fmla="*/ 2 w 576"/>
                <a:gd name="T65" fmla="*/ 518 h 1152"/>
                <a:gd name="T66" fmla="*/ 0 w 576"/>
                <a:gd name="T67" fmla="*/ 57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1152">
                  <a:moveTo>
                    <a:pt x="0" y="1152"/>
                  </a:moveTo>
                  <a:lnTo>
                    <a:pt x="0" y="1152"/>
                  </a:lnTo>
                  <a:lnTo>
                    <a:pt x="0" y="1122"/>
                  </a:lnTo>
                  <a:lnTo>
                    <a:pt x="2" y="1094"/>
                  </a:lnTo>
                  <a:lnTo>
                    <a:pt x="6" y="1064"/>
                  </a:lnTo>
                  <a:lnTo>
                    <a:pt x="12" y="1036"/>
                  </a:lnTo>
                  <a:lnTo>
                    <a:pt x="18" y="1008"/>
                  </a:lnTo>
                  <a:lnTo>
                    <a:pt x="26" y="980"/>
                  </a:lnTo>
                  <a:lnTo>
                    <a:pt x="34" y="954"/>
                  </a:lnTo>
                  <a:lnTo>
                    <a:pt x="46" y="928"/>
                  </a:lnTo>
                  <a:lnTo>
                    <a:pt x="56" y="902"/>
                  </a:lnTo>
                  <a:lnTo>
                    <a:pt x="70" y="878"/>
                  </a:lnTo>
                  <a:lnTo>
                    <a:pt x="84" y="854"/>
                  </a:lnTo>
                  <a:lnTo>
                    <a:pt x="98" y="830"/>
                  </a:lnTo>
                  <a:lnTo>
                    <a:pt x="114" y="808"/>
                  </a:lnTo>
                  <a:lnTo>
                    <a:pt x="132" y="786"/>
                  </a:lnTo>
                  <a:lnTo>
                    <a:pt x="150" y="764"/>
                  </a:lnTo>
                  <a:lnTo>
                    <a:pt x="168" y="744"/>
                  </a:lnTo>
                  <a:lnTo>
                    <a:pt x="188" y="726"/>
                  </a:lnTo>
                  <a:lnTo>
                    <a:pt x="210" y="708"/>
                  </a:lnTo>
                  <a:lnTo>
                    <a:pt x="232" y="690"/>
                  </a:lnTo>
                  <a:lnTo>
                    <a:pt x="254" y="674"/>
                  </a:lnTo>
                  <a:lnTo>
                    <a:pt x="278" y="660"/>
                  </a:lnTo>
                  <a:lnTo>
                    <a:pt x="302" y="646"/>
                  </a:lnTo>
                  <a:lnTo>
                    <a:pt x="326" y="632"/>
                  </a:lnTo>
                  <a:lnTo>
                    <a:pt x="352" y="622"/>
                  </a:lnTo>
                  <a:lnTo>
                    <a:pt x="378" y="610"/>
                  </a:lnTo>
                  <a:lnTo>
                    <a:pt x="404" y="602"/>
                  </a:lnTo>
                  <a:lnTo>
                    <a:pt x="432" y="594"/>
                  </a:lnTo>
                  <a:lnTo>
                    <a:pt x="460" y="588"/>
                  </a:lnTo>
                  <a:lnTo>
                    <a:pt x="488" y="582"/>
                  </a:lnTo>
                  <a:lnTo>
                    <a:pt x="518" y="578"/>
                  </a:lnTo>
                  <a:lnTo>
                    <a:pt x="546" y="576"/>
                  </a:lnTo>
                  <a:lnTo>
                    <a:pt x="576" y="576"/>
                  </a:lnTo>
                  <a:lnTo>
                    <a:pt x="576" y="0"/>
                  </a:lnTo>
                  <a:lnTo>
                    <a:pt x="576" y="0"/>
                  </a:lnTo>
                  <a:lnTo>
                    <a:pt x="546" y="0"/>
                  </a:lnTo>
                  <a:lnTo>
                    <a:pt x="518" y="2"/>
                  </a:lnTo>
                  <a:lnTo>
                    <a:pt x="488" y="6"/>
                  </a:lnTo>
                  <a:lnTo>
                    <a:pt x="460" y="12"/>
                  </a:lnTo>
                  <a:lnTo>
                    <a:pt x="432" y="18"/>
                  </a:lnTo>
                  <a:lnTo>
                    <a:pt x="404" y="26"/>
                  </a:lnTo>
                  <a:lnTo>
                    <a:pt x="378" y="34"/>
                  </a:lnTo>
                  <a:lnTo>
                    <a:pt x="352" y="46"/>
                  </a:lnTo>
                  <a:lnTo>
                    <a:pt x="326" y="56"/>
                  </a:lnTo>
                  <a:lnTo>
                    <a:pt x="302" y="70"/>
                  </a:lnTo>
                  <a:lnTo>
                    <a:pt x="278" y="84"/>
                  </a:lnTo>
                  <a:lnTo>
                    <a:pt x="254" y="98"/>
                  </a:lnTo>
                  <a:lnTo>
                    <a:pt x="232" y="114"/>
                  </a:lnTo>
                  <a:lnTo>
                    <a:pt x="210" y="132"/>
                  </a:lnTo>
                  <a:lnTo>
                    <a:pt x="188" y="150"/>
                  </a:lnTo>
                  <a:lnTo>
                    <a:pt x="168" y="168"/>
                  </a:lnTo>
                  <a:lnTo>
                    <a:pt x="150" y="188"/>
                  </a:lnTo>
                  <a:lnTo>
                    <a:pt x="132" y="210"/>
                  </a:lnTo>
                  <a:lnTo>
                    <a:pt x="114" y="232"/>
                  </a:lnTo>
                  <a:lnTo>
                    <a:pt x="98" y="254"/>
                  </a:lnTo>
                  <a:lnTo>
                    <a:pt x="84" y="278"/>
                  </a:lnTo>
                  <a:lnTo>
                    <a:pt x="70" y="302"/>
                  </a:lnTo>
                  <a:lnTo>
                    <a:pt x="56" y="326"/>
                  </a:lnTo>
                  <a:lnTo>
                    <a:pt x="46" y="352"/>
                  </a:lnTo>
                  <a:lnTo>
                    <a:pt x="34" y="378"/>
                  </a:lnTo>
                  <a:lnTo>
                    <a:pt x="26" y="404"/>
                  </a:lnTo>
                  <a:lnTo>
                    <a:pt x="18" y="432"/>
                  </a:lnTo>
                  <a:lnTo>
                    <a:pt x="12" y="460"/>
                  </a:lnTo>
                  <a:lnTo>
                    <a:pt x="6" y="488"/>
                  </a:lnTo>
                  <a:lnTo>
                    <a:pt x="2" y="518"/>
                  </a:lnTo>
                  <a:lnTo>
                    <a:pt x="0" y="546"/>
                  </a:lnTo>
                  <a:lnTo>
                    <a:pt x="0" y="576"/>
                  </a:lnTo>
                  <a:lnTo>
                    <a:pt x="0" y="1152"/>
                  </a:lnTo>
                  <a:close/>
                </a:path>
              </a:pathLst>
            </a:custGeom>
            <a:solidFill>
              <a:schemeClr val="bg1"/>
            </a:solidFill>
            <a:ln>
              <a:noFill/>
            </a:ln>
            <a:effectLst/>
            <a:extLst>
              <a:ext uri="{91240B29-F687-4F45-9708-019B960494DF}">
                <a14:hiddenLine xmlns:a14="http://schemas.microsoft.com/office/drawing/2010/main" w="9525">
                  <a:solidFill>
                    <a:srgbClr val="000000"/>
                  </a:solidFill>
                  <a:prstDash val="solid"/>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 name="Rectangle 11"/>
            <p:cNvSpPr>
              <a:spLocks noChangeArrowheads="1"/>
            </p:cNvSpPr>
            <p:nvPr/>
          </p:nvSpPr>
          <p:spPr bwMode="auto">
            <a:xfrm>
              <a:off x="2105025" y="2543150"/>
              <a:ext cx="2743200" cy="114300"/>
            </a:xfrm>
            <a:prstGeom prst="rect">
              <a:avLst/>
            </a:prstGeom>
            <a:gradFill rotWithShape="1">
              <a:gsLst>
                <a:gs pos="0">
                  <a:srgbClr val="969696"/>
                </a:gs>
                <a:gs pos="100000">
                  <a:schemeClr val="bg2"/>
                </a:gs>
              </a:gsLst>
              <a:lin ang="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 name="Rectangle 12"/>
            <p:cNvSpPr>
              <a:spLocks noChangeArrowheads="1"/>
            </p:cNvSpPr>
            <p:nvPr/>
          </p:nvSpPr>
          <p:spPr bwMode="auto">
            <a:xfrm>
              <a:off x="2105025" y="4257650"/>
              <a:ext cx="5815013" cy="114300"/>
            </a:xfrm>
            <a:prstGeom prst="rect">
              <a:avLst/>
            </a:prstGeom>
            <a:solidFill>
              <a:srgbClr val="969696"/>
            </a:soli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 name="Rectangle 13"/>
            <p:cNvSpPr>
              <a:spLocks noChangeArrowheads="1"/>
            </p:cNvSpPr>
            <p:nvPr/>
          </p:nvSpPr>
          <p:spPr bwMode="auto">
            <a:xfrm>
              <a:off x="2105025" y="1628750"/>
              <a:ext cx="2743200" cy="914400"/>
            </a:xfrm>
            <a:prstGeom prst="rect">
              <a:avLst/>
            </a:prstGeom>
            <a:gradFill rotWithShape="1">
              <a:gsLst>
                <a:gs pos="0">
                  <a:schemeClr val="bg1"/>
                </a:gs>
                <a:gs pos="100000">
                  <a:srgbClr val="3A9707"/>
                </a:gs>
              </a:gsLst>
              <a:lin ang="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 name="Rectangle 14"/>
            <p:cNvSpPr>
              <a:spLocks noChangeArrowheads="1"/>
            </p:cNvSpPr>
            <p:nvPr/>
          </p:nvSpPr>
          <p:spPr bwMode="auto">
            <a:xfrm>
              <a:off x="2105025" y="3343250"/>
              <a:ext cx="5815013" cy="914400"/>
            </a:xfrm>
            <a:prstGeom prst="rect">
              <a:avLst/>
            </a:prstGeom>
            <a:solidFill>
              <a:srgbClr val="B2B2B2"/>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 name="Freeform 15"/>
            <p:cNvSpPr/>
            <p:nvPr/>
          </p:nvSpPr>
          <p:spPr bwMode="auto">
            <a:xfrm>
              <a:off x="4848225" y="1400150"/>
              <a:ext cx="914400" cy="1371600"/>
            </a:xfrm>
            <a:custGeom>
              <a:avLst/>
              <a:gdLst>
                <a:gd name="T0" fmla="*/ 0 w 576"/>
                <a:gd name="T1" fmla="*/ 0 h 864"/>
                <a:gd name="T2" fmla="*/ 0 w 576"/>
                <a:gd name="T3" fmla="*/ 864 h 864"/>
                <a:gd name="T4" fmla="*/ 576 w 576"/>
                <a:gd name="T5" fmla="*/ 432 h 864"/>
                <a:gd name="T6" fmla="*/ 0 w 576"/>
                <a:gd name="T7" fmla="*/ 0 h 864"/>
              </a:gdLst>
              <a:ahLst/>
              <a:cxnLst>
                <a:cxn ang="0">
                  <a:pos x="T0" y="T1"/>
                </a:cxn>
                <a:cxn ang="0">
                  <a:pos x="T2" y="T3"/>
                </a:cxn>
                <a:cxn ang="0">
                  <a:pos x="T4" y="T5"/>
                </a:cxn>
                <a:cxn ang="0">
                  <a:pos x="T6" y="T7"/>
                </a:cxn>
              </a:cxnLst>
              <a:rect l="0" t="0" r="r" b="b"/>
              <a:pathLst>
                <a:path w="576" h="864">
                  <a:moveTo>
                    <a:pt x="0" y="0"/>
                  </a:moveTo>
                  <a:lnTo>
                    <a:pt x="0" y="864"/>
                  </a:lnTo>
                  <a:lnTo>
                    <a:pt x="576" y="432"/>
                  </a:lnTo>
                  <a:lnTo>
                    <a:pt x="0" y="0"/>
                  </a:lnTo>
                  <a:close/>
                </a:path>
              </a:pathLst>
            </a:custGeom>
            <a:solidFill>
              <a:srgbClr val="3A9707"/>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 name="Freeform 16"/>
            <p:cNvSpPr/>
            <p:nvPr/>
          </p:nvSpPr>
          <p:spPr bwMode="auto">
            <a:xfrm>
              <a:off x="4848225" y="2085950"/>
              <a:ext cx="914400" cy="800100"/>
            </a:xfrm>
            <a:custGeom>
              <a:avLst/>
              <a:gdLst>
                <a:gd name="T0" fmla="*/ 0 w 576"/>
                <a:gd name="T1" fmla="*/ 432 h 504"/>
                <a:gd name="T2" fmla="*/ 0 w 576"/>
                <a:gd name="T3" fmla="*/ 504 h 504"/>
                <a:gd name="T4" fmla="*/ 576 w 576"/>
                <a:gd name="T5" fmla="*/ 72 h 504"/>
                <a:gd name="T6" fmla="*/ 576 w 576"/>
                <a:gd name="T7" fmla="*/ 0 h 504"/>
                <a:gd name="T8" fmla="*/ 0 w 576"/>
                <a:gd name="T9" fmla="*/ 432 h 504"/>
              </a:gdLst>
              <a:ahLst/>
              <a:cxnLst>
                <a:cxn ang="0">
                  <a:pos x="T0" y="T1"/>
                </a:cxn>
                <a:cxn ang="0">
                  <a:pos x="T2" y="T3"/>
                </a:cxn>
                <a:cxn ang="0">
                  <a:pos x="T4" y="T5"/>
                </a:cxn>
                <a:cxn ang="0">
                  <a:pos x="T6" y="T7"/>
                </a:cxn>
                <a:cxn ang="0">
                  <a:pos x="T8" y="T9"/>
                </a:cxn>
              </a:cxnLst>
              <a:rect l="0" t="0" r="r" b="b"/>
              <a:pathLst>
                <a:path w="576" h="504">
                  <a:moveTo>
                    <a:pt x="0" y="432"/>
                  </a:moveTo>
                  <a:lnTo>
                    <a:pt x="0" y="504"/>
                  </a:lnTo>
                  <a:lnTo>
                    <a:pt x="576" y="72"/>
                  </a:lnTo>
                  <a:lnTo>
                    <a:pt x="576" y="0"/>
                  </a:lnTo>
                  <a:lnTo>
                    <a:pt x="0" y="432"/>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15" name="Text Box 45"/>
          <p:cNvSpPr txBox="1">
            <a:spLocks noChangeArrowheads="1"/>
          </p:cNvSpPr>
          <p:nvPr/>
        </p:nvSpPr>
        <p:spPr bwMode="auto">
          <a:xfrm>
            <a:off x="2269208" y="3412326"/>
            <a:ext cx="5650830" cy="815608"/>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latin typeface="微软雅黑" panose="020B0503020204020204" pitchFamily="34" charset="-122"/>
                <a:ea typeface="微软雅黑" panose="020B0503020204020204" pitchFamily="34" charset="-122"/>
              </a:rPr>
              <a:t>单击填加标题</a:t>
            </a:r>
            <a:endParaRPr lang="en-US" altLang="ko-KR" sz="1400" b="1" dirty="0">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点击添加文本点击添加文本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点击添加文本点击添加文本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latin typeface="微软雅黑" panose="020B0503020204020204" pitchFamily="34" charset="-122"/>
              <a:ea typeface="微软雅黑" panose="020B0503020204020204" pitchFamily="34" charset="-122"/>
            </a:endParaRPr>
          </a:p>
        </p:txBody>
      </p:sp>
      <p:sp>
        <p:nvSpPr>
          <p:cNvPr id="17" name="Text Box 45"/>
          <p:cNvSpPr txBox="1">
            <a:spLocks noChangeArrowheads="1"/>
          </p:cNvSpPr>
          <p:nvPr/>
        </p:nvSpPr>
        <p:spPr bwMode="auto">
          <a:xfrm>
            <a:off x="5946626" y="1907003"/>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3A9707"/>
                </a:solidFill>
                <a:latin typeface="微软雅黑" panose="020B0503020204020204" pitchFamily="34" charset="-122"/>
                <a:ea typeface="微软雅黑" panose="020B0503020204020204" pitchFamily="34" charset="-122"/>
              </a:rPr>
              <a:t>单击填加标题</a:t>
            </a:r>
            <a:endParaRPr lang="en-US" altLang="ko-KR" sz="1400" b="1" dirty="0">
              <a:solidFill>
                <a:srgbClr val="3A9707"/>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1000"/>
                                        <p:tgtEl>
                                          <p:spTgt spid="15"/>
                                        </p:tgtEl>
                                      </p:cBhvr>
                                    </p:animEffect>
                                  </p:childTnLst>
                                </p:cTn>
                              </p:par>
                            </p:childTnLst>
                          </p:cTn>
                        </p:par>
                        <p:par>
                          <p:cTn id="12" fill="hold">
                            <p:stCondLst>
                              <p:cond delay="2000"/>
                            </p:stCondLst>
                            <p:childTnLst>
                              <p:par>
                                <p:cTn id="13" presetID="42"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anim calcmode="lin" valueType="num">
                                      <p:cBhvr>
                                        <p:cTn id="16" dur="500" fill="hold"/>
                                        <p:tgtEl>
                                          <p:spTgt spid="17"/>
                                        </p:tgtEl>
                                        <p:attrNameLst>
                                          <p:attrName>ppt_x</p:attrName>
                                        </p:attrNameLst>
                                      </p:cBhvr>
                                      <p:tavLst>
                                        <p:tav tm="0">
                                          <p:val>
                                            <p:strVal val="#ppt_x"/>
                                          </p:val>
                                        </p:tav>
                                        <p:tav tm="100000">
                                          <p:val>
                                            <p:strVal val="#ppt_x"/>
                                          </p:val>
                                        </p:tav>
                                      </p:tavLst>
                                    </p:anim>
                                    <p:anim calcmode="lin" valueType="num">
                                      <p:cBhvr>
                                        <p:cTn id="17"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组合 54"/>
          <p:cNvGrpSpPr/>
          <p:nvPr/>
        </p:nvGrpSpPr>
        <p:grpSpPr>
          <a:xfrm>
            <a:off x="1368425" y="1203598"/>
            <a:ext cx="2905125" cy="3340101"/>
            <a:chOff x="1368425" y="1203598"/>
            <a:chExt cx="2905125" cy="3340101"/>
          </a:xfrm>
        </p:grpSpPr>
        <p:grpSp>
          <p:nvGrpSpPr>
            <p:cNvPr id="30" name="Group 10"/>
            <p:cNvGrpSpPr/>
            <p:nvPr/>
          </p:nvGrpSpPr>
          <p:grpSpPr bwMode="auto">
            <a:xfrm>
              <a:off x="1368425" y="2510111"/>
              <a:ext cx="2905125" cy="1308100"/>
              <a:chOff x="1069" y="2101"/>
              <a:chExt cx="1830" cy="824"/>
            </a:xfrm>
          </p:grpSpPr>
          <p:sp>
            <p:nvSpPr>
              <p:cNvPr id="49" name="Freeform 11"/>
              <p:cNvSpPr/>
              <p:nvPr/>
            </p:nvSpPr>
            <p:spPr bwMode="auto">
              <a:xfrm>
                <a:off x="1069" y="2101"/>
                <a:ext cx="1830" cy="458"/>
              </a:xfrm>
              <a:custGeom>
                <a:avLst/>
                <a:gdLst>
                  <a:gd name="T0" fmla="*/ 1829 w 1830"/>
                  <a:gd name="T1" fmla="*/ 434 h 458"/>
                  <a:gd name="T2" fmla="*/ 1811 w 1830"/>
                  <a:gd name="T3" fmla="*/ 365 h 458"/>
                  <a:gd name="T4" fmla="*/ 1775 w 1830"/>
                  <a:gd name="T5" fmla="*/ 300 h 458"/>
                  <a:gd name="T6" fmla="*/ 1720 w 1830"/>
                  <a:gd name="T7" fmla="*/ 239 h 458"/>
                  <a:gd name="T8" fmla="*/ 1649 w 1830"/>
                  <a:gd name="T9" fmla="*/ 185 h 458"/>
                  <a:gd name="T10" fmla="*/ 1562 w 1830"/>
                  <a:gd name="T11" fmla="*/ 134 h 458"/>
                  <a:gd name="T12" fmla="*/ 1463 w 1830"/>
                  <a:gd name="T13" fmla="*/ 92 h 458"/>
                  <a:gd name="T14" fmla="*/ 1351 w 1830"/>
                  <a:gd name="T15" fmla="*/ 55 h 458"/>
                  <a:gd name="T16" fmla="*/ 1230 w 1830"/>
                  <a:gd name="T17" fmla="*/ 28 h 458"/>
                  <a:gd name="T18" fmla="*/ 1099 w 1830"/>
                  <a:gd name="T19" fmla="*/ 9 h 458"/>
                  <a:gd name="T20" fmla="*/ 962 w 1830"/>
                  <a:gd name="T21" fmla="*/ 0 h 458"/>
                  <a:gd name="T22" fmla="*/ 868 w 1830"/>
                  <a:gd name="T23" fmla="*/ 0 h 458"/>
                  <a:gd name="T24" fmla="*/ 731 w 1830"/>
                  <a:gd name="T25" fmla="*/ 9 h 458"/>
                  <a:gd name="T26" fmla="*/ 600 w 1830"/>
                  <a:gd name="T27" fmla="*/ 28 h 458"/>
                  <a:gd name="T28" fmla="*/ 479 w 1830"/>
                  <a:gd name="T29" fmla="*/ 55 h 458"/>
                  <a:gd name="T30" fmla="*/ 367 w 1830"/>
                  <a:gd name="T31" fmla="*/ 92 h 458"/>
                  <a:gd name="T32" fmla="*/ 268 w 1830"/>
                  <a:gd name="T33" fmla="*/ 134 h 458"/>
                  <a:gd name="T34" fmla="*/ 181 w 1830"/>
                  <a:gd name="T35" fmla="*/ 185 h 458"/>
                  <a:gd name="T36" fmla="*/ 110 w 1830"/>
                  <a:gd name="T37" fmla="*/ 239 h 458"/>
                  <a:gd name="T38" fmla="*/ 55 w 1830"/>
                  <a:gd name="T39" fmla="*/ 300 h 458"/>
                  <a:gd name="T40" fmla="*/ 19 w 1830"/>
                  <a:gd name="T41" fmla="*/ 365 h 458"/>
                  <a:gd name="T42" fmla="*/ 1 w 1830"/>
                  <a:gd name="T43" fmla="*/ 434 h 458"/>
                  <a:gd name="T44" fmla="*/ 91 w 1830"/>
                  <a:gd name="T45" fmla="*/ 458 h 458"/>
                  <a:gd name="T46" fmla="*/ 100 w 1830"/>
                  <a:gd name="T47" fmla="*/ 396 h 458"/>
                  <a:gd name="T48" fmla="*/ 128 w 1830"/>
                  <a:gd name="T49" fmla="*/ 336 h 458"/>
                  <a:gd name="T50" fmla="*/ 172 w 1830"/>
                  <a:gd name="T51" fmla="*/ 280 h 458"/>
                  <a:gd name="T52" fmla="*/ 232 w 1830"/>
                  <a:gd name="T53" fmla="*/ 228 h 458"/>
                  <a:gd name="T54" fmla="*/ 305 w 1830"/>
                  <a:gd name="T55" fmla="*/ 181 h 458"/>
                  <a:gd name="T56" fmla="*/ 391 w 1830"/>
                  <a:gd name="T57" fmla="*/ 140 h 458"/>
                  <a:gd name="T58" fmla="*/ 488 w 1830"/>
                  <a:gd name="T59" fmla="*/ 106 h 458"/>
                  <a:gd name="T60" fmla="*/ 595 w 1830"/>
                  <a:gd name="T61" fmla="*/ 78 h 458"/>
                  <a:gd name="T62" fmla="*/ 709 w 1830"/>
                  <a:gd name="T63" fmla="*/ 59 h 458"/>
                  <a:gd name="T64" fmla="*/ 831 w 1830"/>
                  <a:gd name="T65" fmla="*/ 49 h 458"/>
                  <a:gd name="T66" fmla="*/ 915 w 1830"/>
                  <a:gd name="T67" fmla="*/ 46 h 458"/>
                  <a:gd name="T68" fmla="*/ 1041 w 1830"/>
                  <a:gd name="T69" fmla="*/ 51 h 458"/>
                  <a:gd name="T70" fmla="*/ 1160 w 1830"/>
                  <a:gd name="T71" fmla="*/ 65 h 458"/>
                  <a:gd name="T72" fmla="*/ 1272 w 1830"/>
                  <a:gd name="T73" fmla="*/ 87 h 458"/>
                  <a:gd name="T74" fmla="*/ 1375 w 1830"/>
                  <a:gd name="T75" fmla="*/ 116 h 458"/>
                  <a:gd name="T76" fmla="*/ 1469 w 1830"/>
                  <a:gd name="T77" fmla="*/ 153 h 458"/>
                  <a:gd name="T78" fmla="*/ 1551 w 1830"/>
                  <a:gd name="T79" fmla="*/ 196 h 458"/>
                  <a:gd name="T80" fmla="*/ 1619 w 1830"/>
                  <a:gd name="T81" fmla="*/ 244 h 458"/>
                  <a:gd name="T82" fmla="*/ 1674 w 1830"/>
                  <a:gd name="T83" fmla="*/ 298 h 458"/>
                  <a:gd name="T84" fmla="*/ 1713 w 1830"/>
                  <a:gd name="T85" fmla="*/ 355 h 458"/>
                  <a:gd name="T86" fmla="*/ 1735 w 1830"/>
                  <a:gd name="T87" fmla="*/ 416 h 458"/>
                  <a:gd name="T88" fmla="*/ 1830 w 1830"/>
                  <a:gd name="T89"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0" h="458">
                    <a:moveTo>
                      <a:pt x="1830" y="458"/>
                    </a:moveTo>
                    <a:lnTo>
                      <a:pt x="1830" y="458"/>
                    </a:lnTo>
                    <a:lnTo>
                      <a:pt x="1829" y="434"/>
                    </a:lnTo>
                    <a:lnTo>
                      <a:pt x="1825" y="411"/>
                    </a:lnTo>
                    <a:lnTo>
                      <a:pt x="1820" y="388"/>
                    </a:lnTo>
                    <a:lnTo>
                      <a:pt x="1811" y="365"/>
                    </a:lnTo>
                    <a:lnTo>
                      <a:pt x="1801" y="343"/>
                    </a:lnTo>
                    <a:lnTo>
                      <a:pt x="1790" y="322"/>
                    </a:lnTo>
                    <a:lnTo>
                      <a:pt x="1775" y="300"/>
                    </a:lnTo>
                    <a:lnTo>
                      <a:pt x="1758" y="280"/>
                    </a:lnTo>
                    <a:lnTo>
                      <a:pt x="1740" y="260"/>
                    </a:lnTo>
                    <a:lnTo>
                      <a:pt x="1720" y="239"/>
                    </a:lnTo>
                    <a:lnTo>
                      <a:pt x="1698" y="220"/>
                    </a:lnTo>
                    <a:lnTo>
                      <a:pt x="1674" y="202"/>
                    </a:lnTo>
                    <a:lnTo>
                      <a:pt x="1649" y="185"/>
                    </a:lnTo>
                    <a:lnTo>
                      <a:pt x="1622" y="167"/>
                    </a:lnTo>
                    <a:lnTo>
                      <a:pt x="1593" y="150"/>
                    </a:lnTo>
                    <a:lnTo>
                      <a:pt x="1562" y="134"/>
                    </a:lnTo>
                    <a:lnTo>
                      <a:pt x="1530" y="120"/>
                    </a:lnTo>
                    <a:lnTo>
                      <a:pt x="1497" y="104"/>
                    </a:lnTo>
                    <a:lnTo>
                      <a:pt x="1463" y="92"/>
                    </a:lnTo>
                    <a:lnTo>
                      <a:pt x="1427" y="78"/>
                    </a:lnTo>
                    <a:lnTo>
                      <a:pt x="1389" y="66"/>
                    </a:lnTo>
                    <a:lnTo>
                      <a:pt x="1351" y="55"/>
                    </a:lnTo>
                    <a:lnTo>
                      <a:pt x="1312" y="46"/>
                    </a:lnTo>
                    <a:lnTo>
                      <a:pt x="1271" y="36"/>
                    </a:lnTo>
                    <a:lnTo>
                      <a:pt x="1230" y="28"/>
                    </a:lnTo>
                    <a:lnTo>
                      <a:pt x="1187" y="21"/>
                    </a:lnTo>
                    <a:lnTo>
                      <a:pt x="1144" y="14"/>
                    </a:lnTo>
                    <a:lnTo>
                      <a:pt x="1099" y="9"/>
                    </a:lnTo>
                    <a:lnTo>
                      <a:pt x="1055" y="5"/>
                    </a:lnTo>
                    <a:lnTo>
                      <a:pt x="1009" y="3"/>
                    </a:lnTo>
                    <a:lnTo>
                      <a:pt x="962" y="0"/>
                    </a:lnTo>
                    <a:lnTo>
                      <a:pt x="915" y="0"/>
                    </a:lnTo>
                    <a:lnTo>
                      <a:pt x="915" y="0"/>
                    </a:lnTo>
                    <a:lnTo>
                      <a:pt x="868" y="0"/>
                    </a:lnTo>
                    <a:lnTo>
                      <a:pt x="821" y="3"/>
                    </a:lnTo>
                    <a:lnTo>
                      <a:pt x="775" y="5"/>
                    </a:lnTo>
                    <a:lnTo>
                      <a:pt x="731" y="9"/>
                    </a:lnTo>
                    <a:lnTo>
                      <a:pt x="686" y="14"/>
                    </a:lnTo>
                    <a:lnTo>
                      <a:pt x="643" y="21"/>
                    </a:lnTo>
                    <a:lnTo>
                      <a:pt x="600" y="28"/>
                    </a:lnTo>
                    <a:lnTo>
                      <a:pt x="559" y="36"/>
                    </a:lnTo>
                    <a:lnTo>
                      <a:pt x="518" y="46"/>
                    </a:lnTo>
                    <a:lnTo>
                      <a:pt x="479" y="55"/>
                    </a:lnTo>
                    <a:lnTo>
                      <a:pt x="441" y="66"/>
                    </a:lnTo>
                    <a:lnTo>
                      <a:pt x="403" y="78"/>
                    </a:lnTo>
                    <a:lnTo>
                      <a:pt x="367" y="92"/>
                    </a:lnTo>
                    <a:lnTo>
                      <a:pt x="333" y="104"/>
                    </a:lnTo>
                    <a:lnTo>
                      <a:pt x="300" y="120"/>
                    </a:lnTo>
                    <a:lnTo>
                      <a:pt x="268" y="134"/>
                    </a:lnTo>
                    <a:lnTo>
                      <a:pt x="237" y="150"/>
                    </a:lnTo>
                    <a:lnTo>
                      <a:pt x="208" y="167"/>
                    </a:lnTo>
                    <a:lnTo>
                      <a:pt x="181" y="185"/>
                    </a:lnTo>
                    <a:lnTo>
                      <a:pt x="156" y="202"/>
                    </a:lnTo>
                    <a:lnTo>
                      <a:pt x="132" y="220"/>
                    </a:lnTo>
                    <a:lnTo>
                      <a:pt x="110" y="239"/>
                    </a:lnTo>
                    <a:lnTo>
                      <a:pt x="90" y="260"/>
                    </a:lnTo>
                    <a:lnTo>
                      <a:pt x="72" y="280"/>
                    </a:lnTo>
                    <a:lnTo>
                      <a:pt x="55" y="300"/>
                    </a:lnTo>
                    <a:lnTo>
                      <a:pt x="40" y="322"/>
                    </a:lnTo>
                    <a:lnTo>
                      <a:pt x="29" y="343"/>
                    </a:lnTo>
                    <a:lnTo>
                      <a:pt x="19" y="365"/>
                    </a:lnTo>
                    <a:lnTo>
                      <a:pt x="10" y="388"/>
                    </a:lnTo>
                    <a:lnTo>
                      <a:pt x="5" y="411"/>
                    </a:lnTo>
                    <a:lnTo>
                      <a:pt x="1" y="434"/>
                    </a:lnTo>
                    <a:lnTo>
                      <a:pt x="0" y="458"/>
                    </a:lnTo>
                    <a:lnTo>
                      <a:pt x="91" y="458"/>
                    </a:lnTo>
                    <a:lnTo>
                      <a:pt x="91" y="458"/>
                    </a:lnTo>
                    <a:lnTo>
                      <a:pt x="92" y="436"/>
                    </a:lnTo>
                    <a:lnTo>
                      <a:pt x="95" y="416"/>
                    </a:lnTo>
                    <a:lnTo>
                      <a:pt x="100" y="396"/>
                    </a:lnTo>
                    <a:lnTo>
                      <a:pt x="108" y="375"/>
                    </a:lnTo>
                    <a:lnTo>
                      <a:pt x="117" y="355"/>
                    </a:lnTo>
                    <a:lnTo>
                      <a:pt x="128" y="336"/>
                    </a:lnTo>
                    <a:lnTo>
                      <a:pt x="141" y="317"/>
                    </a:lnTo>
                    <a:lnTo>
                      <a:pt x="156" y="298"/>
                    </a:lnTo>
                    <a:lnTo>
                      <a:pt x="172" y="280"/>
                    </a:lnTo>
                    <a:lnTo>
                      <a:pt x="190" y="262"/>
                    </a:lnTo>
                    <a:lnTo>
                      <a:pt x="211" y="244"/>
                    </a:lnTo>
                    <a:lnTo>
                      <a:pt x="232" y="228"/>
                    </a:lnTo>
                    <a:lnTo>
                      <a:pt x="255" y="211"/>
                    </a:lnTo>
                    <a:lnTo>
                      <a:pt x="279" y="196"/>
                    </a:lnTo>
                    <a:lnTo>
                      <a:pt x="305" y="181"/>
                    </a:lnTo>
                    <a:lnTo>
                      <a:pt x="333" y="167"/>
                    </a:lnTo>
                    <a:lnTo>
                      <a:pt x="361" y="153"/>
                    </a:lnTo>
                    <a:lnTo>
                      <a:pt x="391" y="140"/>
                    </a:lnTo>
                    <a:lnTo>
                      <a:pt x="422" y="127"/>
                    </a:lnTo>
                    <a:lnTo>
                      <a:pt x="455" y="116"/>
                    </a:lnTo>
                    <a:lnTo>
                      <a:pt x="488" y="106"/>
                    </a:lnTo>
                    <a:lnTo>
                      <a:pt x="522" y="96"/>
                    </a:lnTo>
                    <a:lnTo>
                      <a:pt x="558" y="87"/>
                    </a:lnTo>
                    <a:lnTo>
                      <a:pt x="595" y="78"/>
                    </a:lnTo>
                    <a:lnTo>
                      <a:pt x="631" y="71"/>
                    </a:lnTo>
                    <a:lnTo>
                      <a:pt x="670" y="65"/>
                    </a:lnTo>
                    <a:lnTo>
                      <a:pt x="709" y="59"/>
                    </a:lnTo>
                    <a:lnTo>
                      <a:pt x="748" y="55"/>
                    </a:lnTo>
                    <a:lnTo>
                      <a:pt x="789" y="51"/>
                    </a:lnTo>
                    <a:lnTo>
                      <a:pt x="831" y="49"/>
                    </a:lnTo>
                    <a:lnTo>
                      <a:pt x="873" y="46"/>
                    </a:lnTo>
                    <a:lnTo>
                      <a:pt x="915" y="46"/>
                    </a:lnTo>
                    <a:lnTo>
                      <a:pt x="915" y="46"/>
                    </a:lnTo>
                    <a:lnTo>
                      <a:pt x="957" y="46"/>
                    </a:lnTo>
                    <a:lnTo>
                      <a:pt x="999" y="49"/>
                    </a:lnTo>
                    <a:lnTo>
                      <a:pt x="1041" y="51"/>
                    </a:lnTo>
                    <a:lnTo>
                      <a:pt x="1082" y="55"/>
                    </a:lnTo>
                    <a:lnTo>
                      <a:pt x="1121" y="59"/>
                    </a:lnTo>
                    <a:lnTo>
                      <a:pt x="1160" y="65"/>
                    </a:lnTo>
                    <a:lnTo>
                      <a:pt x="1199" y="71"/>
                    </a:lnTo>
                    <a:lnTo>
                      <a:pt x="1235" y="78"/>
                    </a:lnTo>
                    <a:lnTo>
                      <a:pt x="1272" y="87"/>
                    </a:lnTo>
                    <a:lnTo>
                      <a:pt x="1308" y="96"/>
                    </a:lnTo>
                    <a:lnTo>
                      <a:pt x="1342" y="106"/>
                    </a:lnTo>
                    <a:lnTo>
                      <a:pt x="1375" y="116"/>
                    </a:lnTo>
                    <a:lnTo>
                      <a:pt x="1408" y="127"/>
                    </a:lnTo>
                    <a:lnTo>
                      <a:pt x="1439" y="140"/>
                    </a:lnTo>
                    <a:lnTo>
                      <a:pt x="1469" y="153"/>
                    </a:lnTo>
                    <a:lnTo>
                      <a:pt x="1497" y="167"/>
                    </a:lnTo>
                    <a:lnTo>
                      <a:pt x="1525" y="181"/>
                    </a:lnTo>
                    <a:lnTo>
                      <a:pt x="1551" y="196"/>
                    </a:lnTo>
                    <a:lnTo>
                      <a:pt x="1575" y="211"/>
                    </a:lnTo>
                    <a:lnTo>
                      <a:pt x="1598" y="228"/>
                    </a:lnTo>
                    <a:lnTo>
                      <a:pt x="1619" y="244"/>
                    </a:lnTo>
                    <a:lnTo>
                      <a:pt x="1640" y="262"/>
                    </a:lnTo>
                    <a:lnTo>
                      <a:pt x="1658" y="280"/>
                    </a:lnTo>
                    <a:lnTo>
                      <a:pt x="1674" y="298"/>
                    </a:lnTo>
                    <a:lnTo>
                      <a:pt x="1689" y="317"/>
                    </a:lnTo>
                    <a:lnTo>
                      <a:pt x="1702" y="336"/>
                    </a:lnTo>
                    <a:lnTo>
                      <a:pt x="1713" y="355"/>
                    </a:lnTo>
                    <a:lnTo>
                      <a:pt x="1722" y="375"/>
                    </a:lnTo>
                    <a:lnTo>
                      <a:pt x="1730" y="396"/>
                    </a:lnTo>
                    <a:lnTo>
                      <a:pt x="1735" y="416"/>
                    </a:lnTo>
                    <a:lnTo>
                      <a:pt x="1738" y="436"/>
                    </a:lnTo>
                    <a:lnTo>
                      <a:pt x="1739" y="458"/>
                    </a:lnTo>
                    <a:lnTo>
                      <a:pt x="1830" y="458"/>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0" name="Freeform 12"/>
              <p:cNvSpPr/>
              <p:nvPr/>
            </p:nvSpPr>
            <p:spPr bwMode="auto">
              <a:xfrm>
                <a:off x="1160" y="2147"/>
                <a:ext cx="1648" cy="778"/>
              </a:xfrm>
              <a:custGeom>
                <a:avLst/>
                <a:gdLst>
                  <a:gd name="T0" fmla="*/ 1647 w 1648"/>
                  <a:gd name="T1" fmla="*/ 390 h 778"/>
                  <a:gd name="T2" fmla="*/ 1631 w 1648"/>
                  <a:gd name="T3" fmla="*/ 329 h 778"/>
                  <a:gd name="T4" fmla="*/ 1598 w 1648"/>
                  <a:gd name="T5" fmla="*/ 271 h 778"/>
                  <a:gd name="T6" fmla="*/ 1549 w 1648"/>
                  <a:gd name="T7" fmla="*/ 216 h 778"/>
                  <a:gd name="T8" fmla="*/ 1484 w 1648"/>
                  <a:gd name="T9" fmla="*/ 165 h 778"/>
                  <a:gd name="T10" fmla="*/ 1406 w 1648"/>
                  <a:gd name="T11" fmla="*/ 121 h 778"/>
                  <a:gd name="T12" fmla="*/ 1317 w 1648"/>
                  <a:gd name="T13" fmla="*/ 81 h 778"/>
                  <a:gd name="T14" fmla="*/ 1217 w 1648"/>
                  <a:gd name="T15" fmla="*/ 50 h 778"/>
                  <a:gd name="T16" fmla="*/ 1108 w 1648"/>
                  <a:gd name="T17" fmla="*/ 25 h 778"/>
                  <a:gd name="T18" fmla="*/ 991 w 1648"/>
                  <a:gd name="T19" fmla="*/ 9 h 778"/>
                  <a:gd name="T20" fmla="*/ 866 w 1648"/>
                  <a:gd name="T21" fmla="*/ 0 h 778"/>
                  <a:gd name="T22" fmla="*/ 782 w 1648"/>
                  <a:gd name="T23" fmla="*/ 0 h 778"/>
                  <a:gd name="T24" fmla="*/ 657 w 1648"/>
                  <a:gd name="T25" fmla="*/ 9 h 778"/>
                  <a:gd name="T26" fmla="*/ 540 w 1648"/>
                  <a:gd name="T27" fmla="*/ 25 h 778"/>
                  <a:gd name="T28" fmla="*/ 431 w 1648"/>
                  <a:gd name="T29" fmla="*/ 50 h 778"/>
                  <a:gd name="T30" fmla="*/ 331 w 1648"/>
                  <a:gd name="T31" fmla="*/ 81 h 778"/>
                  <a:gd name="T32" fmla="*/ 242 w 1648"/>
                  <a:gd name="T33" fmla="*/ 121 h 778"/>
                  <a:gd name="T34" fmla="*/ 164 w 1648"/>
                  <a:gd name="T35" fmla="*/ 165 h 778"/>
                  <a:gd name="T36" fmla="*/ 99 w 1648"/>
                  <a:gd name="T37" fmla="*/ 216 h 778"/>
                  <a:gd name="T38" fmla="*/ 50 w 1648"/>
                  <a:gd name="T39" fmla="*/ 271 h 778"/>
                  <a:gd name="T40" fmla="*/ 17 w 1648"/>
                  <a:gd name="T41" fmla="*/ 329 h 778"/>
                  <a:gd name="T42" fmla="*/ 1 w 1648"/>
                  <a:gd name="T43" fmla="*/ 390 h 778"/>
                  <a:gd name="T44" fmla="*/ 0 w 1648"/>
                  <a:gd name="T45" fmla="*/ 778 h 778"/>
                  <a:gd name="T46" fmla="*/ 9 w 1648"/>
                  <a:gd name="T47" fmla="*/ 716 h 778"/>
                  <a:gd name="T48" fmla="*/ 37 w 1648"/>
                  <a:gd name="T49" fmla="*/ 656 h 778"/>
                  <a:gd name="T50" fmla="*/ 81 w 1648"/>
                  <a:gd name="T51" fmla="*/ 600 h 778"/>
                  <a:gd name="T52" fmla="*/ 141 w 1648"/>
                  <a:gd name="T53" fmla="*/ 548 h 778"/>
                  <a:gd name="T54" fmla="*/ 214 w 1648"/>
                  <a:gd name="T55" fmla="*/ 501 h 778"/>
                  <a:gd name="T56" fmla="*/ 300 w 1648"/>
                  <a:gd name="T57" fmla="*/ 460 h 778"/>
                  <a:gd name="T58" fmla="*/ 397 w 1648"/>
                  <a:gd name="T59" fmla="*/ 426 h 778"/>
                  <a:gd name="T60" fmla="*/ 504 w 1648"/>
                  <a:gd name="T61" fmla="*/ 398 h 778"/>
                  <a:gd name="T62" fmla="*/ 618 w 1648"/>
                  <a:gd name="T63" fmla="*/ 379 h 778"/>
                  <a:gd name="T64" fmla="*/ 740 w 1648"/>
                  <a:gd name="T65" fmla="*/ 369 h 778"/>
                  <a:gd name="T66" fmla="*/ 824 w 1648"/>
                  <a:gd name="T67" fmla="*/ 366 h 778"/>
                  <a:gd name="T68" fmla="*/ 950 w 1648"/>
                  <a:gd name="T69" fmla="*/ 371 h 778"/>
                  <a:gd name="T70" fmla="*/ 1069 w 1648"/>
                  <a:gd name="T71" fmla="*/ 385 h 778"/>
                  <a:gd name="T72" fmla="*/ 1181 w 1648"/>
                  <a:gd name="T73" fmla="*/ 407 h 778"/>
                  <a:gd name="T74" fmla="*/ 1284 w 1648"/>
                  <a:gd name="T75" fmla="*/ 436 h 778"/>
                  <a:gd name="T76" fmla="*/ 1378 w 1648"/>
                  <a:gd name="T77" fmla="*/ 473 h 778"/>
                  <a:gd name="T78" fmla="*/ 1460 w 1648"/>
                  <a:gd name="T79" fmla="*/ 516 h 778"/>
                  <a:gd name="T80" fmla="*/ 1528 w 1648"/>
                  <a:gd name="T81" fmla="*/ 564 h 778"/>
                  <a:gd name="T82" fmla="*/ 1583 w 1648"/>
                  <a:gd name="T83" fmla="*/ 618 h 778"/>
                  <a:gd name="T84" fmla="*/ 1622 w 1648"/>
                  <a:gd name="T85" fmla="*/ 675 h 778"/>
                  <a:gd name="T86" fmla="*/ 1644 w 1648"/>
                  <a:gd name="T87" fmla="*/ 736 h 778"/>
                  <a:gd name="T88" fmla="*/ 1648 w 1648"/>
                  <a:gd name="T89" fmla="*/ 412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8" h="778">
                    <a:moveTo>
                      <a:pt x="1648" y="412"/>
                    </a:moveTo>
                    <a:lnTo>
                      <a:pt x="1648" y="412"/>
                    </a:lnTo>
                    <a:lnTo>
                      <a:pt x="1647" y="390"/>
                    </a:lnTo>
                    <a:lnTo>
                      <a:pt x="1644" y="370"/>
                    </a:lnTo>
                    <a:lnTo>
                      <a:pt x="1639" y="350"/>
                    </a:lnTo>
                    <a:lnTo>
                      <a:pt x="1631" y="329"/>
                    </a:lnTo>
                    <a:lnTo>
                      <a:pt x="1622" y="309"/>
                    </a:lnTo>
                    <a:lnTo>
                      <a:pt x="1611" y="290"/>
                    </a:lnTo>
                    <a:lnTo>
                      <a:pt x="1598" y="271"/>
                    </a:lnTo>
                    <a:lnTo>
                      <a:pt x="1583" y="252"/>
                    </a:lnTo>
                    <a:lnTo>
                      <a:pt x="1567" y="234"/>
                    </a:lnTo>
                    <a:lnTo>
                      <a:pt x="1549" y="216"/>
                    </a:lnTo>
                    <a:lnTo>
                      <a:pt x="1528" y="198"/>
                    </a:lnTo>
                    <a:lnTo>
                      <a:pt x="1507" y="182"/>
                    </a:lnTo>
                    <a:lnTo>
                      <a:pt x="1484" y="165"/>
                    </a:lnTo>
                    <a:lnTo>
                      <a:pt x="1460" y="150"/>
                    </a:lnTo>
                    <a:lnTo>
                      <a:pt x="1434" y="135"/>
                    </a:lnTo>
                    <a:lnTo>
                      <a:pt x="1406" y="121"/>
                    </a:lnTo>
                    <a:lnTo>
                      <a:pt x="1378" y="107"/>
                    </a:lnTo>
                    <a:lnTo>
                      <a:pt x="1348" y="94"/>
                    </a:lnTo>
                    <a:lnTo>
                      <a:pt x="1317" y="81"/>
                    </a:lnTo>
                    <a:lnTo>
                      <a:pt x="1284" y="70"/>
                    </a:lnTo>
                    <a:lnTo>
                      <a:pt x="1251" y="60"/>
                    </a:lnTo>
                    <a:lnTo>
                      <a:pt x="1217" y="50"/>
                    </a:lnTo>
                    <a:lnTo>
                      <a:pt x="1181" y="41"/>
                    </a:lnTo>
                    <a:lnTo>
                      <a:pt x="1144" y="32"/>
                    </a:lnTo>
                    <a:lnTo>
                      <a:pt x="1108" y="25"/>
                    </a:lnTo>
                    <a:lnTo>
                      <a:pt x="1069" y="19"/>
                    </a:lnTo>
                    <a:lnTo>
                      <a:pt x="1030" y="13"/>
                    </a:lnTo>
                    <a:lnTo>
                      <a:pt x="991" y="9"/>
                    </a:lnTo>
                    <a:lnTo>
                      <a:pt x="950" y="5"/>
                    </a:lnTo>
                    <a:lnTo>
                      <a:pt x="908" y="3"/>
                    </a:lnTo>
                    <a:lnTo>
                      <a:pt x="866" y="0"/>
                    </a:lnTo>
                    <a:lnTo>
                      <a:pt x="824" y="0"/>
                    </a:lnTo>
                    <a:lnTo>
                      <a:pt x="824" y="0"/>
                    </a:lnTo>
                    <a:lnTo>
                      <a:pt x="782" y="0"/>
                    </a:lnTo>
                    <a:lnTo>
                      <a:pt x="740" y="3"/>
                    </a:lnTo>
                    <a:lnTo>
                      <a:pt x="698" y="5"/>
                    </a:lnTo>
                    <a:lnTo>
                      <a:pt x="657" y="9"/>
                    </a:lnTo>
                    <a:lnTo>
                      <a:pt x="618" y="13"/>
                    </a:lnTo>
                    <a:lnTo>
                      <a:pt x="579" y="19"/>
                    </a:lnTo>
                    <a:lnTo>
                      <a:pt x="540" y="25"/>
                    </a:lnTo>
                    <a:lnTo>
                      <a:pt x="504" y="32"/>
                    </a:lnTo>
                    <a:lnTo>
                      <a:pt x="467" y="41"/>
                    </a:lnTo>
                    <a:lnTo>
                      <a:pt x="431" y="50"/>
                    </a:lnTo>
                    <a:lnTo>
                      <a:pt x="397" y="60"/>
                    </a:lnTo>
                    <a:lnTo>
                      <a:pt x="364" y="70"/>
                    </a:lnTo>
                    <a:lnTo>
                      <a:pt x="331" y="81"/>
                    </a:lnTo>
                    <a:lnTo>
                      <a:pt x="300" y="94"/>
                    </a:lnTo>
                    <a:lnTo>
                      <a:pt x="270" y="107"/>
                    </a:lnTo>
                    <a:lnTo>
                      <a:pt x="242" y="121"/>
                    </a:lnTo>
                    <a:lnTo>
                      <a:pt x="214" y="135"/>
                    </a:lnTo>
                    <a:lnTo>
                      <a:pt x="188" y="150"/>
                    </a:lnTo>
                    <a:lnTo>
                      <a:pt x="164" y="165"/>
                    </a:lnTo>
                    <a:lnTo>
                      <a:pt x="141" y="182"/>
                    </a:lnTo>
                    <a:lnTo>
                      <a:pt x="120" y="198"/>
                    </a:lnTo>
                    <a:lnTo>
                      <a:pt x="99" y="216"/>
                    </a:lnTo>
                    <a:lnTo>
                      <a:pt x="81" y="234"/>
                    </a:lnTo>
                    <a:lnTo>
                      <a:pt x="65" y="252"/>
                    </a:lnTo>
                    <a:lnTo>
                      <a:pt x="50" y="271"/>
                    </a:lnTo>
                    <a:lnTo>
                      <a:pt x="37" y="290"/>
                    </a:lnTo>
                    <a:lnTo>
                      <a:pt x="26" y="309"/>
                    </a:lnTo>
                    <a:lnTo>
                      <a:pt x="17" y="329"/>
                    </a:lnTo>
                    <a:lnTo>
                      <a:pt x="9" y="350"/>
                    </a:lnTo>
                    <a:lnTo>
                      <a:pt x="4" y="370"/>
                    </a:lnTo>
                    <a:lnTo>
                      <a:pt x="1" y="390"/>
                    </a:lnTo>
                    <a:lnTo>
                      <a:pt x="0" y="412"/>
                    </a:lnTo>
                    <a:lnTo>
                      <a:pt x="0" y="778"/>
                    </a:lnTo>
                    <a:lnTo>
                      <a:pt x="0" y="778"/>
                    </a:lnTo>
                    <a:lnTo>
                      <a:pt x="1" y="756"/>
                    </a:lnTo>
                    <a:lnTo>
                      <a:pt x="4" y="736"/>
                    </a:lnTo>
                    <a:lnTo>
                      <a:pt x="9" y="716"/>
                    </a:lnTo>
                    <a:lnTo>
                      <a:pt x="17" y="695"/>
                    </a:lnTo>
                    <a:lnTo>
                      <a:pt x="26" y="675"/>
                    </a:lnTo>
                    <a:lnTo>
                      <a:pt x="37" y="656"/>
                    </a:lnTo>
                    <a:lnTo>
                      <a:pt x="50" y="637"/>
                    </a:lnTo>
                    <a:lnTo>
                      <a:pt x="65" y="618"/>
                    </a:lnTo>
                    <a:lnTo>
                      <a:pt x="81" y="600"/>
                    </a:lnTo>
                    <a:lnTo>
                      <a:pt x="99" y="582"/>
                    </a:lnTo>
                    <a:lnTo>
                      <a:pt x="120" y="564"/>
                    </a:lnTo>
                    <a:lnTo>
                      <a:pt x="141" y="548"/>
                    </a:lnTo>
                    <a:lnTo>
                      <a:pt x="164" y="531"/>
                    </a:lnTo>
                    <a:lnTo>
                      <a:pt x="188" y="516"/>
                    </a:lnTo>
                    <a:lnTo>
                      <a:pt x="214" y="501"/>
                    </a:lnTo>
                    <a:lnTo>
                      <a:pt x="242" y="487"/>
                    </a:lnTo>
                    <a:lnTo>
                      <a:pt x="270" y="473"/>
                    </a:lnTo>
                    <a:lnTo>
                      <a:pt x="300" y="460"/>
                    </a:lnTo>
                    <a:lnTo>
                      <a:pt x="331" y="447"/>
                    </a:lnTo>
                    <a:lnTo>
                      <a:pt x="364" y="436"/>
                    </a:lnTo>
                    <a:lnTo>
                      <a:pt x="397" y="426"/>
                    </a:lnTo>
                    <a:lnTo>
                      <a:pt x="431" y="416"/>
                    </a:lnTo>
                    <a:lnTo>
                      <a:pt x="467" y="407"/>
                    </a:lnTo>
                    <a:lnTo>
                      <a:pt x="504" y="398"/>
                    </a:lnTo>
                    <a:lnTo>
                      <a:pt x="540" y="391"/>
                    </a:lnTo>
                    <a:lnTo>
                      <a:pt x="579" y="385"/>
                    </a:lnTo>
                    <a:lnTo>
                      <a:pt x="618" y="379"/>
                    </a:lnTo>
                    <a:lnTo>
                      <a:pt x="657" y="375"/>
                    </a:lnTo>
                    <a:lnTo>
                      <a:pt x="698" y="371"/>
                    </a:lnTo>
                    <a:lnTo>
                      <a:pt x="740" y="369"/>
                    </a:lnTo>
                    <a:lnTo>
                      <a:pt x="782" y="366"/>
                    </a:lnTo>
                    <a:lnTo>
                      <a:pt x="824" y="366"/>
                    </a:lnTo>
                    <a:lnTo>
                      <a:pt x="824" y="366"/>
                    </a:lnTo>
                    <a:lnTo>
                      <a:pt x="866" y="366"/>
                    </a:lnTo>
                    <a:lnTo>
                      <a:pt x="908" y="369"/>
                    </a:lnTo>
                    <a:lnTo>
                      <a:pt x="950" y="371"/>
                    </a:lnTo>
                    <a:lnTo>
                      <a:pt x="991" y="375"/>
                    </a:lnTo>
                    <a:lnTo>
                      <a:pt x="1030" y="379"/>
                    </a:lnTo>
                    <a:lnTo>
                      <a:pt x="1069" y="385"/>
                    </a:lnTo>
                    <a:lnTo>
                      <a:pt x="1108" y="391"/>
                    </a:lnTo>
                    <a:lnTo>
                      <a:pt x="1144" y="398"/>
                    </a:lnTo>
                    <a:lnTo>
                      <a:pt x="1181" y="407"/>
                    </a:lnTo>
                    <a:lnTo>
                      <a:pt x="1217" y="416"/>
                    </a:lnTo>
                    <a:lnTo>
                      <a:pt x="1251" y="426"/>
                    </a:lnTo>
                    <a:lnTo>
                      <a:pt x="1284" y="436"/>
                    </a:lnTo>
                    <a:lnTo>
                      <a:pt x="1317" y="447"/>
                    </a:lnTo>
                    <a:lnTo>
                      <a:pt x="1348" y="460"/>
                    </a:lnTo>
                    <a:lnTo>
                      <a:pt x="1378" y="473"/>
                    </a:lnTo>
                    <a:lnTo>
                      <a:pt x="1406" y="487"/>
                    </a:lnTo>
                    <a:lnTo>
                      <a:pt x="1434" y="501"/>
                    </a:lnTo>
                    <a:lnTo>
                      <a:pt x="1460" y="516"/>
                    </a:lnTo>
                    <a:lnTo>
                      <a:pt x="1484" y="531"/>
                    </a:lnTo>
                    <a:lnTo>
                      <a:pt x="1507" y="548"/>
                    </a:lnTo>
                    <a:lnTo>
                      <a:pt x="1528" y="564"/>
                    </a:lnTo>
                    <a:lnTo>
                      <a:pt x="1549" y="582"/>
                    </a:lnTo>
                    <a:lnTo>
                      <a:pt x="1567" y="600"/>
                    </a:lnTo>
                    <a:lnTo>
                      <a:pt x="1583" y="618"/>
                    </a:lnTo>
                    <a:lnTo>
                      <a:pt x="1598" y="637"/>
                    </a:lnTo>
                    <a:lnTo>
                      <a:pt x="1611" y="656"/>
                    </a:lnTo>
                    <a:lnTo>
                      <a:pt x="1622" y="675"/>
                    </a:lnTo>
                    <a:lnTo>
                      <a:pt x="1631" y="695"/>
                    </a:lnTo>
                    <a:lnTo>
                      <a:pt x="1639" y="716"/>
                    </a:lnTo>
                    <a:lnTo>
                      <a:pt x="1644" y="736"/>
                    </a:lnTo>
                    <a:lnTo>
                      <a:pt x="1647" y="756"/>
                    </a:lnTo>
                    <a:lnTo>
                      <a:pt x="1648" y="778"/>
                    </a:lnTo>
                    <a:lnTo>
                      <a:pt x="1648" y="412"/>
                    </a:lnTo>
                    <a:close/>
                  </a:path>
                </a:pathLst>
              </a:custGeom>
              <a:solidFill>
                <a:srgbClr val="5F5F5F"/>
              </a:solidFill>
              <a:ln>
                <a:noFill/>
              </a:ln>
              <a:extLst>
                <a:ext uri="{91240B29-F687-4F45-9708-019B960494DF}">
                  <a14:hiddenLine xmlns:a14="http://schemas.microsoft.com/office/drawing/2010/main" w="8001">
                    <a:solidFill>
                      <a:srgbClr val="000000"/>
                    </a:solidFill>
                    <a:prstDash val="solid"/>
                    <a:round/>
                  </a14:hiddenLine>
                </a:ext>
              </a:extLst>
            </p:spPr>
            <p:txBody>
              <a:bodyPr/>
              <a:lstStyle/>
              <a:p>
                <a:endParaRPr lang="zh-CN" altLang="en-US"/>
              </a:p>
            </p:txBody>
          </p:sp>
        </p:grpSp>
        <p:grpSp>
          <p:nvGrpSpPr>
            <p:cNvPr id="31" name="Group 13"/>
            <p:cNvGrpSpPr/>
            <p:nvPr/>
          </p:nvGrpSpPr>
          <p:grpSpPr bwMode="auto">
            <a:xfrm>
              <a:off x="1658938" y="2075136"/>
              <a:ext cx="2324100" cy="1743075"/>
              <a:chOff x="1252" y="1827"/>
              <a:chExt cx="1464" cy="1098"/>
            </a:xfrm>
          </p:grpSpPr>
          <p:sp>
            <p:nvSpPr>
              <p:cNvPr id="47" name="Freeform 14"/>
              <p:cNvSpPr/>
              <p:nvPr/>
            </p:nvSpPr>
            <p:spPr bwMode="auto">
              <a:xfrm>
                <a:off x="1252" y="1827"/>
                <a:ext cx="1464" cy="366"/>
              </a:xfrm>
              <a:custGeom>
                <a:avLst/>
                <a:gdLst>
                  <a:gd name="T0" fmla="*/ 1463 w 1464"/>
                  <a:gd name="T1" fmla="*/ 347 h 366"/>
                  <a:gd name="T2" fmla="*/ 1449 w 1464"/>
                  <a:gd name="T3" fmla="*/ 292 h 366"/>
                  <a:gd name="T4" fmla="*/ 1420 w 1464"/>
                  <a:gd name="T5" fmla="*/ 240 h 366"/>
                  <a:gd name="T6" fmla="*/ 1375 w 1464"/>
                  <a:gd name="T7" fmla="*/ 192 h 366"/>
                  <a:gd name="T8" fmla="*/ 1319 w 1464"/>
                  <a:gd name="T9" fmla="*/ 147 h 366"/>
                  <a:gd name="T10" fmla="*/ 1249 w 1464"/>
                  <a:gd name="T11" fmla="*/ 106 h 366"/>
                  <a:gd name="T12" fmla="*/ 1171 w 1464"/>
                  <a:gd name="T13" fmla="*/ 72 h 366"/>
                  <a:gd name="T14" fmla="*/ 1082 w 1464"/>
                  <a:gd name="T15" fmla="*/ 44 h 366"/>
                  <a:gd name="T16" fmla="*/ 984 w 1464"/>
                  <a:gd name="T17" fmla="*/ 21 h 366"/>
                  <a:gd name="T18" fmla="*/ 879 w 1464"/>
                  <a:gd name="T19" fmla="*/ 7 h 366"/>
                  <a:gd name="T20" fmla="*/ 770 w 1464"/>
                  <a:gd name="T21" fmla="*/ 0 h 366"/>
                  <a:gd name="T22" fmla="*/ 694 w 1464"/>
                  <a:gd name="T23" fmla="*/ 0 h 366"/>
                  <a:gd name="T24" fmla="*/ 585 w 1464"/>
                  <a:gd name="T25" fmla="*/ 7 h 366"/>
                  <a:gd name="T26" fmla="*/ 480 w 1464"/>
                  <a:gd name="T27" fmla="*/ 21 h 366"/>
                  <a:gd name="T28" fmla="*/ 382 w 1464"/>
                  <a:gd name="T29" fmla="*/ 44 h 366"/>
                  <a:gd name="T30" fmla="*/ 293 w 1464"/>
                  <a:gd name="T31" fmla="*/ 72 h 366"/>
                  <a:gd name="T32" fmla="*/ 215 w 1464"/>
                  <a:gd name="T33" fmla="*/ 106 h 366"/>
                  <a:gd name="T34" fmla="*/ 145 w 1464"/>
                  <a:gd name="T35" fmla="*/ 147 h 366"/>
                  <a:gd name="T36" fmla="*/ 89 w 1464"/>
                  <a:gd name="T37" fmla="*/ 192 h 366"/>
                  <a:gd name="T38" fmla="*/ 44 w 1464"/>
                  <a:gd name="T39" fmla="*/ 240 h 366"/>
                  <a:gd name="T40" fmla="*/ 15 w 1464"/>
                  <a:gd name="T41" fmla="*/ 292 h 366"/>
                  <a:gd name="T42" fmla="*/ 1 w 1464"/>
                  <a:gd name="T43" fmla="*/ 347 h 366"/>
                  <a:gd name="T44" fmla="*/ 91 w 1464"/>
                  <a:gd name="T45" fmla="*/ 366 h 366"/>
                  <a:gd name="T46" fmla="*/ 99 w 1464"/>
                  <a:gd name="T47" fmla="*/ 317 h 366"/>
                  <a:gd name="T48" fmla="*/ 120 w 1464"/>
                  <a:gd name="T49" fmla="*/ 270 h 366"/>
                  <a:gd name="T50" fmla="*/ 155 w 1464"/>
                  <a:gd name="T51" fmla="*/ 227 h 366"/>
                  <a:gd name="T52" fmla="*/ 201 w 1464"/>
                  <a:gd name="T53" fmla="*/ 187 h 366"/>
                  <a:gd name="T54" fmla="*/ 258 w 1464"/>
                  <a:gd name="T55" fmla="*/ 151 h 366"/>
                  <a:gd name="T56" fmla="*/ 324 w 1464"/>
                  <a:gd name="T57" fmla="*/ 119 h 366"/>
                  <a:gd name="T58" fmla="*/ 400 w 1464"/>
                  <a:gd name="T59" fmla="*/ 91 h 366"/>
                  <a:gd name="T60" fmla="*/ 483 w 1464"/>
                  <a:gd name="T61" fmla="*/ 71 h 366"/>
                  <a:gd name="T62" fmla="*/ 572 w 1464"/>
                  <a:gd name="T63" fmla="*/ 56 h 366"/>
                  <a:gd name="T64" fmla="*/ 666 w 1464"/>
                  <a:gd name="T65" fmla="*/ 47 h 366"/>
                  <a:gd name="T66" fmla="*/ 732 w 1464"/>
                  <a:gd name="T67" fmla="*/ 45 h 366"/>
                  <a:gd name="T68" fmla="*/ 830 w 1464"/>
                  <a:gd name="T69" fmla="*/ 49 h 366"/>
                  <a:gd name="T70" fmla="*/ 923 w 1464"/>
                  <a:gd name="T71" fmla="*/ 59 h 366"/>
                  <a:gd name="T72" fmla="*/ 1010 w 1464"/>
                  <a:gd name="T73" fmla="*/ 77 h 366"/>
                  <a:gd name="T74" fmla="*/ 1091 w 1464"/>
                  <a:gd name="T75" fmla="*/ 100 h 366"/>
                  <a:gd name="T76" fmla="*/ 1163 w 1464"/>
                  <a:gd name="T77" fmla="*/ 128 h 366"/>
                  <a:gd name="T78" fmla="*/ 1227 w 1464"/>
                  <a:gd name="T79" fmla="*/ 162 h 366"/>
                  <a:gd name="T80" fmla="*/ 1280 w 1464"/>
                  <a:gd name="T81" fmla="*/ 199 h 366"/>
                  <a:gd name="T82" fmla="*/ 1322 w 1464"/>
                  <a:gd name="T83" fmla="*/ 241 h 366"/>
                  <a:gd name="T84" fmla="*/ 1352 w 1464"/>
                  <a:gd name="T85" fmla="*/ 286 h 366"/>
                  <a:gd name="T86" fmla="*/ 1369 w 1464"/>
                  <a:gd name="T87" fmla="*/ 333 h 366"/>
                  <a:gd name="T88" fmla="*/ 1464 w 1464"/>
                  <a:gd name="T89" fmla="*/ 36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4" h="366">
                    <a:moveTo>
                      <a:pt x="1464" y="366"/>
                    </a:moveTo>
                    <a:lnTo>
                      <a:pt x="1464" y="366"/>
                    </a:lnTo>
                    <a:lnTo>
                      <a:pt x="1463" y="347"/>
                    </a:lnTo>
                    <a:lnTo>
                      <a:pt x="1461" y="329"/>
                    </a:lnTo>
                    <a:lnTo>
                      <a:pt x="1455" y="310"/>
                    </a:lnTo>
                    <a:lnTo>
                      <a:pt x="1449" y="292"/>
                    </a:lnTo>
                    <a:lnTo>
                      <a:pt x="1441" y="274"/>
                    </a:lnTo>
                    <a:lnTo>
                      <a:pt x="1431" y="256"/>
                    </a:lnTo>
                    <a:lnTo>
                      <a:pt x="1420" y="240"/>
                    </a:lnTo>
                    <a:lnTo>
                      <a:pt x="1407" y="223"/>
                    </a:lnTo>
                    <a:lnTo>
                      <a:pt x="1392" y="207"/>
                    </a:lnTo>
                    <a:lnTo>
                      <a:pt x="1375" y="192"/>
                    </a:lnTo>
                    <a:lnTo>
                      <a:pt x="1359" y="176"/>
                    </a:lnTo>
                    <a:lnTo>
                      <a:pt x="1340" y="161"/>
                    </a:lnTo>
                    <a:lnTo>
                      <a:pt x="1319" y="147"/>
                    </a:lnTo>
                    <a:lnTo>
                      <a:pt x="1297" y="133"/>
                    </a:lnTo>
                    <a:lnTo>
                      <a:pt x="1274" y="119"/>
                    </a:lnTo>
                    <a:lnTo>
                      <a:pt x="1249" y="106"/>
                    </a:lnTo>
                    <a:lnTo>
                      <a:pt x="1224" y="95"/>
                    </a:lnTo>
                    <a:lnTo>
                      <a:pt x="1197" y="84"/>
                    </a:lnTo>
                    <a:lnTo>
                      <a:pt x="1171" y="72"/>
                    </a:lnTo>
                    <a:lnTo>
                      <a:pt x="1141" y="62"/>
                    </a:lnTo>
                    <a:lnTo>
                      <a:pt x="1112" y="53"/>
                    </a:lnTo>
                    <a:lnTo>
                      <a:pt x="1082" y="44"/>
                    </a:lnTo>
                    <a:lnTo>
                      <a:pt x="1050" y="35"/>
                    </a:lnTo>
                    <a:lnTo>
                      <a:pt x="1017" y="29"/>
                    </a:lnTo>
                    <a:lnTo>
                      <a:pt x="984" y="21"/>
                    </a:lnTo>
                    <a:lnTo>
                      <a:pt x="949" y="16"/>
                    </a:lnTo>
                    <a:lnTo>
                      <a:pt x="915" y="11"/>
                    </a:lnTo>
                    <a:lnTo>
                      <a:pt x="879" y="7"/>
                    </a:lnTo>
                    <a:lnTo>
                      <a:pt x="844" y="3"/>
                    </a:lnTo>
                    <a:lnTo>
                      <a:pt x="807" y="1"/>
                    </a:lnTo>
                    <a:lnTo>
                      <a:pt x="770" y="0"/>
                    </a:lnTo>
                    <a:lnTo>
                      <a:pt x="732" y="0"/>
                    </a:lnTo>
                    <a:lnTo>
                      <a:pt x="732" y="0"/>
                    </a:lnTo>
                    <a:lnTo>
                      <a:pt x="694" y="0"/>
                    </a:lnTo>
                    <a:lnTo>
                      <a:pt x="657" y="1"/>
                    </a:lnTo>
                    <a:lnTo>
                      <a:pt x="620" y="3"/>
                    </a:lnTo>
                    <a:lnTo>
                      <a:pt x="585" y="7"/>
                    </a:lnTo>
                    <a:lnTo>
                      <a:pt x="549" y="11"/>
                    </a:lnTo>
                    <a:lnTo>
                      <a:pt x="515" y="16"/>
                    </a:lnTo>
                    <a:lnTo>
                      <a:pt x="480" y="21"/>
                    </a:lnTo>
                    <a:lnTo>
                      <a:pt x="447" y="29"/>
                    </a:lnTo>
                    <a:lnTo>
                      <a:pt x="414" y="35"/>
                    </a:lnTo>
                    <a:lnTo>
                      <a:pt x="382" y="44"/>
                    </a:lnTo>
                    <a:lnTo>
                      <a:pt x="352" y="53"/>
                    </a:lnTo>
                    <a:lnTo>
                      <a:pt x="323" y="62"/>
                    </a:lnTo>
                    <a:lnTo>
                      <a:pt x="293" y="72"/>
                    </a:lnTo>
                    <a:lnTo>
                      <a:pt x="267" y="84"/>
                    </a:lnTo>
                    <a:lnTo>
                      <a:pt x="240" y="95"/>
                    </a:lnTo>
                    <a:lnTo>
                      <a:pt x="215" y="106"/>
                    </a:lnTo>
                    <a:lnTo>
                      <a:pt x="190" y="119"/>
                    </a:lnTo>
                    <a:lnTo>
                      <a:pt x="167" y="133"/>
                    </a:lnTo>
                    <a:lnTo>
                      <a:pt x="145" y="147"/>
                    </a:lnTo>
                    <a:lnTo>
                      <a:pt x="124" y="161"/>
                    </a:lnTo>
                    <a:lnTo>
                      <a:pt x="105" y="176"/>
                    </a:lnTo>
                    <a:lnTo>
                      <a:pt x="89" y="192"/>
                    </a:lnTo>
                    <a:lnTo>
                      <a:pt x="72" y="207"/>
                    </a:lnTo>
                    <a:lnTo>
                      <a:pt x="57" y="223"/>
                    </a:lnTo>
                    <a:lnTo>
                      <a:pt x="44" y="240"/>
                    </a:lnTo>
                    <a:lnTo>
                      <a:pt x="33" y="256"/>
                    </a:lnTo>
                    <a:lnTo>
                      <a:pt x="23" y="274"/>
                    </a:lnTo>
                    <a:lnTo>
                      <a:pt x="15" y="292"/>
                    </a:lnTo>
                    <a:lnTo>
                      <a:pt x="9" y="310"/>
                    </a:lnTo>
                    <a:lnTo>
                      <a:pt x="3" y="329"/>
                    </a:lnTo>
                    <a:lnTo>
                      <a:pt x="1" y="347"/>
                    </a:lnTo>
                    <a:lnTo>
                      <a:pt x="0" y="366"/>
                    </a:lnTo>
                    <a:lnTo>
                      <a:pt x="91" y="366"/>
                    </a:lnTo>
                    <a:lnTo>
                      <a:pt x="91" y="366"/>
                    </a:lnTo>
                    <a:lnTo>
                      <a:pt x="92" y="349"/>
                    </a:lnTo>
                    <a:lnTo>
                      <a:pt x="95" y="333"/>
                    </a:lnTo>
                    <a:lnTo>
                      <a:pt x="99" y="317"/>
                    </a:lnTo>
                    <a:lnTo>
                      <a:pt x="104" y="301"/>
                    </a:lnTo>
                    <a:lnTo>
                      <a:pt x="112" y="286"/>
                    </a:lnTo>
                    <a:lnTo>
                      <a:pt x="120" y="270"/>
                    </a:lnTo>
                    <a:lnTo>
                      <a:pt x="131" y="255"/>
                    </a:lnTo>
                    <a:lnTo>
                      <a:pt x="142" y="241"/>
                    </a:lnTo>
                    <a:lnTo>
                      <a:pt x="155" y="227"/>
                    </a:lnTo>
                    <a:lnTo>
                      <a:pt x="169" y="213"/>
                    </a:lnTo>
                    <a:lnTo>
                      <a:pt x="184" y="199"/>
                    </a:lnTo>
                    <a:lnTo>
                      <a:pt x="201" y="187"/>
                    </a:lnTo>
                    <a:lnTo>
                      <a:pt x="218" y="174"/>
                    </a:lnTo>
                    <a:lnTo>
                      <a:pt x="237" y="162"/>
                    </a:lnTo>
                    <a:lnTo>
                      <a:pt x="258" y="151"/>
                    </a:lnTo>
                    <a:lnTo>
                      <a:pt x="279" y="139"/>
                    </a:lnTo>
                    <a:lnTo>
                      <a:pt x="301" y="128"/>
                    </a:lnTo>
                    <a:lnTo>
                      <a:pt x="324" y="119"/>
                    </a:lnTo>
                    <a:lnTo>
                      <a:pt x="348" y="109"/>
                    </a:lnTo>
                    <a:lnTo>
                      <a:pt x="373" y="100"/>
                    </a:lnTo>
                    <a:lnTo>
                      <a:pt x="400" y="91"/>
                    </a:lnTo>
                    <a:lnTo>
                      <a:pt x="427" y="84"/>
                    </a:lnTo>
                    <a:lnTo>
                      <a:pt x="454" y="77"/>
                    </a:lnTo>
                    <a:lnTo>
                      <a:pt x="483" y="71"/>
                    </a:lnTo>
                    <a:lnTo>
                      <a:pt x="512" y="64"/>
                    </a:lnTo>
                    <a:lnTo>
                      <a:pt x="541" y="59"/>
                    </a:lnTo>
                    <a:lnTo>
                      <a:pt x="572" y="56"/>
                    </a:lnTo>
                    <a:lnTo>
                      <a:pt x="602" y="52"/>
                    </a:lnTo>
                    <a:lnTo>
                      <a:pt x="634" y="49"/>
                    </a:lnTo>
                    <a:lnTo>
                      <a:pt x="666" y="47"/>
                    </a:lnTo>
                    <a:lnTo>
                      <a:pt x="699" y="45"/>
                    </a:lnTo>
                    <a:lnTo>
                      <a:pt x="732" y="45"/>
                    </a:lnTo>
                    <a:lnTo>
                      <a:pt x="732" y="45"/>
                    </a:lnTo>
                    <a:lnTo>
                      <a:pt x="765" y="45"/>
                    </a:lnTo>
                    <a:lnTo>
                      <a:pt x="798" y="47"/>
                    </a:lnTo>
                    <a:lnTo>
                      <a:pt x="830" y="49"/>
                    </a:lnTo>
                    <a:lnTo>
                      <a:pt x="862" y="52"/>
                    </a:lnTo>
                    <a:lnTo>
                      <a:pt x="892" y="56"/>
                    </a:lnTo>
                    <a:lnTo>
                      <a:pt x="923" y="59"/>
                    </a:lnTo>
                    <a:lnTo>
                      <a:pt x="952" y="64"/>
                    </a:lnTo>
                    <a:lnTo>
                      <a:pt x="981" y="71"/>
                    </a:lnTo>
                    <a:lnTo>
                      <a:pt x="1010" y="77"/>
                    </a:lnTo>
                    <a:lnTo>
                      <a:pt x="1037" y="84"/>
                    </a:lnTo>
                    <a:lnTo>
                      <a:pt x="1064" y="91"/>
                    </a:lnTo>
                    <a:lnTo>
                      <a:pt x="1091" y="100"/>
                    </a:lnTo>
                    <a:lnTo>
                      <a:pt x="1116" y="109"/>
                    </a:lnTo>
                    <a:lnTo>
                      <a:pt x="1140" y="119"/>
                    </a:lnTo>
                    <a:lnTo>
                      <a:pt x="1163" y="128"/>
                    </a:lnTo>
                    <a:lnTo>
                      <a:pt x="1185" y="139"/>
                    </a:lnTo>
                    <a:lnTo>
                      <a:pt x="1206" y="151"/>
                    </a:lnTo>
                    <a:lnTo>
                      <a:pt x="1227" y="162"/>
                    </a:lnTo>
                    <a:lnTo>
                      <a:pt x="1246" y="174"/>
                    </a:lnTo>
                    <a:lnTo>
                      <a:pt x="1263" y="187"/>
                    </a:lnTo>
                    <a:lnTo>
                      <a:pt x="1280" y="199"/>
                    </a:lnTo>
                    <a:lnTo>
                      <a:pt x="1295" y="213"/>
                    </a:lnTo>
                    <a:lnTo>
                      <a:pt x="1309" y="227"/>
                    </a:lnTo>
                    <a:lnTo>
                      <a:pt x="1322" y="241"/>
                    </a:lnTo>
                    <a:lnTo>
                      <a:pt x="1333" y="255"/>
                    </a:lnTo>
                    <a:lnTo>
                      <a:pt x="1344" y="270"/>
                    </a:lnTo>
                    <a:lnTo>
                      <a:pt x="1352" y="286"/>
                    </a:lnTo>
                    <a:lnTo>
                      <a:pt x="1360" y="301"/>
                    </a:lnTo>
                    <a:lnTo>
                      <a:pt x="1365" y="317"/>
                    </a:lnTo>
                    <a:lnTo>
                      <a:pt x="1369" y="333"/>
                    </a:lnTo>
                    <a:lnTo>
                      <a:pt x="1372" y="349"/>
                    </a:lnTo>
                    <a:lnTo>
                      <a:pt x="1373" y="366"/>
                    </a:lnTo>
                    <a:lnTo>
                      <a:pt x="1464" y="366"/>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8" name="Freeform 15"/>
              <p:cNvSpPr/>
              <p:nvPr/>
            </p:nvSpPr>
            <p:spPr bwMode="auto">
              <a:xfrm>
                <a:off x="1343" y="1872"/>
                <a:ext cx="1282" cy="1053"/>
              </a:xfrm>
              <a:custGeom>
                <a:avLst/>
                <a:gdLst>
                  <a:gd name="T0" fmla="*/ 1281 w 1282"/>
                  <a:gd name="T1" fmla="*/ 1036 h 1053"/>
                  <a:gd name="T2" fmla="*/ 1269 w 1282"/>
                  <a:gd name="T3" fmla="*/ 988 h 1053"/>
                  <a:gd name="T4" fmla="*/ 1242 w 1282"/>
                  <a:gd name="T5" fmla="*/ 942 h 1053"/>
                  <a:gd name="T6" fmla="*/ 1204 w 1282"/>
                  <a:gd name="T7" fmla="*/ 900 h 1053"/>
                  <a:gd name="T8" fmla="*/ 1155 w 1282"/>
                  <a:gd name="T9" fmla="*/ 861 h 1053"/>
                  <a:gd name="T10" fmla="*/ 1094 w 1282"/>
                  <a:gd name="T11" fmla="*/ 827 h 1053"/>
                  <a:gd name="T12" fmla="*/ 1025 w 1282"/>
                  <a:gd name="T13" fmla="*/ 796 h 1053"/>
                  <a:gd name="T14" fmla="*/ 946 w 1282"/>
                  <a:gd name="T15" fmla="*/ 771 h 1053"/>
                  <a:gd name="T16" fmla="*/ 861 w 1282"/>
                  <a:gd name="T17" fmla="*/ 752 h 1053"/>
                  <a:gd name="T18" fmla="*/ 771 w 1282"/>
                  <a:gd name="T19" fmla="*/ 739 h 1053"/>
                  <a:gd name="T20" fmla="*/ 674 w 1282"/>
                  <a:gd name="T21" fmla="*/ 733 h 1053"/>
                  <a:gd name="T22" fmla="*/ 608 w 1282"/>
                  <a:gd name="T23" fmla="*/ 733 h 1053"/>
                  <a:gd name="T24" fmla="*/ 511 w 1282"/>
                  <a:gd name="T25" fmla="*/ 739 h 1053"/>
                  <a:gd name="T26" fmla="*/ 421 w 1282"/>
                  <a:gd name="T27" fmla="*/ 752 h 1053"/>
                  <a:gd name="T28" fmla="*/ 336 w 1282"/>
                  <a:gd name="T29" fmla="*/ 771 h 1053"/>
                  <a:gd name="T30" fmla="*/ 257 w 1282"/>
                  <a:gd name="T31" fmla="*/ 796 h 1053"/>
                  <a:gd name="T32" fmla="*/ 188 w 1282"/>
                  <a:gd name="T33" fmla="*/ 827 h 1053"/>
                  <a:gd name="T34" fmla="*/ 127 w 1282"/>
                  <a:gd name="T35" fmla="*/ 861 h 1053"/>
                  <a:gd name="T36" fmla="*/ 78 w 1282"/>
                  <a:gd name="T37" fmla="*/ 900 h 1053"/>
                  <a:gd name="T38" fmla="*/ 40 w 1282"/>
                  <a:gd name="T39" fmla="*/ 942 h 1053"/>
                  <a:gd name="T40" fmla="*/ 13 w 1282"/>
                  <a:gd name="T41" fmla="*/ 988 h 1053"/>
                  <a:gd name="T42" fmla="*/ 1 w 1282"/>
                  <a:gd name="T43" fmla="*/ 1036 h 1053"/>
                  <a:gd name="T44" fmla="*/ 0 w 1282"/>
                  <a:gd name="T45" fmla="*/ 321 h 1053"/>
                  <a:gd name="T46" fmla="*/ 8 w 1282"/>
                  <a:gd name="T47" fmla="*/ 272 h 1053"/>
                  <a:gd name="T48" fmla="*/ 29 w 1282"/>
                  <a:gd name="T49" fmla="*/ 225 h 1053"/>
                  <a:gd name="T50" fmla="*/ 64 w 1282"/>
                  <a:gd name="T51" fmla="*/ 182 h 1053"/>
                  <a:gd name="T52" fmla="*/ 110 w 1282"/>
                  <a:gd name="T53" fmla="*/ 142 h 1053"/>
                  <a:gd name="T54" fmla="*/ 167 w 1282"/>
                  <a:gd name="T55" fmla="*/ 106 h 1053"/>
                  <a:gd name="T56" fmla="*/ 233 w 1282"/>
                  <a:gd name="T57" fmla="*/ 74 h 1053"/>
                  <a:gd name="T58" fmla="*/ 309 w 1282"/>
                  <a:gd name="T59" fmla="*/ 46 h 1053"/>
                  <a:gd name="T60" fmla="*/ 392 w 1282"/>
                  <a:gd name="T61" fmla="*/ 26 h 1053"/>
                  <a:gd name="T62" fmla="*/ 481 w 1282"/>
                  <a:gd name="T63" fmla="*/ 11 h 1053"/>
                  <a:gd name="T64" fmla="*/ 575 w 1282"/>
                  <a:gd name="T65" fmla="*/ 2 h 1053"/>
                  <a:gd name="T66" fmla="*/ 641 w 1282"/>
                  <a:gd name="T67" fmla="*/ 0 h 1053"/>
                  <a:gd name="T68" fmla="*/ 739 w 1282"/>
                  <a:gd name="T69" fmla="*/ 4 h 1053"/>
                  <a:gd name="T70" fmla="*/ 832 w 1282"/>
                  <a:gd name="T71" fmla="*/ 14 h 1053"/>
                  <a:gd name="T72" fmla="*/ 919 w 1282"/>
                  <a:gd name="T73" fmla="*/ 32 h 1053"/>
                  <a:gd name="T74" fmla="*/ 1000 w 1282"/>
                  <a:gd name="T75" fmla="*/ 55 h 1053"/>
                  <a:gd name="T76" fmla="*/ 1072 w 1282"/>
                  <a:gd name="T77" fmla="*/ 83 h 1053"/>
                  <a:gd name="T78" fmla="*/ 1136 w 1282"/>
                  <a:gd name="T79" fmla="*/ 117 h 1053"/>
                  <a:gd name="T80" fmla="*/ 1189 w 1282"/>
                  <a:gd name="T81" fmla="*/ 154 h 1053"/>
                  <a:gd name="T82" fmla="*/ 1231 w 1282"/>
                  <a:gd name="T83" fmla="*/ 196 h 1053"/>
                  <a:gd name="T84" fmla="*/ 1261 w 1282"/>
                  <a:gd name="T85" fmla="*/ 241 h 1053"/>
                  <a:gd name="T86" fmla="*/ 1278 w 1282"/>
                  <a:gd name="T87" fmla="*/ 288 h 1053"/>
                  <a:gd name="T88" fmla="*/ 1282 w 1282"/>
                  <a:gd name="T89" fmla="*/ 1053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2" h="1053">
                    <a:moveTo>
                      <a:pt x="1282" y="1053"/>
                    </a:moveTo>
                    <a:lnTo>
                      <a:pt x="1282" y="1053"/>
                    </a:lnTo>
                    <a:lnTo>
                      <a:pt x="1281" y="1036"/>
                    </a:lnTo>
                    <a:lnTo>
                      <a:pt x="1278" y="1020"/>
                    </a:lnTo>
                    <a:lnTo>
                      <a:pt x="1274" y="1005"/>
                    </a:lnTo>
                    <a:lnTo>
                      <a:pt x="1269" y="988"/>
                    </a:lnTo>
                    <a:lnTo>
                      <a:pt x="1261" y="973"/>
                    </a:lnTo>
                    <a:lnTo>
                      <a:pt x="1253" y="958"/>
                    </a:lnTo>
                    <a:lnTo>
                      <a:pt x="1242" y="942"/>
                    </a:lnTo>
                    <a:lnTo>
                      <a:pt x="1231" y="928"/>
                    </a:lnTo>
                    <a:lnTo>
                      <a:pt x="1218" y="914"/>
                    </a:lnTo>
                    <a:lnTo>
                      <a:pt x="1204" y="900"/>
                    </a:lnTo>
                    <a:lnTo>
                      <a:pt x="1189" y="886"/>
                    </a:lnTo>
                    <a:lnTo>
                      <a:pt x="1172" y="874"/>
                    </a:lnTo>
                    <a:lnTo>
                      <a:pt x="1155" y="861"/>
                    </a:lnTo>
                    <a:lnTo>
                      <a:pt x="1136" y="849"/>
                    </a:lnTo>
                    <a:lnTo>
                      <a:pt x="1115" y="838"/>
                    </a:lnTo>
                    <a:lnTo>
                      <a:pt x="1094" y="827"/>
                    </a:lnTo>
                    <a:lnTo>
                      <a:pt x="1072" y="815"/>
                    </a:lnTo>
                    <a:lnTo>
                      <a:pt x="1049" y="806"/>
                    </a:lnTo>
                    <a:lnTo>
                      <a:pt x="1025" y="796"/>
                    </a:lnTo>
                    <a:lnTo>
                      <a:pt x="1000" y="787"/>
                    </a:lnTo>
                    <a:lnTo>
                      <a:pt x="973" y="778"/>
                    </a:lnTo>
                    <a:lnTo>
                      <a:pt x="946" y="771"/>
                    </a:lnTo>
                    <a:lnTo>
                      <a:pt x="919" y="764"/>
                    </a:lnTo>
                    <a:lnTo>
                      <a:pt x="890" y="758"/>
                    </a:lnTo>
                    <a:lnTo>
                      <a:pt x="861" y="752"/>
                    </a:lnTo>
                    <a:lnTo>
                      <a:pt x="832" y="747"/>
                    </a:lnTo>
                    <a:lnTo>
                      <a:pt x="801" y="743"/>
                    </a:lnTo>
                    <a:lnTo>
                      <a:pt x="771" y="739"/>
                    </a:lnTo>
                    <a:lnTo>
                      <a:pt x="739" y="736"/>
                    </a:lnTo>
                    <a:lnTo>
                      <a:pt x="707" y="734"/>
                    </a:lnTo>
                    <a:lnTo>
                      <a:pt x="674" y="733"/>
                    </a:lnTo>
                    <a:lnTo>
                      <a:pt x="641" y="733"/>
                    </a:lnTo>
                    <a:lnTo>
                      <a:pt x="641" y="733"/>
                    </a:lnTo>
                    <a:lnTo>
                      <a:pt x="608" y="733"/>
                    </a:lnTo>
                    <a:lnTo>
                      <a:pt x="575" y="734"/>
                    </a:lnTo>
                    <a:lnTo>
                      <a:pt x="543" y="736"/>
                    </a:lnTo>
                    <a:lnTo>
                      <a:pt x="511" y="739"/>
                    </a:lnTo>
                    <a:lnTo>
                      <a:pt x="481" y="743"/>
                    </a:lnTo>
                    <a:lnTo>
                      <a:pt x="450" y="747"/>
                    </a:lnTo>
                    <a:lnTo>
                      <a:pt x="421" y="752"/>
                    </a:lnTo>
                    <a:lnTo>
                      <a:pt x="392" y="758"/>
                    </a:lnTo>
                    <a:lnTo>
                      <a:pt x="363" y="764"/>
                    </a:lnTo>
                    <a:lnTo>
                      <a:pt x="336" y="771"/>
                    </a:lnTo>
                    <a:lnTo>
                      <a:pt x="309" y="778"/>
                    </a:lnTo>
                    <a:lnTo>
                      <a:pt x="282" y="787"/>
                    </a:lnTo>
                    <a:lnTo>
                      <a:pt x="257" y="796"/>
                    </a:lnTo>
                    <a:lnTo>
                      <a:pt x="233" y="806"/>
                    </a:lnTo>
                    <a:lnTo>
                      <a:pt x="210" y="815"/>
                    </a:lnTo>
                    <a:lnTo>
                      <a:pt x="188" y="827"/>
                    </a:lnTo>
                    <a:lnTo>
                      <a:pt x="167" y="838"/>
                    </a:lnTo>
                    <a:lnTo>
                      <a:pt x="146" y="849"/>
                    </a:lnTo>
                    <a:lnTo>
                      <a:pt x="127" y="861"/>
                    </a:lnTo>
                    <a:lnTo>
                      <a:pt x="110" y="874"/>
                    </a:lnTo>
                    <a:lnTo>
                      <a:pt x="93" y="886"/>
                    </a:lnTo>
                    <a:lnTo>
                      <a:pt x="78" y="900"/>
                    </a:lnTo>
                    <a:lnTo>
                      <a:pt x="64" y="914"/>
                    </a:lnTo>
                    <a:lnTo>
                      <a:pt x="51" y="928"/>
                    </a:lnTo>
                    <a:lnTo>
                      <a:pt x="40" y="942"/>
                    </a:lnTo>
                    <a:lnTo>
                      <a:pt x="29" y="958"/>
                    </a:lnTo>
                    <a:lnTo>
                      <a:pt x="21" y="973"/>
                    </a:lnTo>
                    <a:lnTo>
                      <a:pt x="13" y="988"/>
                    </a:lnTo>
                    <a:lnTo>
                      <a:pt x="8" y="1005"/>
                    </a:lnTo>
                    <a:lnTo>
                      <a:pt x="4" y="1020"/>
                    </a:lnTo>
                    <a:lnTo>
                      <a:pt x="1" y="1036"/>
                    </a:lnTo>
                    <a:lnTo>
                      <a:pt x="0" y="1053"/>
                    </a:lnTo>
                    <a:lnTo>
                      <a:pt x="0" y="321"/>
                    </a:lnTo>
                    <a:lnTo>
                      <a:pt x="0" y="321"/>
                    </a:lnTo>
                    <a:lnTo>
                      <a:pt x="1" y="304"/>
                    </a:lnTo>
                    <a:lnTo>
                      <a:pt x="4" y="288"/>
                    </a:lnTo>
                    <a:lnTo>
                      <a:pt x="8" y="272"/>
                    </a:lnTo>
                    <a:lnTo>
                      <a:pt x="13" y="256"/>
                    </a:lnTo>
                    <a:lnTo>
                      <a:pt x="21" y="241"/>
                    </a:lnTo>
                    <a:lnTo>
                      <a:pt x="29" y="225"/>
                    </a:lnTo>
                    <a:lnTo>
                      <a:pt x="40" y="210"/>
                    </a:lnTo>
                    <a:lnTo>
                      <a:pt x="51" y="196"/>
                    </a:lnTo>
                    <a:lnTo>
                      <a:pt x="64" y="182"/>
                    </a:lnTo>
                    <a:lnTo>
                      <a:pt x="78" y="168"/>
                    </a:lnTo>
                    <a:lnTo>
                      <a:pt x="93" y="154"/>
                    </a:lnTo>
                    <a:lnTo>
                      <a:pt x="110" y="142"/>
                    </a:lnTo>
                    <a:lnTo>
                      <a:pt x="127" y="129"/>
                    </a:lnTo>
                    <a:lnTo>
                      <a:pt x="146" y="117"/>
                    </a:lnTo>
                    <a:lnTo>
                      <a:pt x="167" y="106"/>
                    </a:lnTo>
                    <a:lnTo>
                      <a:pt x="188" y="94"/>
                    </a:lnTo>
                    <a:lnTo>
                      <a:pt x="210" y="83"/>
                    </a:lnTo>
                    <a:lnTo>
                      <a:pt x="233" y="74"/>
                    </a:lnTo>
                    <a:lnTo>
                      <a:pt x="257" y="64"/>
                    </a:lnTo>
                    <a:lnTo>
                      <a:pt x="282" y="55"/>
                    </a:lnTo>
                    <a:lnTo>
                      <a:pt x="309" y="46"/>
                    </a:lnTo>
                    <a:lnTo>
                      <a:pt x="336" y="39"/>
                    </a:lnTo>
                    <a:lnTo>
                      <a:pt x="363" y="32"/>
                    </a:lnTo>
                    <a:lnTo>
                      <a:pt x="392" y="26"/>
                    </a:lnTo>
                    <a:lnTo>
                      <a:pt x="421" y="19"/>
                    </a:lnTo>
                    <a:lnTo>
                      <a:pt x="450" y="14"/>
                    </a:lnTo>
                    <a:lnTo>
                      <a:pt x="481" y="11"/>
                    </a:lnTo>
                    <a:lnTo>
                      <a:pt x="511" y="7"/>
                    </a:lnTo>
                    <a:lnTo>
                      <a:pt x="543" y="4"/>
                    </a:lnTo>
                    <a:lnTo>
                      <a:pt x="575" y="2"/>
                    </a:lnTo>
                    <a:lnTo>
                      <a:pt x="608" y="0"/>
                    </a:lnTo>
                    <a:lnTo>
                      <a:pt x="641" y="0"/>
                    </a:lnTo>
                    <a:lnTo>
                      <a:pt x="641" y="0"/>
                    </a:lnTo>
                    <a:lnTo>
                      <a:pt x="674" y="0"/>
                    </a:lnTo>
                    <a:lnTo>
                      <a:pt x="707" y="2"/>
                    </a:lnTo>
                    <a:lnTo>
                      <a:pt x="739" y="4"/>
                    </a:lnTo>
                    <a:lnTo>
                      <a:pt x="771" y="7"/>
                    </a:lnTo>
                    <a:lnTo>
                      <a:pt x="801" y="11"/>
                    </a:lnTo>
                    <a:lnTo>
                      <a:pt x="832" y="14"/>
                    </a:lnTo>
                    <a:lnTo>
                      <a:pt x="861" y="19"/>
                    </a:lnTo>
                    <a:lnTo>
                      <a:pt x="890" y="26"/>
                    </a:lnTo>
                    <a:lnTo>
                      <a:pt x="919" y="32"/>
                    </a:lnTo>
                    <a:lnTo>
                      <a:pt x="946" y="39"/>
                    </a:lnTo>
                    <a:lnTo>
                      <a:pt x="973" y="46"/>
                    </a:lnTo>
                    <a:lnTo>
                      <a:pt x="1000" y="55"/>
                    </a:lnTo>
                    <a:lnTo>
                      <a:pt x="1025" y="64"/>
                    </a:lnTo>
                    <a:lnTo>
                      <a:pt x="1049" y="74"/>
                    </a:lnTo>
                    <a:lnTo>
                      <a:pt x="1072" y="83"/>
                    </a:lnTo>
                    <a:lnTo>
                      <a:pt x="1094" y="94"/>
                    </a:lnTo>
                    <a:lnTo>
                      <a:pt x="1115" y="106"/>
                    </a:lnTo>
                    <a:lnTo>
                      <a:pt x="1136" y="117"/>
                    </a:lnTo>
                    <a:lnTo>
                      <a:pt x="1155" y="129"/>
                    </a:lnTo>
                    <a:lnTo>
                      <a:pt x="1172" y="142"/>
                    </a:lnTo>
                    <a:lnTo>
                      <a:pt x="1189" y="154"/>
                    </a:lnTo>
                    <a:lnTo>
                      <a:pt x="1204" y="168"/>
                    </a:lnTo>
                    <a:lnTo>
                      <a:pt x="1218" y="182"/>
                    </a:lnTo>
                    <a:lnTo>
                      <a:pt x="1231" y="196"/>
                    </a:lnTo>
                    <a:lnTo>
                      <a:pt x="1242" y="210"/>
                    </a:lnTo>
                    <a:lnTo>
                      <a:pt x="1253" y="225"/>
                    </a:lnTo>
                    <a:lnTo>
                      <a:pt x="1261" y="241"/>
                    </a:lnTo>
                    <a:lnTo>
                      <a:pt x="1269" y="256"/>
                    </a:lnTo>
                    <a:lnTo>
                      <a:pt x="1274" y="272"/>
                    </a:lnTo>
                    <a:lnTo>
                      <a:pt x="1278" y="288"/>
                    </a:lnTo>
                    <a:lnTo>
                      <a:pt x="1281" y="304"/>
                    </a:lnTo>
                    <a:lnTo>
                      <a:pt x="1282" y="321"/>
                    </a:lnTo>
                    <a:lnTo>
                      <a:pt x="1282" y="1053"/>
                    </a:lnTo>
                    <a:close/>
                  </a:path>
                </a:pathLst>
              </a:custGeom>
              <a:solidFill>
                <a:srgbClr val="5F5F5F"/>
              </a:solidFill>
              <a:ln>
                <a:noFill/>
              </a:ln>
              <a:extLst>
                <a:ext uri="{91240B29-F687-4F45-9708-019B960494DF}">
                  <a14:hiddenLine xmlns:a14="http://schemas.microsoft.com/office/drawing/2010/main" w="8001">
                    <a:solidFill>
                      <a:srgbClr val="000000"/>
                    </a:solidFill>
                    <a:prstDash val="solid"/>
                    <a:round/>
                  </a14:hiddenLine>
                </a:ext>
              </a:extLst>
            </p:spPr>
            <p:txBody>
              <a:bodyPr/>
              <a:lstStyle/>
              <a:p>
                <a:endParaRPr lang="zh-CN" altLang="en-US"/>
              </a:p>
            </p:txBody>
          </p:sp>
        </p:grpSp>
        <p:grpSp>
          <p:nvGrpSpPr>
            <p:cNvPr id="32" name="Group 16"/>
            <p:cNvGrpSpPr/>
            <p:nvPr/>
          </p:nvGrpSpPr>
          <p:grpSpPr bwMode="auto">
            <a:xfrm>
              <a:off x="1949450" y="1638573"/>
              <a:ext cx="1743075" cy="2179638"/>
              <a:chOff x="1435" y="1552"/>
              <a:chExt cx="1098" cy="1373"/>
            </a:xfrm>
          </p:grpSpPr>
          <p:sp>
            <p:nvSpPr>
              <p:cNvPr id="45" name="Freeform 17"/>
              <p:cNvSpPr/>
              <p:nvPr/>
            </p:nvSpPr>
            <p:spPr bwMode="auto">
              <a:xfrm>
                <a:off x="1435" y="1552"/>
                <a:ext cx="1098" cy="275"/>
              </a:xfrm>
              <a:custGeom>
                <a:avLst/>
                <a:gdLst>
                  <a:gd name="T0" fmla="*/ 1098 w 1098"/>
                  <a:gd name="T1" fmla="*/ 275 h 275"/>
                  <a:gd name="T2" fmla="*/ 1096 w 1098"/>
                  <a:gd name="T3" fmla="*/ 247 h 275"/>
                  <a:gd name="T4" fmla="*/ 1087 w 1098"/>
                  <a:gd name="T5" fmla="*/ 219 h 275"/>
                  <a:gd name="T6" fmla="*/ 1074 w 1098"/>
                  <a:gd name="T7" fmla="*/ 193 h 275"/>
                  <a:gd name="T8" fmla="*/ 1055 w 1098"/>
                  <a:gd name="T9" fmla="*/ 168 h 275"/>
                  <a:gd name="T10" fmla="*/ 1032 w 1098"/>
                  <a:gd name="T11" fmla="*/ 144 h 275"/>
                  <a:gd name="T12" fmla="*/ 1004 w 1098"/>
                  <a:gd name="T13" fmla="*/ 121 h 275"/>
                  <a:gd name="T14" fmla="*/ 972 w 1098"/>
                  <a:gd name="T15" fmla="*/ 101 h 275"/>
                  <a:gd name="T16" fmla="*/ 937 w 1098"/>
                  <a:gd name="T17" fmla="*/ 80 h 275"/>
                  <a:gd name="T18" fmla="*/ 899 w 1098"/>
                  <a:gd name="T19" fmla="*/ 62 h 275"/>
                  <a:gd name="T20" fmla="*/ 811 w 1098"/>
                  <a:gd name="T21" fmla="*/ 33 h 275"/>
                  <a:gd name="T22" fmla="*/ 712 w 1098"/>
                  <a:gd name="T23" fmla="*/ 13 h 275"/>
                  <a:gd name="T24" fmla="*/ 605 w 1098"/>
                  <a:gd name="T25" fmla="*/ 1 h 275"/>
                  <a:gd name="T26" fmla="*/ 549 w 1098"/>
                  <a:gd name="T27" fmla="*/ 0 h 275"/>
                  <a:gd name="T28" fmla="*/ 438 w 1098"/>
                  <a:gd name="T29" fmla="*/ 5 h 275"/>
                  <a:gd name="T30" fmla="*/ 335 w 1098"/>
                  <a:gd name="T31" fmla="*/ 22 h 275"/>
                  <a:gd name="T32" fmla="*/ 241 w 1098"/>
                  <a:gd name="T33" fmla="*/ 47 h 275"/>
                  <a:gd name="T34" fmla="*/ 180 w 1098"/>
                  <a:gd name="T35" fmla="*/ 71 h 275"/>
                  <a:gd name="T36" fmla="*/ 142 w 1098"/>
                  <a:gd name="T37" fmla="*/ 90 h 275"/>
                  <a:gd name="T38" fmla="*/ 109 w 1098"/>
                  <a:gd name="T39" fmla="*/ 111 h 275"/>
                  <a:gd name="T40" fmla="*/ 80 w 1098"/>
                  <a:gd name="T41" fmla="*/ 132 h 275"/>
                  <a:gd name="T42" fmla="*/ 54 w 1098"/>
                  <a:gd name="T43" fmla="*/ 155 h 275"/>
                  <a:gd name="T44" fmla="*/ 33 w 1098"/>
                  <a:gd name="T45" fmla="*/ 181 h 275"/>
                  <a:gd name="T46" fmla="*/ 18 w 1098"/>
                  <a:gd name="T47" fmla="*/ 206 h 275"/>
                  <a:gd name="T48" fmla="*/ 6 w 1098"/>
                  <a:gd name="T49" fmla="*/ 233 h 275"/>
                  <a:gd name="T50" fmla="*/ 1 w 1098"/>
                  <a:gd name="T51" fmla="*/ 261 h 275"/>
                  <a:gd name="T52" fmla="*/ 91 w 1098"/>
                  <a:gd name="T53" fmla="*/ 275 h 275"/>
                  <a:gd name="T54" fmla="*/ 91 w 1098"/>
                  <a:gd name="T55" fmla="*/ 263 h 275"/>
                  <a:gd name="T56" fmla="*/ 96 w 1098"/>
                  <a:gd name="T57" fmla="*/ 240 h 275"/>
                  <a:gd name="T58" fmla="*/ 105 w 1098"/>
                  <a:gd name="T59" fmla="*/ 217 h 275"/>
                  <a:gd name="T60" fmla="*/ 119 w 1098"/>
                  <a:gd name="T61" fmla="*/ 196 h 275"/>
                  <a:gd name="T62" fmla="*/ 136 w 1098"/>
                  <a:gd name="T63" fmla="*/ 176 h 275"/>
                  <a:gd name="T64" fmla="*/ 157 w 1098"/>
                  <a:gd name="T65" fmla="*/ 156 h 275"/>
                  <a:gd name="T66" fmla="*/ 196 w 1098"/>
                  <a:gd name="T67" fmla="*/ 130 h 275"/>
                  <a:gd name="T68" fmla="*/ 258 w 1098"/>
                  <a:gd name="T69" fmla="*/ 98 h 275"/>
                  <a:gd name="T70" fmla="*/ 330 w 1098"/>
                  <a:gd name="T71" fmla="*/ 74 h 275"/>
                  <a:gd name="T72" fmla="*/ 413 w 1098"/>
                  <a:gd name="T73" fmla="*/ 56 h 275"/>
                  <a:gd name="T74" fmla="*/ 502 w 1098"/>
                  <a:gd name="T75" fmla="*/ 47 h 275"/>
                  <a:gd name="T76" fmla="*/ 549 w 1098"/>
                  <a:gd name="T77" fmla="*/ 46 h 275"/>
                  <a:gd name="T78" fmla="*/ 642 w 1098"/>
                  <a:gd name="T79" fmla="*/ 51 h 275"/>
                  <a:gd name="T80" fmla="*/ 727 w 1098"/>
                  <a:gd name="T81" fmla="*/ 64 h 275"/>
                  <a:gd name="T82" fmla="*/ 805 w 1098"/>
                  <a:gd name="T83" fmla="*/ 85 h 275"/>
                  <a:gd name="T84" fmla="*/ 873 w 1098"/>
                  <a:gd name="T85" fmla="*/ 113 h 275"/>
                  <a:gd name="T86" fmla="*/ 929 w 1098"/>
                  <a:gd name="T87" fmla="*/ 146 h 275"/>
                  <a:gd name="T88" fmla="*/ 952 w 1098"/>
                  <a:gd name="T89" fmla="*/ 165 h 275"/>
                  <a:gd name="T90" fmla="*/ 971 w 1098"/>
                  <a:gd name="T91" fmla="*/ 186 h 275"/>
                  <a:gd name="T92" fmla="*/ 986 w 1098"/>
                  <a:gd name="T93" fmla="*/ 206 h 275"/>
                  <a:gd name="T94" fmla="*/ 998 w 1098"/>
                  <a:gd name="T95" fmla="*/ 229 h 275"/>
                  <a:gd name="T96" fmla="*/ 1004 w 1098"/>
                  <a:gd name="T97" fmla="*/ 252 h 275"/>
                  <a:gd name="T98" fmla="*/ 1007 w 1098"/>
                  <a:gd name="T9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8" h="275">
                    <a:moveTo>
                      <a:pt x="1098" y="275"/>
                    </a:moveTo>
                    <a:lnTo>
                      <a:pt x="1098" y="275"/>
                    </a:lnTo>
                    <a:lnTo>
                      <a:pt x="1097" y="261"/>
                    </a:lnTo>
                    <a:lnTo>
                      <a:pt x="1096" y="247"/>
                    </a:lnTo>
                    <a:lnTo>
                      <a:pt x="1092" y="233"/>
                    </a:lnTo>
                    <a:lnTo>
                      <a:pt x="1087" y="219"/>
                    </a:lnTo>
                    <a:lnTo>
                      <a:pt x="1080" y="206"/>
                    </a:lnTo>
                    <a:lnTo>
                      <a:pt x="1074" y="193"/>
                    </a:lnTo>
                    <a:lnTo>
                      <a:pt x="1065" y="181"/>
                    </a:lnTo>
                    <a:lnTo>
                      <a:pt x="1055" y="168"/>
                    </a:lnTo>
                    <a:lnTo>
                      <a:pt x="1044" y="155"/>
                    </a:lnTo>
                    <a:lnTo>
                      <a:pt x="1032" y="144"/>
                    </a:lnTo>
                    <a:lnTo>
                      <a:pt x="1018" y="132"/>
                    </a:lnTo>
                    <a:lnTo>
                      <a:pt x="1004" y="121"/>
                    </a:lnTo>
                    <a:lnTo>
                      <a:pt x="989" y="111"/>
                    </a:lnTo>
                    <a:lnTo>
                      <a:pt x="972" y="101"/>
                    </a:lnTo>
                    <a:lnTo>
                      <a:pt x="956" y="90"/>
                    </a:lnTo>
                    <a:lnTo>
                      <a:pt x="937" y="80"/>
                    </a:lnTo>
                    <a:lnTo>
                      <a:pt x="918" y="71"/>
                    </a:lnTo>
                    <a:lnTo>
                      <a:pt x="899" y="62"/>
                    </a:lnTo>
                    <a:lnTo>
                      <a:pt x="857" y="47"/>
                    </a:lnTo>
                    <a:lnTo>
                      <a:pt x="811" y="33"/>
                    </a:lnTo>
                    <a:lnTo>
                      <a:pt x="763" y="22"/>
                    </a:lnTo>
                    <a:lnTo>
                      <a:pt x="712" y="13"/>
                    </a:lnTo>
                    <a:lnTo>
                      <a:pt x="660" y="5"/>
                    </a:lnTo>
                    <a:lnTo>
                      <a:pt x="605" y="1"/>
                    </a:lnTo>
                    <a:lnTo>
                      <a:pt x="549" y="0"/>
                    </a:lnTo>
                    <a:lnTo>
                      <a:pt x="549" y="0"/>
                    </a:lnTo>
                    <a:lnTo>
                      <a:pt x="493" y="1"/>
                    </a:lnTo>
                    <a:lnTo>
                      <a:pt x="438" y="5"/>
                    </a:lnTo>
                    <a:lnTo>
                      <a:pt x="386" y="13"/>
                    </a:lnTo>
                    <a:lnTo>
                      <a:pt x="335" y="22"/>
                    </a:lnTo>
                    <a:lnTo>
                      <a:pt x="287" y="33"/>
                    </a:lnTo>
                    <a:lnTo>
                      <a:pt x="241" y="47"/>
                    </a:lnTo>
                    <a:lnTo>
                      <a:pt x="199" y="62"/>
                    </a:lnTo>
                    <a:lnTo>
                      <a:pt x="180" y="71"/>
                    </a:lnTo>
                    <a:lnTo>
                      <a:pt x="161" y="80"/>
                    </a:lnTo>
                    <a:lnTo>
                      <a:pt x="142" y="90"/>
                    </a:lnTo>
                    <a:lnTo>
                      <a:pt x="126" y="101"/>
                    </a:lnTo>
                    <a:lnTo>
                      <a:pt x="109" y="111"/>
                    </a:lnTo>
                    <a:lnTo>
                      <a:pt x="94" y="121"/>
                    </a:lnTo>
                    <a:lnTo>
                      <a:pt x="80" y="132"/>
                    </a:lnTo>
                    <a:lnTo>
                      <a:pt x="66" y="144"/>
                    </a:lnTo>
                    <a:lnTo>
                      <a:pt x="54" y="155"/>
                    </a:lnTo>
                    <a:lnTo>
                      <a:pt x="43" y="168"/>
                    </a:lnTo>
                    <a:lnTo>
                      <a:pt x="33" y="181"/>
                    </a:lnTo>
                    <a:lnTo>
                      <a:pt x="24" y="193"/>
                    </a:lnTo>
                    <a:lnTo>
                      <a:pt x="18" y="206"/>
                    </a:lnTo>
                    <a:lnTo>
                      <a:pt x="11" y="219"/>
                    </a:lnTo>
                    <a:lnTo>
                      <a:pt x="6" y="233"/>
                    </a:lnTo>
                    <a:lnTo>
                      <a:pt x="2" y="247"/>
                    </a:lnTo>
                    <a:lnTo>
                      <a:pt x="1" y="261"/>
                    </a:lnTo>
                    <a:lnTo>
                      <a:pt x="0" y="275"/>
                    </a:lnTo>
                    <a:lnTo>
                      <a:pt x="91" y="275"/>
                    </a:lnTo>
                    <a:lnTo>
                      <a:pt x="91" y="275"/>
                    </a:lnTo>
                    <a:lnTo>
                      <a:pt x="91" y="263"/>
                    </a:lnTo>
                    <a:lnTo>
                      <a:pt x="94" y="252"/>
                    </a:lnTo>
                    <a:lnTo>
                      <a:pt x="96" y="240"/>
                    </a:lnTo>
                    <a:lnTo>
                      <a:pt x="100" y="229"/>
                    </a:lnTo>
                    <a:lnTo>
                      <a:pt x="105" y="217"/>
                    </a:lnTo>
                    <a:lnTo>
                      <a:pt x="112" y="206"/>
                    </a:lnTo>
                    <a:lnTo>
                      <a:pt x="119" y="196"/>
                    </a:lnTo>
                    <a:lnTo>
                      <a:pt x="127" y="186"/>
                    </a:lnTo>
                    <a:lnTo>
                      <a:pt x="136" y="176"/>
                    </a:lnTo>
                    <a:lnTo>
                      <a:pt x="146" y="165"/>
                    </a:lnTo>
                    <a:lnTo>
                      <a:pt x="157" y="156"/>
                    </a:lnTo>
                    <a:lnTo>
                      <a:pt x="169" y="146"/>
                    </a:lnTo>
                    <a:lnTo>
                      <a:pt x="196" y="130"/>
                    </a:lnTo>
                    <a:lnTo>
                      <a:pt x="225" y="113"/>
                    </a:lnTo>
                    <a:lnTo>
                      <a:pt x="258" y="98"/>
                    </a:lnTo>
                    <a:lnTo>
                      <a:pt x="293" y="85"/>
                    </a:lnTo>
                    <a:lnTo>
                      <a:pt x="330" y="74"/>
                    </a:lnTo>
                    <a:lnTo>
                      <a:pt x="371" y="64"/>
                    </a:lnTo>
                    <a:lnTo>
                      <a:pt x="413" y="56"/>
                    </a:lnTo>
                    <a:lnTo>
                      <a:pt x="456" y="51"/>
                    </a:lnTo>
                    <a:lnTo>
                      <a:pt x="502" y="47"/>
                    </a:lnTo>
                    <a:lnTo>
                      <a:pt x="549" y="46"/>
                    </a:lnTo>
                    <a:lnTo>
                      <a:pt x="549" y="46"/>
                    </a:lnTo>
                    <a:lnTo>
                      <a:pt x="596" y="47"/>
                    </a:lnTo>
                    <a:lnTo>
                      <a:pt x="642" y="51"/>
                    </a:lnTo>
                    <a:lnTo>
                      <a:pt x="685" y="56"/>
                    </a:lnTo>
                    <a:lnTo>
                      <a:pt x="727" y="64"/>
                    </a:lnTo>
                    <a:lnTo>
                      <a:pt x="768" y="74"/>
                    </a:lnTo>
                    <a:lnTo>
                      <a:pt x="805" y="85"/>
                    </a:lnTo>
                    <a:lnTo>
                      <a:pt x="840" y="98"/>
                    </a:lnTo>
                    <a:lnTo>
                      <a:pt x="873" y="113"/>
                    </a:lnTo>
                    <a:lnTo>
                      <a:pt x="902" y="130"/>
                    </a:lnTo>
                    <a:lnTo>
                      <a:pt x="929" y="146"/>
                    </a:lnTo>
                    <a:lnTo>
                      <a:pt x="941" y="156"/>
                    </a:lnTo>
                    <a:lnTo>
                      <a:pt x="952" y="165"/>
                    </a:lnTo>
                    <a:lnTo>
                      <a:pt x="961" y="176"/>
                    </a:lnTo>
                    <a:lnTo>
                      <a:pt x="971" y="186"/>
                    </a:lnTo>
                    <a:lnTo>
                      <a:pt x="979" y="196"/>
                    </a:lnTo>
                    <a:lnTo>
                      <a:pt x="986" y="206"/>
                    </a:lnTo>
                    <a:lnTo>
                      <a:pt x="993" y="217"/>
                    </a:lnTo>
                    <a:lnTo>
                      <a:pt x="998" y="229"/>
                    </a:lnTo>
                    <a:lnTo>
                      <a:pt x="1002" y="240"/>
                    </a:lnTo>
                    <a:lnTo>
                      <a:pt x="1004" y="252"/>
                    </a:lnTo>
                    <a:lnTo>
                      <a:pt x="1007" y="263"/>
                    </a:lnTo>
                    <a:lnTo>
                      <a:pt x="1007" y="275"/>
                    </a:lnTo>
                    <a:lnTo>
                      <a:pt x="1098" y="275"/>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6" name="Freeform 18"/>
              <p:cNvSpPr/>
              <p:nvPr/>
            </p:nvSpPr>
            <p:spPr bwMode="auto">
              <a:xfrm>
                <a:off x="1526" y="1598"/>
                <a:ext cx="916" cy="1327"/>
              </a:xfrm>
              <a:custGeom>
                <a:avLst/>
                <a:gdLst>
                  <a:gd name="T0" fmla="*/ 916 w 916"/>
                  <a:gd name="T1" fmla="*/ 229 h 1327"/>
                  <a:gd name="T2" fmla="*/ 913 w 916"/>
                  <a:gd name="T3" fmla="*/ 206 h 1327"/>
                  <a:gd name="T4" fmla="*/ 907 w 916"/>
                  <a:gd name="T5" fmla="*/ 183 h 1327"/>
                  <a:gd name="T6" fmla="*/ 895 w 916"/>
                  <a:gd name="T7" fmla="*/ 160 h 1327"/>
                  <a:gd name="T8" fmla="*/ 880 w 916"/>
                  <a:gd name="T9" fmla="*/ 140 h 1327"/>
                  <a:gd name="T10" fmla="*/ 861 w 916"/>
                  <a:gd name="T11" fmla="*/ 119 h 1327"/>
                  <a:gd name="T12" fmla="*/ 838 w 916"/>
                  <a:gd name="T13" fmla="*/ 100 h 1327"/>
                  <a:gd name="T14" fmla="*/ 782 w 916"/>
                  <a:gd name="T15" fmla="*/ 67 h 1327"/>
                  <a:gd name="T16" fmla="*/ 714 w 916"/>
                  <a:gd name="T17" fmla="*/ 39 h 1327"/>
                  <a:gd name="T18" fmla="*/ 636 w 916"/>
                  <a:gd name="T19" fmla="*/ 18 h 1327"/>
                  <a:gd name="T20" fmla="*/ 551 w 916"/>
                  <a:gd name="T21" fmla="*/ 5 h 1327"/>
                  <a:gd name="T22" fmla="*/ 458 w 916"/>
                  <a:gd name="T23" fmla="*/ 0 h 1327"/>
                  <a:gd name="T24" fmla="*/ 411 w 916"/>
                  <a:gd name="T25" fmla="*/ 1 h 1327"/>
                  <a:gd name="T26" fmla="*/ 322 w 916"/>
                  <a:gd name="T27" fmla="*/ 10 h 1327"/>
                  <a:gd name="T28" fmla="*/ 239 w 916"/>
                  <a:gd name="T29" fmla="*/ 28 h 1327"/>
                  <a:gd name="T30" fmla="*/ 167 w 916"/>
                  <a:gd name="T31" fmla="*/ 52 h 1327"/>
                  <a:gd name="T32" fmla="*/ 105 w 916"/>
                  <a:gd name="T33" fmla="*/ 84 h 1327"/>
                  <a:gd name="T34" fmla="*/ 66 w 916"/>
                  <a:gd name="T35" fmla="*/ 110 h 1327"/>
                  <a:gd name="T36" fmla="*/ 45 w 916"/>
                  <a:gd name="T37" fmla="*/ 130 h 1327"/>
                  <a:gd name="T38" fmla="*/ 28 w 916"/>
                  <a:gd name="T39" fmla="*/ 150 h 1327"/>
                  <a:gd name="T40" fmla="*/ 14 w 916"/>
                  <a:gd name="T41" fmla="*/ 171 h 1327"/>
                  <a:gd name="T42" fmla="*/ 5 w 916"/>
                  <a:gd name="T43" fmla="*/ 194 h 1327"/>
                  <a:gd name="T44" fmla="*/ 0 w 916"/>
                  <a:gd name="T45" fmla="*/ 217 h 1327"/>
                  <a:gd name="T46" fmla="*/ 0 w 916"/>
                  <a:gd name="T47" fmla="*/ 1327 h 1327"/>
                  <a:gd name="T48" fmla="*/ 0 w 916"/>
                  <a:gd name="T49" fmla="*/ 1315 h 1327"/>
                  <a:gd name="T50" fmla="*/ 5 w 916"/>
                  <a:gd name="T51" fmla="*/ 1293 h 1327"/>
                  <a:gd name="T52" fmla="*/ 14 w 916"/>
                  <a:gd name="T53" fmla="*/ 1270 h 1327"/>
                  <a:gd name="T54" fmla="*/ 28 w 916"/>
                  <a:gd name="T55" fmla="*/ 1248 h 1327"/>
                  <a:gd name="T56" fmla="*/ 45 w 916"/>
                  <a:gd name="T57" fmla="*/ 1228 h 1327"/>
                  <a:gd name="T58" fmla="*/ 66 w 916"/>
                  <a:gd name="T59" fmla="*/ 1209 h 1327"/>
                  <a:gd name="T60" fmla="*/ 105 w 916"/>
                  <a:gd name="T61" fmla="*/ 1182 h 1327"/>
                  <a:gd name="T62" fmla="*/ 167 w 916"/>
                  <a:gd name="T63" fmla="*/ 1150 h 1327"/>
                  <a:gd name="T64" fmla="*/ 239 w 916"/>
                  <a:gd name="T65" fmla="*/ 1126 h 1327"/>
                  <a:gd name="T66" fmla="*/ 322 w 916"/>
                  <a:gd name="T67" fmla="*/ 1108 h 1327"/>
                  <a:gd name="T68" fmla="*/ 411 w 916"/>
                  <a:gd name="T69" fmla="*/ 1099 h 1327"/>
                  <a:gd name="T70" fmla="*/ 458 w 916"/>
                  <a:gd name="T71" fmla="*/ 1098 h 1327"/>
                  <a:gd name="T72" fmla="*/ 551 w 916"/>
                  <a:gd name="T73" fmla="*/ 1103 h 1327"/>
                  <a:gd name="T74" fmla="*/ 636 w 916"/>
                  <a:gd name="T75" fmla="*/ 1116 h 1327"/>
                  <a:gd name="T76" fmla="*/ 714 w 916"/>
                  <a:gd name="T77" fmla="*/ 1137 h 1327"/>
                  <a:gd name="T78" fmla="*/ 782 w 916"/>
                  <a:gd name="T79" fmla="*/ 1165 h 1327"/>
                  <a:gd name="T80" fmla="*/ 838 w 916"/>
                  <a:gd name="T81" fmla="*/ 1198 h 1327"/>
                  <a:gd name="T82" fmla="*/ 861 w 916"/>
                  <a:gd name="T83" fmla="*/ 1218 h 1327"/>
                  <a:gd name="T84" fmla="*/ 880 w 916"/>
                  <a:gd name="T85" fmla="*/ 1238 h 1327"/>
                  <a:gd name="T86" fmla="*/ 895 w 916"/>
                  <a:gd name="T87" fmla="*/ 1258 h 1327"/>
                  <a:gd name="T88" fmla="*/ 907 w 916"/>
                  <a:gd name="T89" fmla="*/ 1281 h 1327"/>
                  <a:gd name="T90" fmla="*/ 913 w 916"/>
                  <a:gd name="T91" fmla="*/ 1304 h 1327"/>
                  <a:gd name="T92" fmla="*/ 916 w 916"/>
                  <a:gd name="T93" fmla="*/ 1327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16" h="1327">
                    <a:moveTo>
                      <a:pt x="916" y="229"/>
                    </a:moveTo>
                    <a:lnTo>
                      <a:pt x="916" y="229"/>
                    </a:lnTo>
                    <a:lnTo>
                      <a:pt x="916" y="217"/>
                    </a:lnTo>
                    <a:lnTo>
                      <a:pt x="913" y="206"/>
                    </a:lnTo>
                    <a:lnTo>
                      <a:pt x="911" y="194"/>
                    </a:lnTo>
                    <a:lnTo>
                      <a:pt x="907" y="183"/>
                    </a:lnTo>
                    <a:lnTo>
                      <a:pt x="902" y="171"/>
                    </a:lnTo>
                    <a:lnTo>
                      <a:pt x="895" y="160"/>
                    </a:lnTo>
                    <a:lnTo>
                      <a:pt x="888" y="150"/>
                    </a:lnTo>
                    <a:lnTo>
                      <a:pt x="880" y="140"/>
                    </a:lnTo>
                    <a:lnTo>
                      <a:pt x="870" y="130"/>
                    </a:lnTo>
                    <a:lnTo>
                      <a:pt x="861" y="119"/>
                    </a:lnTo>
                    <a:lnTo>
                      <a:pt x="850" y="110"/>
                    </a:lnTo>
                    <a:lnTo>
                      <a:pt x="838" y="100"/>
                    </a:lnTo>
                    <a:lnTo>
                      <a:pt x="811" y="84"/>
                    </a:lnTo>
                    <a:lnTo>
                      <a:pt x="782" y="67"/>
                    </a:lnTo>
                    <a:lnTo>
                      <a:pt x="749" y="52"/>
                    </a:lnTo>
                    <a:lnTo>
                      <a:pt x="714" y="39"/>
                    </a:lnTo>
                    <a:lnTo>
                      <a:pt x="677" y="28"/>
                    </a:lnTo>
                    <a:lnTo>
                      <a:pt x="636" y="18"/>
                    </a:lnTo>
                    <a:lnTo>
                      <a:pt x="594" y="10"/>
                    </a:lnTo>
                    <a:lnTo>
                      <a:pt x="551" y="5"/>
                    </a:lnTo>
                    <a:lnTo>
                      <a:pt x="505" y="1"/>
                    </a:lnTo>
                    <a:lnTo>
                      <a:pt x="458" y="0"/>
                    </a:lnTo>
                    <a:lnTo>
                      <a:pt x="458" y="0"/>
                    </a:lnTo>
                    <a:lnTo>
                      <a:pt x="411" y="1"/>
                    </a:lnTo>
                    <a:lnTo>
                      <a:pt x="365" y="5"/>
                    </a:lnTo>
                    <a:lnTo>
                      <a:pt x="322" y="10"/>
                    </a:lnTo>
                    <a:lnTo>
                      <a:pt x="280" y="18"/>
                    </a:lnTo>
                    <a:lnTo>
                      <a:pt x="239" y="28"/>
                    </a:lnTo>
                    <a:lnTo>
                      <a:pt x="202" y="39"/>
                    </a:lnTo>
                    <a:lnTo>
                      <a:pt x="167" y="52"/>
                    </a:lnTo>
                    <a:lnTo>
                      <a:pt x="134" y="67"/>
                    </a:lnTo>
                    <a:lnTo>
                      <a:pt x="105" y="84"/>
                    </a:lnTo>
                    <a:lnTo>
                      <a:pt x="78" y="100"/>
                    </a:lnTo>
                    <a:lnTo>
                      <a:pt x="66" y="110"/>
                    </a:lnTo>
                    <a:lnTo>
                      <a:pt x="55" y="119"/>
                    </a:lnTo>
                    <a:lnTo>
                      <a:pt x="45" y="130"/>
                    </a:lnTo>
                    <a:lnTo>
                      <a:pt x="36" y="140"/>
                    </a:lnTo>
                    <a:lnTo>
                      <a:pt x="28" y="150"/>
                    </a:lnTo>
                    <a:lnTo>
                      <a:pt x="21" y="160"/>
                    </a:lnTo>
                    <a:lnTo>
                      <a:pt x="14" y="171"/>
                    </a:lnTo>
                    <a:lnTo>
                      <a:pt x="9" y="183"/>
                    </a:lnTo>
                    <a:lnTo>
                      <a:pt x="5" y="194"/>
                    </a:lnTo>
                    <a:lnTo>
                      <a:pt x="3" y="206"/>
                    </a:lnTo>
                    <a:lnTo>
                      <a:pt x="0" y="217"/>
                    </a:lnTo>
                    <a:lnTo>
                      <a:pt x="0" y="229"/>
                    </a:lnTo>
                    <a:lnTo>
                      <a:pt x="0" y="1327"/>
                    </a:lnTo>
                    <a:lnTo>
                      <a:pt x="0" y="1327"/>
                    </a:lnTo>
                    <a:lnTo>
                      <a:pt x="0" y="1315"/>
                    </a:lnTo>
                    <a:lnTo>
                      <a:pt x="3" y="1304"/>
                    </a:lnTo>
                    <a:lnTo>
                      <a:pt x="5" y="1293"/>
                    </a:lnTo>
                    <a:lnTo>
                      <a:pt x="9" y="1281"/>
                    </a:lnTo>
                    <a:lnTo>
                      <a:pt x="14" y="1270"/>
                    </a:lnTo>
                    <a:lnTo>
                      <a:pt x="21" y="1258"/>
                    </a:lnTo>
                    <a:lnTo>
                      <a:pt x="28" y="1248"/>
                    </a:lnTo>
                    <a:lnTo>
                      <a:pt x="36" y="1238"/>
                    </a:lnTo>
                    <a:lnTo>
                      <a:pt x="45" y="1228"/>
                    </a:lnTo>
                    <a:lnTo>
                      <a:pt x="55" y="1218"/>
                    </a:lnTo>
                    <a:lnTo>
                      <a:pt x="66" y="1209"/>
                    </a:lnTo>
                    <a:lnTo>
                      <a:pt x="78" y="1198"/>
                    </a:lnTo>
                    <a:lnTo>
                      <a:pt x="105" y="1182"/>
                    </a:lnTo>
                    <a:lnTo>
                      <a:pt x="134" y="1165"/>
                    </a:lnTo>
                    <a:lnTo>
                      <a:pt x="167" y="1150"/>
                    </a:lnTo>
                    <a:lnTo>
                      <a:pt x="202" y="1137"/>
                    </a:lnTo>
                    <a:lnTo>
                      <a:pt x="239" y="1126"/>
                    </a:lnTo>
                    <a:lnTo>
                      <a:pt x="280" y="1116"/>
                    </a:lnTo>
                    <a:lnTo>
                      <a:pt x="322" y="1108"/>
                    </a:lnTo>
                    <a:lnTo>
                      <a:pt x="365" y="1103"/>
                    </a:lnTo>
                    <a:lnTo>
                      <a:pt x="411" y="1099"/>
                    </a:lnTo>
                    <a:lnTo>
                      <a:pt x="458" y="1098"/>
                    </a:lnTo>
                    <a:lnTo>
                      <a:pt x="458" y="1098"/>
                    </a:lnTo>
                    <a:lnTo>
                      <a:pt x="505" y="1099"/>
                    </a:lnTo>
                    <a:lnTo>
                      <a:pt x="551" y="1103"/>
                    </a:lnTo>
                    <a:lnTo>
                      <a:pt x="594" y="1108"/>
                    </a:lnTo>
                    <a:lnTo>
                      <a:pt x="636" y="1116"/>
                    </a:lnTo>
                    <a:lnTo>
                      <a:pt x="677" y="1126"/>
                    </a:lnTo>
                    <a:lnTo>
                      <a:pt x="714" y="1137"/>
                    </a:lnTo>
                    <a:lnTo>
                      <a:pt x="749" y="1150"/>
                    </a:lnTo>
                    <a:lnTo>
                      <a:pt x="782" y="1165"/>
                    </a:lnTo>
                    <a:lnTo>
                      <a:pt x="811" y="1182"/>
                    </a:lnTo>
                    <a:lnTo>
                      <a:pt x="838" y="1198"/>
                    </a:lnTo>
                    <a:lnTo>
                      <a:pt x="850" y="1209"/>
                    </a:lnTo>
                    <a:lnTo>
                      <a:pt x="861" y="1218"/>
                    </a:lnTo>
                    <a:lnTo>
                      <a:pt x="870" y="1228"/>
                    </a:lnTo>
                    <a:lnTo>
                      <a:pt x="880" y="1238"/>
                    </a:lnTo>
                    <a:lnTo>
                      <a:pt x="888" y="1248"/>
                    </a:lnTo>
                    <a:lnTo>
                      <a:pt x="895" y="1258"/>
                    </a:lnTo>
                    <a:lnTo>
                      <a:pt x="902" y="1270"/>
                    </a:lnTo>
                    <a:lnTo>
                      <a:pt x="907" y="1281"/>
                    </a:lnTo>
                    <a:lnTo>
                      <a:pt x="911" y="1293"/>
                    </a:lnTo>
                    <a:lnTo>
                      <a:pt x="913" y="1304"/>
                    </a:lnTo>
                    <a:lnTo>
                      <a:pt x="916" y="1315"/>
                    </a:lnTo>
                    <a:lnTo>
                      <a:pt x="916" y="1327"/>
                    </a:lnTo>
                    <a:lnTo>
                      <a:pt x="916" y="229"/>
                    </a:lnTo>
                    <a:close/>
                  </a:path>
                </a:pathLst>
              </a:custGeom>
              <a:solidFill>
                <a:schemeClr val="tx2">
                  <a:lumMod val="75000"/>
                </a:schemeClr>
              </a:solidFill>
              <a:ln>
                <a:noFill/>
              </a:ln>
              <a:extLst>
                <a:ext uri="{91240B29-F687-4F45-9708-019B960494DF}">
                  <a14:hiddenLine xmlns:a14="http://schemas.microsoft.com/office/drawing/2010/main" w="8001">
                    <a:solidFill>
                      <a:srgbClr val="000000"/>
                    </a:solidFill>
                    <a:prstDash val="solid"/>
                    <a:round/>
                  </a14:hiddenLine>
                </a:ext>
              </a:extLst>
            </p:spPr>
            <p:txBody>
              <a:bodyPr/>
              <a:lstStyle/>
              <a:p>
                <a:endParaRPr lang="zh-CN" altLang="en-US"/>
              </a:p>
            </p:txBody>
          </p:sp>
        </p:grpSp>
        <p:grpSp>
          <p:nvGrpSpPr>
            <p:cNvPr id="33" name="Group 19"/>
            <p:cNvGrpSpPr/>
            <p:nvPr/>
          </p:nvGrpSpPr>
          <p:grpSpPr bwMode="auto">
            <a:xfrm>
              <a:off x="2239963" y="1203598"/>
              <a:ext cx="1162050" cy="2905125"/>
              <a:chOff x="1618" y="1278"/>
              <a:chExt cx="732" cy="1830"/>
            </a:xfrm>
          </p:grpSpPr>
          <p:sp>
            <p:nvSpPr>
              <p:cNvPr id="43" name="Freeform 20"/>
              <p:cNvSpPr/>
              <p:nvPr/>
            </p:nvSpPr>
            <p:spPr bwMode="auto">
              <a:xfrm>
                <a:off x="1618" y="1278"/>
                <a:ext cx="732" cy="1830"/>
              </a:xfrm>
              <a:custGeom>
                <a:avLst/>
                <a:gdLst>
                  <a:gd name="T0" fmla="*/ 732 w 732"/>
                  <a:gd name="T1" fmla="*/ 183 h 1830"/>
                  <a:gd name="T2" fmla="*/ 731 w 732"/>
                  <a:gd name="T3" fmla="*/ 164 h 1830"/>
                  <a:gd name="T4" fmla="*/ 725 w 732"/>
                  <a:gd name="T5" fmla="*/ 146 h 1830"/>
                  <a:gd name="T6" fmla="*/ 716 w 732"/>
                  <a:gd name="T7" fmla="*/ 128 h 1830"/>
                  <a:gd name="T8" fmla="*/ 688 w 732"/>
                  <a:gd name="T9" fmla="*/ 95 h 1830"/>
                  <a:gd name="T10" fmla="*/ 648 w 732"/>
                  <a:gd name="T11" fmla="*/ 66 h 1830"/>
                  <a:gd name="T12" fmla="*/ 599 w 732"/>
                  <a:gd name="T13" fmla="*/ 41 h 1830"/>
                  <a:gd name="T14" fmla="*/ 540 w 732"/>
                  <a:gd name="T15" fmla="*/ 21 h 1830"/>
                  <a:gd name="T16" fmla="*/ 475 w 732"/>
                  <a:gd name="T17" fmla="*/ 7 h 1830"/>
                  <a:gd name="T18" fmla="*/ 403 w 732"/>
                  <a:gd name="T19" fmla="*/ 1 h 1830"/>
                  <a:gd name="T20" fmla="*/ 366 w 732"/>
                  <a:gd name="T21" fmla="*/ 0 h 1830"/>
                  <a:gd name="T22" fmla="*/ 292 w 732"/>
                  <a:gd name="T23" fmla="*/ 3 h 1830"/>
                  <a:gd name="T24" fmla="*/ 224 w 732"/>
                  <a:gd name="T25" fmla="*/ 14 h 1830"/>
                  <a:gd name="T26" fmla="*/ 161 w 732"/>
                  <a:gd name="T27" fmla="*/ 31 h 1830"/>
                  <a:gd name="T28" fmla="*/ 107 w 732"/>
                  <a:gd name="T29" fmla="*/ 53 h 1830"/>
                  <a:gd name="T30" fmla="*/ 62 w 732"/>
                  <a:gd name="T31" fmla="*/ 80 h 1830"/>
                  <a:gd name="T32" fmla="*/ 29 w 732"/>
                  <a:gd name="T33" fmla="*/ 111 h 1830"/>
                  <a:gd name="T34" fmla="*/ 11 w 732"/>
                  <a:gd name="T35" fmla="*/ 137 h 1830"/>
                  <a:gd name="T36" fmla="*/ 4 w 732"/>
                  <a:gd name="T37" fmla="*/ 155 h 1830"/>
                  <a:gd name="T38" fmla="*/ 0 w 732"/>
                  <a:gd name="T39" fmla="*/ 174 h 1830"/>
                  <a:gd name="T40" fmla="*/ 0 w 732"/>
                  <a:gd name="T41" fmla="*/ 1647 h 1830"/>
                  <a:gd name="T42" fmla="*/ 0 w 732"/>
                  <a:gd name="T43" fmla="*/ 1656 h 1830"/>
                  <a:gd name="T44" fmla="*/ 4 w 732"/>
                  <a:gd name="T45" fmla="*/ 1675 h 1830"/>
                  <a:gd name="T46" fmla="*/ 11 w 732"/>
                  <a:gd name="T47" fmla="*/ 1693 h 1830"/>
                  <a:gd name="T48" fmla="*/ 29 w 732"/>
                  <a:gd name="T49" fmla="*/ 1718 h 1830"/>
                  <a:gd name="T50" fmla="*/ 62 w 732"/>
                  <a:gd name="T51" fmla="*/ 1750 h 1830"/>
                  <a:gd name="T52" fmla="*/ 107 w 732"/>
                  <a:gd name="T53" fmla="*/ 1777 h 1830"/>
                  <a:gd name="T54" fmla="*/ 161 w 732"/>
                  <a:gd name="T55" fmla="*/ 1798 h 1830"/>
                  <a:gd name="T56" fmla="*/ 224 w 732"/>
                  <a:gd name="T57" fmla="*/ 1816 h 1830"/>
                  <a:gd name="T58" fmla="*/ 292 w 732"/>
                  <a:gd name="T59" fmla="*/ 1826 h 1830"/>
                  <a:gd name="T60" fmla="*/ 366 w 732"/>
                  <a:gd name="T61" fmla="*/ 1830 h 1830"/>
                  <a:gd name="T62" fmla="*/ 403 w 732"/>
                  <a:gd name="T63" fmla="*/ 1829 h 1830"/>
                  <a:gd name="T64" fmla="*/ 475 w 732"/>
                  <a:gd name="T65" fmla="*/ 1822 h 1830"/>
                  <a:gd name="T66" fmla="*/ 540 w 732"/>
                  <a:gd name="T67" fmla="*/ 1808 h 1830"/>
                  <a:gd name="T68" fmla="*/ 599 w 732"/>
                  <a:gd name="T69" fmla="*/ 1788 h 1830"/>
                  <a:gd name="T70" fmla="*/ 648 w 732"/>
                  <a:gd name="T71" fmla="*/ 1764 h 1830"/>
                  <a:gd name="T72" fmla="*/ 688 w 732"/>
                  <a:gd name="T73" fmla="*/ 1735 h 1830"/>
                  <a:gd name="T74" fmla="*/ 716 w 732"/>
                  <a:gd name="T75" fmla="*/ 1702 h 1830"/>
                  <a:gd name="T76" fmla="*/ 725 w 732"/>
                  <a:gd name="T77" fmla="*/ 1684 h 1830"/>
                  <a:gd name="T78" fmla="*/ 731 w 732"/>
                  <a:gd name="T79" fmla="*/ 1666 h 1830"/>
                  <a:gd name="T80" fmla="*/ 732 w 732"/>
                  <a:gd name="T81" fmla="*/ 164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32" h="1830">
                    <a:moveTo>
                      <a:pt x="732" y="183"/>
                    </a:moveTo>
                    <a:lnTo>
                      <a:pt x="732" y="183"/>
                    </a:lnTo>
                    <a:lnTo>
                      <a:pt x="732" y="174"/>
                    </a:lnTo>
                    <a:lnTo>
                      <a:pt x="731" y="164"/>
                    </a:lnTo>
                    <a:lnTo>
                      <a:pt x="728" y="155"/>
                    </a:lnTo>
                    <a:lnTo>
                      <a:pt x="725" y="146"/>
                    </a:lnTo>
                    <a:lnTo>
                      <a:pt x="721" y="137"/>
                    </a:lnTo>
                    <a:lnTo>
                      <a:pt x="716" y="128"/>
                    </a:lnTo>
                    <a:lnTo>
                      <a:pt x="703" y="111"/>
                    </a:lnTo>
                    <a:lnTo>
                      <a:pt x="688" y="95"/>
                    </a:lnTo>
                    <a:lnTo>
                      <a:pt x="670" y="80"/>
                    </a:lnTo>
                    <a:lnTo>
                      <a:pt x="648" y="66"/>
                    </a:lnTo>
                    <a:lnTo>
                      <a:pt x="625" y="53"/>
                    </a:lnTo>
                    <a:lnTo>
                      <a:pt x="599" y="41"/>
                    </a:lnTo>
                    <a:lnTo>
                      <a:pt x="571" y="31"/>
                    </a:lnTo>
                    <a:lnTo>
                      <a:pt x="540" y="21"/>
                    </a:lnTo>
                    <a:lnTo>
                      <a:pt x="508" y="14"/>
                    </a:lnTo>
                    <a:lnTo>
                      <a:pt x="475" y="7"/>
                    </a:lnTo>
                    <a:lnTo>
                      <a:pt x="440" y="3"/>
                    </a:lnTo>
                    <a:lnTo>
                      <a:pt x="403" y="1"/>
                    </a:lnTo>
                    <a:lnTo>
                      <a:pt x="366" y="0"/>
                    </a:lnTo>
                    <a:lnTo>
                      <a:pt x="366" y="0"/>
                    </a:lnTo>
                    <a:lnTo>
                      <a:pt x="329" y="1"/>
                    </a:lnTo>
                    <a:lnTo>
                      <a:pt x="292" y="3"/>
                    </a:lnTo>
                    <a:lnTo>
                      <a:pt x="257" y="7"/>
                    </a:lnTo>
                    <a:lnTo>
                      <a:pt x="224" y="14"/>
                    </a:lnTo>
                    <a:lnTo>
                      <a:pt x="192" y="21"/>
                    </a:lnTo>
                    <a:lnTo>
                      <a:pt x="161" y="31"/>
                    </a:lnTo>
                    <a:lnTo>
                      <a:pt x="133" y="41"/>
                    </a:lnTo>
                    <a:lnTo>
                      <a:pt x="107" y="53"/>
                    </a:lnTo>
                    <a:lnTo>
                      <a:pt x="84" y="66"/>
                    </a:lnTo>
                    <a:lnTo>
                      <a:pt x="62" y="80"/>
                    </a:lnTo>
                    <a:lnTo>
                      <a:pt x="44" y="95"/>
                    </a:lnTo>
                    <a:lnTo>
                      <a:pt x="29" y="111"/>
                    </a:lnTo>
                    <a:lnTo>
                      <a:pt x="16" y="128"/>
                    </a:lnTo>
                    <a:lnTo>
                      <a:pt x="11" y="137"/>
                    </a:lnTo>
                    <a:lnTo>
                      <a:pt x="7" y="146"/>
                    </a:lnTo>
                    <a:lnTo>
                      <a:pt x="4" y="155"/>
                    </a:lnTo>
                    <a:lnTo>
                      <a:pt x="1" y="164"/>
                    </a:lnTo>
                    <a:lnTo>
                      <a:pt x="0" y="174"/>
                    </a:lnTo>
                    <a:lnTo>
                      <a:pt x="0" y="183"/>
                    </a:lnTo>
                    <a:lnTo>
                      <a:pt x="0" y="1647"/>
                    </a:lnTo>
                    <a:lnTo>
                      <a:pt x="0" y="1647"/>
                    </a:lnTo>
                    <a:lnTo>
                      <a:pt x="0" y="1656"/>
                    </a:lnTo>
                    <a:lnTo>
                      <a:pt x="1" y="1666"/>
                    </a:lnTo>
                    <a:lnTo>
                      <a:pt x="4" y="1675"/>
                    </a:lnTo>
                    <a:lnTo>
                      <a:pt x="7" y="1684"/>
                    </a:lnTo>
                    <a:lnTo>
                      <a:pt x="11" y="1693"/>
                    </a:lnTo>
                    <a:lnTo>
                      <a:pt x="16" y="1702"/>
                    </a:lnTo>
                    <a:lnTo>
                      <a:pt x="29" y="1718"/>
                    </a:lnTo>
                    <a:lnTo>
                      <a:pt x="44" y="1735"/>
                    </a:lnTo>
                    <a:lnTo>
                      <a:pt x="62" y="1750"/>
                    </a:lnTo>
                    <a:lnTo>
                      <a:pt x="84" y="1764"/>
                    </a:lnTo>
                    <a:lnTo>
                      <a:pt x="107" y="1777"/>
                    </a:lnTo>
                    <a:lnTo>
                      <a:pt x="133" y="1788"/>
                    </a:lnTo>
                    <a:lnTo>
                      <a:pt x="161" y="1798"/>
                    </a:lnTo>
                    <a:lnTo>
                      <a:pt x="192" y="1808"/>
                    </a:lnTo>
                    <a:lnTo>
                      <a:pt x="224" y="1816"/>
                    </a:lnTo>
                    <a:lnTo>
                      <a:pt x="257" y="1822"/>
                    </a:lnTo>
                    <a:lnTo>
                      <a:pt x="292" y="1826"/>
                    </a:lnTo>
                    <a:lnTo>
                      <a:pt x="329" y="1829"/>
                    </a:lnTo>
                    <a:lnTo>
                      <a:pt x="366" y="1830"/>
                    </a:lnTo>
                    <a:lnTo>
                      <a:pt x="366" y="1830"/>
                    </a:lnTo>
                    <a:lnTo>
                      <a:pt x="403" y="1829"/>
                    </a:lnTo>
                    <a:lnTo>
                      <a:pt x="440" y="1826"/>
                    </a:lnTo>
                    <a:lnTo>
                      <a:pt x="475" y="1822"/>
                    </a:lnTo>
                    <a:lnTo>
                      <a:pt x="508" y="1816"/>
                    </a:lnTo>
                    <a:lnTo>
                      <a:pt x="540" y="1808"/>
                    </a:lnTo>
                    <a:lnTo>
                      <a:pt x="571" y="1798"/>
                    </a:lnTo>
                    <a:lnTo>
                      <a:pt x="599" y="1788"/>
                    </a:lnTo>
                    <a:lnTo>
                      <a:pt x="625" y="1777"/>
                    </a:lnTo>
                    <a:lnTo>
                      <a:pt x="648" y="1764"/>
                    </a:lnTo>
                    <a:lnTo>
                      <a:pt x="670" y="1750"/>
                    </a:lnTo>
                    <a:lnTo>
                      <a:pt x="688" y="1735"/>
                    </a:lnTo>
                    <a:lnTo>
                      <a:pt x="703" y="1718"/>
                    </a:lnTo>
                    <a:lnTo>
                      <a:pt x="716" y="1702"/>
                    </a:lnTo>
                    <a:lnTo>
                      <a:pt x="721" y="1693"/>
                    </a:lnTo>
                    <a:lnTo>
                      <a:pt x="725" y="1684"/>
                    </a:lnTo>
                    <a:lnTo>
                      <a:pt x="728" y="1675"/>
                    </a:lnTo>
                    <a:lnTo>
                      <a:pt x="731" y="1666"/>
                    </a:lnTo>
                    <a:lnTo>
                      <a:pt x="732" y="1656"/>
                    </a:lnTo>
                    <a:lnTo>
                      <a:pt x="732" y="1647"/>
                    </a:lnTo>
                    <a:lnTo>
                      <a:pt x="732" y="183"/>
                    </a:lnTo>
                    <a:close/>
                  </a:path>
                </a:pathLst>
              </a:custGeom>
              <a:gradFill rotWithShape="1">
                <a:gsLst>
                  <a:gs pos="0">
                    <a:schemeClr val="bg2"/>
                  </a:gs>
                  <a:gs pos="50000">
                    <a:srgbClr val="03A550"/>
                  </a:gs>
                  <a:gs pos="100000">
                    <a:schemeClr val="bg2"/>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4" name="Freeform 21"/>
              <p:cNvSpPr/>
              <p:nvPr/>
            </p:nvSpPr>
            <p:spPr bwMode="auto">
              <a:xfrm>
                <a:off x="1618" y="1278"/>
                <a:ext cx="732" cy="366"/>
              </a:xfrm>
              <a:custGeom>
                <a:avLst/>
                <a:gdLst>
                  <a:gd name="T0" fmla="*/ 732 w 732"/>
                  <a:gd name="T1" fmla="*/ 183 h 366"/>
                  <a:gd name="T2" fmla="*/ 731 w 732"/>
                  <a:gd name="T3" fmla="*/ 202 h 366"/>
                  <a:gd name="T4" fmla="*/ 725 w 732"/>
                  <a:gd name="T5" fmla="*/ 219 h 366"/>
                  <a:gd name="T6" fmla="*/ 716 w 732"/>
                  <a:gd name="T7" fmla="*/ 237 h 366"/>
                  <a:gd name="T8" fmla="*/ 688 w 732"/>
                  <a:gd name="T9" fmla="*/ 270 h 366"/>
                  <a:gd name="T10" fmla="*/ 648 w 732"/>
                  <a:gd name="T11" fmla="*/ 300 h 366"/>
                  <a:gd name="T12" fmla="*/ 599 w 732"/>
                  <a:gd name="T13" fmla="*/ 324 h 366"/>
                  <a:gd name="T14" fmla="*/ 540 w 732"/>
                  <a:gd name="T15" fmla="*/ 344 h 366"/>
                  <a:gd name="T16" fmla="*/ 475 w 732"/>
                  <a:gd name="T17" fmla="*/ 358 h 366"/>
                  <a:gd name="T18" fmla="*/ 403 w 732"/>
                  <a:gd name="T19" fmla="*/ 364 h 366"/>
                  <a:gd name="T20" fmla="*/ 366 w 732"/>
                  <a:gd name="T21" fmla="*/ 366 h 366"/>
                  <a:gd name="T22" fmla="*/ 292 w 732"/>
                  <a:gd name="T23" fmla="*/ 362 h 366"/>
                  <a:gd name="T24" fmla="*/ 224 w 732"/>
                  <a:gd name="T25" fmla="*/ 352 h 366"/>
                  <a:gd name="T26" fmla="*/ 161 w 732"/>
                  <a:gd name="T27" fmla="*/ 334 h 366"/>
                  <a:gd name="T28" fmla="*/ 107 w 732"/>
                  <a:gd name="T29" fmla="*/ 312 h 366"/>
                  <a:gd name="T30" fmla="*/ 62 w 732"/>
                  <a:gd name="T31" fmla="*/ 286 h 366"/>
                  <a:gd name="T32" fmla="*/ 29 w 732"/>
                  <a:gd name="T33" fmla="*/ 254 h 366"/>
                  <a:gd name="T34" fmla="*/ 11 w 732"/>
                  <a:gd name="T35" fmla="*/ 228 h 366"/>
                  <a:gd name="T36" fmla="*/ 4 w 732"/>
                  <a:gd name="T37" fmla="*/ 211 h 366"/>
                  <a:gd name="T38" fmla="*/ 0 w 732"/>
                  <a:gd name="T39" fmla="*/ 191 h 366"/>
                  <a:gd name="T40" fmla="*/ 0 w 732"/>
                  <a:gd name="T41" fmla="*/ 183 h 366"/>
                  <a:gd name="T42" fmla="*/ 1 w 732"/>
                  <a:gd name="T43" fmla="*/ 164 h 366"/>
                  <a:gd name="T44" fmla="*/ 7 w 732"/>
                  <a:gd name="T45" fmla="*/ 146 h 366"/>
                  <a:gd name="T46" fmla="*/ 16 w 732"/>
                  <a:gd name="T47" fmla="*/ 128 h 366"/>
                  <a:gd name="T48" fmla="*/ 44 w 732"/>
                  <a:gd name="T49" fmla="*/ 95 h 366"/>
                  <a:gd name="T50" fmla="*/ 84 w 732"/>
                  <a:gd name="T51" fmla="*/ 66 h 366"/>
                  <a:gd name="T52" fmla="*/ 133 w 732"/>
                  <a:gd name="T53" fmla="*/ 41 h 366"/>
                  <a:gd name="T54" fmla="*/ 192 w 732"/>
                  <a:gd name="T55" fmla="*/ 21 h 366"/>
                  <a:gd name="T56" fmla="*/ 257 w 732"/>
                  <a:gd name="T57" fmla="*/ 7 h 366"/>
                  <a:gd name="T58" fmla="*/ 329 w 732"/>
                  <a:gd name="T59" fmla="*/ 1 h 366"/>
                  <a:gd name="T60" fmla="*/ 366 w 732"/>
                  <a:gd name="T61" fmla="*/ 0 h 366"/>
                  <a:gd name="T62" fmla="*/ 440 w 732"/>
                  <a:gd name="T63" fmla="*/ 3 h 366"/>
                  <a:gd name="T64" fmla="*/ 508 w 732"/>
                  <a:gd name="T65" fmla="*/ 14 h 366"/>
                  <a:gd name="T66" fmla="*/ 571 w 732"/>
                  <a:gd name="T67" fmla="*/ 31 h 366"/>
                  <a:gd name="T68" fmla="*/ 625 w 732"/>
                  <a:gd name="T69" fmla="*/ 53 h 366"/>
                  <a:gd name="T70" fmla="*/ 670 w 732"/>
                  <a:gd name="T71" fmla="*/ 80 h 366"/>
                  <a:gd name="T72" fmla="*/ 703 w 732"/>
                  <a:gd name="T73" fmla="*/ 111 h 366"/>
                  <a:gd name="T74" fmla="*/ 721 w 732"/>
                  <a:gd name="T75" fmla="*/ 137 h 366"/>
                  <a:gd name="T76" fmla="*/ 728 w 732"/>
                  <a:gd name="T77" fmla="*/ 155 h 366"/>
                  <a:gd name="T78" fmla="*/ 732 w 732"/>
                  <a:gd name="T79" fmla="*/ 174 h 366"/>
                  <a:gd name="T80" fmla="*/ 732 w 732"/>
                  <a:gd name="T81" fmla="*/ 183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32" h="366">
                    <a:moveTo>
                      <a:pt x="732" y="183"/>
                    </a:moveTo>
                    <a:lnTo>
                      <a:pt x="732" y="183"/>
                    </a:lnTo>
                    <a:lnTo>
                      <a:pt x="732" y="191"/>
                    </a:lnTo>
                    <a:lnTo>
                      <a:pt x="731" y="202"/>
                    </a:lnTo>
                    <a:lnTo>
                      <a:pt x="728" y="211"/>
                    </a:lnTo>
                    <a:lnTo>
                      <a:pt x="725" y="219"/>
                    </a:lnTo>
                    <a:lnTo>
                      <a:pt x="721" y="228"/>
                    </a:lnTo>
                    <a:lnTo>
                      <a:pt x="716" y="237"/>
                    </a:lnTo>
                    <a:lnTo>
                      <a:pt x="703" y="254"/>
                    </a:lnTo>
                    <a:lnTo>
                      <a:pt x="688" y="270"/>
                    </a:lnTo>
                    <a:lnTo>
                      <a:pt x="670" y="286"/>
                    </a:lnTo>
                    <a:lnTo>
                      <a:pt x="648" y="300"/>
                    </a:lnTo>
                    <a:lnTo>
                      <a:pt x="625" y="312"/>
                    </a:lnTo>
                    <a:lnTo>
                      <a:pt x="599" y="324"/>
                    </a:lnTo>
                    <a:lnTo>
                      <a:pt x="571" y="334"/>
                    </a:lnTo>
                    <a:lnTo>
                      <a:pt x="540" y="344"/>
                    </a:lnTo>
                    <a:lnTo>
                      <a:pt x="508" y="352"/>
                    </a:lnTo>
                    <a:lnTo>
                      <a:pt x="475" y="358"/>
                    </a:lnTo>
                    <a:lnTo>
                      <a:pt x="440" y="362"/>
                    </a:lnTo>
                    <a:lnTo>
                      <a:pt x="403" y="364"/>
                    </a:lnTo>
                    <a:lnTo>
                      <a:pt x="366" y="366"/>
                    </a:lnTo>
                    <a:lnTo>
                      <a:pt x="366" y="366"/>
                    </a:lnTo>
                    <a:lnTo>
                      <a:pt x="329" y="364"/>
                    </a:lnTo>
                    <a:lnTo>
                      <a:pt x="292" y="362"/>
                    </a:lnTo>
                    <a:lnTo>
                      <a:pt x="257" y="358"/>
                    </a:lnTo>
                    <a:lnTo>
                      <a:pt x="224" y="352"/>
                    </a:lnTo>
                    <a:lnTo>
                      <a:pt x="192" y="344"/>
                    </a:lnTo>
                    <a:lnTo>
                      <a:pt x="161" y="334"/>
                    </a:lnTo>
                    <a:lnTo>
                      <a:pt x="133" y="324"/>
                    </a:lnTo>
                    <a:lnTo>
                      <a:pt x="107" y="312"/>
                    </a:lnTo>
                    <a:lnTo>
                      <a:pt x="84" y="300"/>
                    </a:lnTo>
                    <a:lnTo>
                      <a:pt x="62" y="286"/>
                    </a:lnTo>
                    <a:lnTo>
                      <a:pt x="44" y="270"/>
                    </a:lnTo>
                    <a:lnTo>
                      <a:pt x="29" y="254"/>
                    </a:lnTo>
                    <a:lnTo>
                      <a:pt x="16" y="237"/>
                    </a:lnTo>
                    <a:lnTo>
                      <a:pt x="11" y="228"/>
                    </a:lnTo>
                    <a:lnTo>
                      <a:pt x="7" y="219"/>
                    </a:lnTo>
                    <a:lnTo>
                      <a:pt x="4" y="211"/>
                    </a:lnTo>
                    <a:lnTo>
                      <a:pt x="1" y="202"/>
                    </a:lnTo>
                    <a:lnTo>
                      <a:pt x="0" y="191"/>
                    </a:lnTo>
                    <a:lnTo>
                      <a:pt x="0" y="183"/>
                    </a:lnTo>
                    <a:lnTo>
                      <a:pt x="0" y="183"/>
                    </a:lnTo>
                    <a:lnTo>
                      <a:pt x="0" y="174"/>
                    </a:lnTo>
                    <a:lnTo>
                      <a:pt x="1" y="164"/>
                    </a:lnTo>
                    <a:lnTo>
                      <a:pt x="4" y="155"/>
                    </a:lnTo>
                    <a:lnTo>
                      <a:pt x="7" y="146"/>
                    </a:lnTo>
                    <a:lnTo>
                      <a:pt x="11" y="137"/>
                    </a:lnTo>
                    <a:lnTo>
                      <a:pt x="16" y="128"/>
                    </a:lnTo>
                    <a:lnTo>
                      <a:pt x="29" y="111"/>
                    </a:lnTo>
                    <a:lnTo>
                      <a:pt x="44" y="95"/>
                    </a:lnTo>
                    <a:lnTo>
                      <a:pt x="62" y="80"/>
                    </a:lnTo>
                    <a:lnTo>
                      <a:pt x="84" y="66"/>
                    </a:lnTo>
                    <a:lnTo>
                      <a:pt x="107" y="53"/>
                    </a:lnTo>
                    <a:lnTo>
                      <a:pt x="133" y="41"/>
                    </a:lnTo>
                    <a:lnTo>
                      <a:pt x="161" y="31"/>
                    </a:lnTo>
                    <a:lnTo>
                      <a:pt x="192" y="21"/>
                    </a:lnTo>
                    <a:lnTo>
                      <a:pt x="224" y="14"/>
                    </a:lnTo>
                    <a:lnTo>
                      <a:pt x="257" y="7"/>
                    </a:lnTo>
                    <a:lnTo>
                      <a:pt x="292" y="3"/>
                    </a:lnTo>
                    <a:lnTo>
                      <a:pt x="329" y="1"/>
                    </a:lnTo>
                    <a:lnTo>
                      <a:pt x="366" y="0"/>
                    </a:lnTo>
                    <a:lnTo>
                      <a:pt x="366" y="0"/>
                    </a:lnTo>
                    <a:lnTo>
                      <a:pt x="403" y="1"/>
                    </a:lnTo>
                    <a:lnTo>
                      <a:pt x="440" y="3"/>
                    </a:lnTo>
                    <a:lnTo>
                      <a:pt x="475" y="7"/>
                    </a:lnTo>
                    <a:lnTo>
                      <a:pt x="508" y="14"/>
                    </a:lnTo>
                    <a:lnTo>
                      <a:pt x="540" y="21"/>
                    </a:lnTo>
                    <a:lnTo>
                      <a:pt x="571" y="31"/>
                    </a:lnTo>
                    <a:lnTo>
                      <a:pt x="599" y="41"/>
                    </a:lnTo>
                    <a:lnTo>
                      <a:pt x="625" y="53"/>
                    </a:lnTo>
                    <a:lnTo>
                      <a:pt x="648" y="66"/>
                    </a:lnTo>
                    <a:lnTo>
                      <a:pt x="670" y="80"/>
                    </a:lnTo>
                    <a:lnTo>
                      <a:pt x="688" y="95"/>
                    </a:lnTo>
                    <a:lnTo>
                      <a:pt x="703" y="111"/>
                    </a:lnTo>
                    <a:lnTo>
                      <a:pt x="716" y="128"/>
                    </a:lnTo>
                    <a:lnTo>
                      <a:pt x="721" y="137"/>
                    </a:lnTo>
                    <a:lnTo>
                      <a:pt x="725" y="146"/>
                    </a:lnTo>
                    <a:lnTo>
                      <a:pt x="728" y="155"/>
                    </a:lnTo>
                    <a:lnTo>
                      <a:pt x="731" y="164"/>
                    </a:lnTo>
                    <a:lnTo>
                      <a:pt x="732" y="174"/>
                    </a:lnTo>
                    <a:lnTo>
                      <a:pt x="732" y="183"/>
                    </a:lnTo>
                    <a:lnTo>
                      <a:pt x="732" y="183"/>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4" name="Group 22"/>
            <p:cNvGrpSpPr/>
            <p:nvPr/>
          </p:nvGrpSpPr>
          <p:grpSpPr bwMode="auto">
            <a:xfrm>
              <a:off x="1949450" y="2075136"/>
              <a:ext cx="1743075" cy="2178050"/>
              <a:chOff x="1435" y="1827"/>
              <a:chExt cx="1098" cy="1372"/>
            </a:xfrm>
          </p:grpSpPr>
          <p:sp>
            <p:nvSpPr>
              <p:cNvPr id="41" name="Freeform 23"/>
              <p:cNvSpPr/>
              <p:nvPr/>
            </p:nvSpPr>
            <p:spPr bwMode="auto">
              <a:xfrm>
                <a:off x="1435" y="1827"/>
                <a:ext cx="1098" cy="274"/>
              </a:xfrm>
              <a:custGeom>
                <a:avLst/>
                <a:gdLst>
                  <a:gd name="T0" fmla="*/ 0 w 1098"/>
                  <a:gd name="T1" fmla="*/ 0 h 274"/>
                  <a:gd name="T2" fmla="*/ 2 w 1098"/>
                  <a:gd name="T3" fmla="*/ 28 h 274"/>
                  <a:gd name="T4" fmla="*/ 11 w 1098"/>
                  <a:gd name="T5" fmla="*/ 56 h 274"/>
                  <a:gd name="T6" fmla="*/ 24 w 1098"/>
                  <a:gd name="T7" fmla="*/ 81 h 274"/>
                  <a:gd name="T8" fmla="*/ 43 w 1098"/>
                  <a:gd name="T9" fmla="*/ 106 h 274"/>
                  <a:gd name="T10" fmla="*/ 66 w 1098"/>
                  <a:gd name="T11" fmla="*/ 131 h 274"/>
                  <a:gd name="T12" fmla="*/ 94 w 1098"/>
                  <a:gd name="T13" fmla="*/ 153 h 274"/>
                  <a:gd name="T14" fmla="*/ 126 w 1098"/>
                  <a:gd name="T15" fmla="*/ 174 h 274"/>
                  <a:gd name="T16" fmla="*/ 161 w 1098"/>
                  <a:gd name="T17" fmla="*/ 194 h 274"/>
                  <a:gd name="T18" fmla="*/ 199 w 1098"/>
                  <a:gd name="T19" fmla="*/ 212 h 274"/>
                  <a:gd name="T20" fmla="*/ 287 w 1098"/>
                  <a:gd name="T21" fmla="*/ 241 h 274"/>
                  <a:gd name="T22" fmla="*/ 386 w 1098"/>
                  <a:gd name="T23" fmla="*/ 261 h 274"/>
                  <a:gd name="T24" fmla="*/ 493 w 1098"/>
                  <a:gd name="T25" fmla="*/ 273 h 274"/>
                  <a:gd name="T26" fmla="*/ 549 w 1098"/>
                  <a:gd name="T27" fmla="*/ 274 h 274"/>
                  <a:gd name="T28" fmla="*/ 660 w 1098"/>
                  <a:gd name="T29" fmla="*/ 269 h 274"/>
                  <a:gd name="T30" fmla="*/ 763 w 1098"/>
                  <a:gd name="T31" fmla="*/ 253 h 274"/>
                  <a:gd name="T32" fmla="*/ 857 w 1098"/>
                  <a:gd name="T33" fmla="*/ 227 h 274"/>
                  <a:gd name="T34" fmla="*/ 918 w 1098"/>
                  <a:gd name="T35" fmla="*/ 203 h 274"/>
                  <a:gd name="T36" fmla="*/ 956 w 1098"/>
                  <a:gd name="T37" fmla="*/ 184 h 274"/>
                  <a:gd name="T38" fmla="*/ 989 w 1098"/>
                  <a:gd name="T39" fmla="*/ 164 h 274"/>
                  <a:gd name="T40" fmla="*/ 1018 w 1098"/>
                  <a:gd name="T41" fmla="*/ 142 h 274"/>
                  <a:gd name="T42" fmla="*/ 1044 w 1098"/>
                  <a:gd name="T43" fmla="*/ 119 h 274"/>
                  <a:gd name="T44" fmla="*/ 1065 w 1098"/>
                  <a:gd name="T45" fmla="*/ 94 h 274"/>
                  <a:gd name="T46" fmla="*/ 1080 w 1098"/>
                  <a:gd name="T47" fmla="*/ 68 h 274"/>
                  <a:gd name="T48" fmla="*/ 1092 w 1098"/>
                  <a:gd name="T49" fmla="*/ 42 h 274"/>
                  <a:gd name="T50" fmla="*/ 1097 w 1098"/>
                  <a:gd name="T51" fmla="*/ 14 h 274"/>
                  <a:gd name="T52" fmla="*/ 1007 w 1098"/>
                  <a:gd name="T53" fmla="*/ 0 h 274"/>
                  <a:gd name="T54" fmla="*/ 1007 w 1098"/>
                  <a:gd name="T55" fmla="*/ 11 h 274"/>
                  <a:gd name="T56" fmla="*/ 1002 w 1098"/>
                  <a:gd name="T57" fmla="*/ 34 h 274"/>
                  <a:gd name="T58" fmla="*/ 993 w 1098"/>
                  <a:gd name="T59" fmla="*/ 57 h 274"/>
                  <a:gd name="T60" fmla="*/ 979 w 1098"/>
                  <a:gd name="T61" fmla="*/ 78 h 274"/>
                  <a:gd name="T62" fmla="*/ 961 w 1098"/>
                  <a:gd name="T63" fmla="*/ 99 h 274"/>
                  <a:gd name="T64" fmla="*/ 941 w 1098"/>
                  <a:gd name="T65" fmla="*/ 118 h 274"/>
                  <a:gd name="T66" fmla="*/ 902 w 1098"/>
                  <a:gd name="T67" fmla="*/ 145 h 274"/>
                  <a:gd name="T68" fmla="*/ 840 w 1098"/>
                  <a:gd name="T69" fmla="*/ 176 h 274"/>
                  <a:gd name="T70" fmla="*/ 768 w 1098"/>
                  <a:gd name="T71" fmla="*/ 200 h 274"/>
                  <a:gd name="T72" fmla="*/ 685 w 1098"/>
                  <a:gd name="T73" fmla="*/ 218 h 274"/>
                  <a:gd name="T74" fmla="*/ 596 w 1098"/>
                  <a:gd name="T75" fmla="*/ 227 h 274"/>
                  <a:gd name="T76" fmla="*/ 549 w 1098"/>
                  <a:gd name="T77" fmla="*/ 228 h 274"/>
                  <a:gd name="T78" fmla="*/ 456 w 1098"/>
                  <a:gd name="T79" fmla="*/ 223 h 274"/>
                  <a:gd name="T80" fmla="*/ 371 w 1098"/>
                  <a:gd name="T81" fmla="*/ 211 h 274"/>
                  <a:gd name="T82" fmla="*/ 293 w 1098"/>
                  <a:gd name="T83" fmla="*/ 189 h 274"/>
                  <a:gd name="T84" fmla="*/ 225 w 1098"/>
                  <a:gd name="T85" fmla="*/ 161 h 274"/>
                  <a:gd name="T86" fmla="*/ 169 w 1098"/>
                  <a:gd name="T87" fmla="*/ 128 h 274"/>
                  <a:gd name="T88" fmla="*/ 146 w 1098"/>
                  <a:gd name="T89" fmla="*/ 109 h 274"/>
                  <a:gd name="T90" fmla="*/ 127 w 1098"/>
                  <a:gd name="T91" fmla="*/ 89 h 274"/>
                  <a:gd name="T92" fmla="*/ 112 w 1098"/>
                  <a:gd name="T93" fmla="*/ 68 h 274"/>
                  <a:gd name="T94" fmla="*/ 100 w 1098"/>
                  <a:gd name="T95" fmla="*/ 45 h 274"/>
                  <a:gd name="T96" fmla="*/ 94 w 1098"/>
                  <a:gd name="T97" fmla="*/ 23 h 274"/>
                  <a:gd name="T98" fmla="*/ 91 w 1098"/>
                  <a:gd name="T99"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8" h="274">
                    <a:moveTo>
                      <a:pt x="0" y="0"/>
                    </a:moveTo>
                    <a:lnTo>
                      <a:pt x="0" y="0"/>
                    </a:lnTo>
                    <a:lnTo>
                      <a:pt x="1" y="14"/>
                    </a:lnTo>
                    <a:lnTo>
                      <a:pt x="2" y="28"/>
                    </a:lnTo>
                    <a:lnTo>
                      <a:pt x="6" y="42"/>
                    </a:lnTo>
                    <a:lnTo>
                      <a:pt x="11" y="56"/>
                    </a:lnTo>
                    <a:lnTo>
                      <a:pt x="18" y="68"/>
                    </a:lnTo>
                    <a:lnTo>
                      <a:pt x="24" y="81"/>
                    </a:lnTo>
                    <a:lnTo>
                      <a:pt x="33" y="94"/>
                    </a:lnTo>
                    <a:lnTo>
                      <a:pt x="43" y="106"/>
                    </a:lnTo>
                    <a:lnTo>
                      <a:pt x="54" y="119"/>
                    </a:lnTo>
                    <a:lnTo>
                      <a:pt x="66" y="131"/>
                    </a:lnTo>
                    <a:lnTo>
                      <a:pt x="80" y="142"/>
                    </a:lnTo>
                    <a:lnTo>
                      <a:pt x="94" y="153"/>
                    </a:lnTo>
                    <a:lnTo>
                      <a:pt x="109" y="164"/>
                    </a:lnTo>
                    <a:lnTo>
                      <a:pt x="126" y="174"/>
                    </a:lnTo>
                    <a:lnTo>
                      <a:pt x="142" y="184"/>
                    </a:lnTo>
                    <a:lnTo>
                      <a:pt x="161" y="194"/>
                    </a:lnTo>
                    <a:lnTo>
                      <a:pt x="180" y="203"/>
                    </a:lnTo>
                    <a:lnTo>
                      <a:pt x="199" y="212"/>
                    </a:lnTo>
                    <a:lnTo>
                      <a:pt x="241" y="227"/>
                    </a:lnTo>
                    <a:lnTo>
                      <a:pt x="287" y="241"/>
                    </a:lnTo>
                    <a:lnTo>
                      <a:pt x="335" y="253"/>
                    </a:lnTo>
                    <a:lnTo>
                      <a:pt x="386" y="261"/>
                    </a:lnTo>
                    <a:lnTo>
                      <a:pt x="438" y="269"/>
                    </a:lnTo>
                    <a:lnTo>
                      <a:pt x="493" y="273"/>
                    </a:lnTo>
                    <a:lnTo>
                      <a:pt x="549" y="274"/>
                    </a:lnTo>
                    <a:lnTo>
                      <a:pt x="549" y="274"/>
                    </a:lnTo>
                    <a:lnTo>
                      <a:pt x="605" y="273"/>
                    </a:lnTo>
                    <a:lnTo>
                      <a:pt x="660" y="269"/>
                    </a:lnTo>
                    <a:lnTo>
                      <a:pt x="712" y="261"/>
                    </a:lnTo>
                    <a:lnTo>
                      <a:pt x="763" y="253"/>
                    </a:lnTo>
                    <a:lnTo>
                      <a:pt x="811" y="241"/>
                    </a:lnTo>
                    <a:lnTo>
                      <a:pt x="857" y="227"/>
                    </a:lnTo>
                    <a:lnTo>
                      <a:pt x="899" y="212"/>
                    </a:lnTo>
                    <a:lnTo>
                      <a:pt x="918" y="203"/>
                    </a:lnTo>
                    <a:lnTo>
                      <a:pt x="937" y="194"/>
                    </a:lnTo>
                    <a:lnTo>
                      <a:pt x="956" y="184"/>
                    </a:lnTo>
                    <a:lnTo>
                      <a:pt x="972" y="174"/>
                    </a:lnTo>
                    <a:lnTo>
                      <a:pt x="989" y="164"/>
                    </a:lnTo>
                    <a:lnTo>
                      <a:pt x="1004" y="153"/>
                    </a:lnTo>
                    <a:lnTo>
                      <a:pt x="1018" y="142"/>
                    </a:lnTo>
                    <a:lnTo>
                      <a:pt x="1032" y="131"/>
                    </a:lnTo>
                    <a:lnTo>
                      <a:pt x="1044" y="119"/>
                    </a:lnTo>
                    <a:lnTo>
                      <a:pt x="1055" y="106"/>
                    </a:lnTo>
                    <a:lnTo>
                      <a:pt x="1065" y="94"/>
                    </a:lnTo>
                    <a:lnTo>
                      <a:pt x="1074" y="81"/>
                    </a:lnTo>
                    <a:lnTo>
                      <a:pt x="1080" y="68"/>
                    </a:lnTo>
                    <a:lnTo>
                      <a:pt x="1087" y="56"/>
                    </a:lnTo>
                    <a:lnTo>
                      <a:pt x="1092" y="42"/>
                    </a:lnTo>
                    <a:lnTo>
                      <a:pt x="1096" y="28"/>
                    </a:lnTo>
                    <a:lnTo>
                      <a:pt x="1097" y="14"/>
                    </a:lnTo>
                    <a:lnTo>
                      <a:pt x="1098" y="0"/>
                    </a:lnTo>
                    <a:lnTo>
                      <a:pt x="1007" y="0"/>
                    </a:lnTo>
                    <a:lnTo>
                      <a:pt x="1007" y="0"/>
                    </a:lnTo>
                    <a:lnTo>
                      <a:pt x="1007" y="11"/>
                    </a:lnTo>
                    <a:lnTo>
                      <a:pt x="1004" y="23"/>
                    </a:lnTo>
                    <a:lnTo>
                      <a:pt x="1002" y="34"/>
                    </a:lnTo>
                    <a:lnTo>
                      <a:pt x="998" y="45"/>
                    </a:lnTo>
                    <a:lnTo>
                      <a:pt x="993" y="57"/>
                    </a:lnTo>
                    <a:lnTo>
                      <a:pt x="986" y="68"/>
                    </a:lnTo>
                    <a:lnTo>
                      <a:pt x="979" y="78"/>
                    </a:lnTo>
                    <a:lnTo>
                      <a:pt x="971" y="89"/>
                    </a:lnTo>
                    <a:lnTo>
                      <a:pt x="961" y="99"/>
                    </a:lnTo>
                    <a:lnTo>
                      <a:pt x="952" y="109"/>
                    </a:lnTo>
                    <a:lnTo>
                      <a:pt x="941" y="118"/>
                    </a:lnTo>
                    <a:lnTo>
                      <a:pt x="929" y="128"/>
                    </a:lnTo>
                    <a:lnTo>
                      <a:pt x="902" y="145"/>
                    </a:lnTo>
                    <a:lnTo>
                      <a:pt x="873" y="161"/>
                    </a:lnTo>
                    <a:lnTo>
                      <a:pt x="840" y="176"/>
                    </a:lnTo>
                    <a:lnTo>
                      <a:pt x="805" y="189"/>
                    </a:lnTo>
                    <a:lnTo>
                      <a:pt x="768" y="200"/>
                    </a:lnTo>
                    <a:lnTo>
                      <a:pt x="727" y="211"/>
                    </a:lnTo>
                    <a:lnTo>
                      <a:pt x="685" y="218"/>
                    </a:lnTo>
                    <a:lnTo>
                      <a:pt x="642" y="223"/>
                    </a:lnTo>
                    <a:lnTo>
                      <a:pt x="596" y="227"/>
                    </a:lnTo>
                    <a:lnTo>
                      <a:pt x="549" y="228"/>
                    </a:lnTo>
                    <a:lnTo>
                      <a:pt x="549" y="228"/>
                    </a:lnTo>
                    <a:lnTo>
                      <a:pt x="502" y="227"/>
                    </a:lnTo>
                    <a:lnTo>
                      <a:pt x="456" y="223"/>
                    </a:lnTo>
                    <a:lnTo>
                      <a:pt x="413" y="218"/>
                    </a:lnTo>
                    <a:lnTo>
                      <a:pt x="371" y="211"/>
                    </a:lnTo>
                    <a:lnTo>
                      <a:pt x="330" y="200"/>
                    </a:lnTo>
                    <a:lnTo>
                      <a:pt x="293" y="189"/>
                    </a:lnTo>
                    <a:lnTo>
                      <a:pt x="258" y="176"/>
                    </a:lnTo>
                    <a:lnTo>
                      <a:pt x="225" y="161"/>
                    </a:lnTo>
                    <a:lnTo>
                      <a:pt x="196" y="145"/>
                    </a:lnTo>
                    <a:lnTo>
                      <a:pt x="169" y="128"/>
                    </a:lnTo>
                    <a:lnTo>
                      <a:pt x="157" y="118"/>
                    </a:lnTo>
                    <a:lnTo>
                      <a:pt x="146" y="109"/>
                    </a:lnTo>
                    <a:lnTo>
                      <a:pt x="136" y="99"/>
                    </a:lnTo>
                    <a:lnTo>
                      <a:pt x="127" y="89"/>
                    </a:lnTo>
                    <a:lnTo>
                      <a:pt x="119" y="78"/>
                    </a:lnTo>
                    <a:lnTo>
                      <a:pt x="112" y="68"/>
                    </a:lnTo>
                    <a:lnTo>
                      <a:pt x="105" y="57"/>
                    </a:lnTo>
                    <a:lnTo>
                      <a:pt x="100" y="45"/>
                    </a:lnTo>
                    <a:lnTo>
                      <a:pt x="96" y="34"/>
                    </a:lnTo>
                    <a:lnTo>
                      <a:pt x="94" y="23"/>
                    </a:lnTo>
                    <a:lnTo>
                      <a:pt x="91" y="11"/>
                    </a:lnTo>
                    <a:lnTo>
                      <a:pt x="91" y="0"/>
                    </a:lnTo>
                    <a:lnTo>
                      <a:pt x="0" y="0"/>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2" name="Freeform 24"/>
              <p:cNvSpPr/>
              <p:nvPr/>
            </p:nvSpPr>
            <p:spPr bwMode="auto">
              <a:xfrm>
                <a:off x="1435" y="1827"/>
                <a:ext cx="1098" cy="1372"/>
              </a:xfrm>
              <a:custGeom>
                <a:avLst/>
                <a:gdLst>
                  <a:gd name="T0" fmla="*/ 1098 w 1098"/>
                  <a:gd name="T1" fmla="*/ 0 h 1372"/>
                  <a:gd name="T2" fmla="*/ 1096 w 1098"/>
                  <a:gd name="T3" fmla="*/ 28 h 1372"/>
                  <a:gd name="T4" fmla="*/ 1087 w 1098"/>
                  <a:gd name="T5" fmla="*/ 56 h 1372"/>
                  <a:gd name="T6" fmla="*/ 1074 w 1098"/>
                  <a:gd name="T7" fmla="*/ 81 h 1372"/>
                  <a:gd name="T8" fmla="*/ 1055 w 1098"/>
                  <a:gd name="T9" fmla="*/ 106 h 1372"/>
                  <a:gd name="T10" fmla="*/ 1032 w 1098"/>
                  <a:gd name="T11" fmla="*/ 131 h 1372"/>
                  <a:gd name="T12" fmla="*/ 1004 w 1098"/>
                  <a:gd name="T13" fmla="*/ 153 h 1372"/>
                  <a:gd name="T14" fmla="*/ 972 w 1098"/>
                  <a:gd name="T15" fmla="*/ 174 h 1372"/>
                  <a:gd name="T16" fmla="*/ 937 w 1098"/>
                  <a:gd name="T17" fmla="*/ 194 h 1372"/>
                  <a:gd name="T18" fmla="*/ 899 w 1098"/>
                  <a:gd name="T19" fmla="*/ 212 h 1372"/>
                  <a:gd name="T20" fmla="*/ 811 w 1098"/>
                  <a:gd name="T21" fmla="*/ 241 h 1372"/>
                  <a:gd name="T22" fmla="*/ 712 w 1098"/>
                  <a:gd name="T23" fmla="*/ 261 h 1372"/>
                  <a:gd name="T24" fmla="*/ 605 w 1098"/>
                  <a:gd name="T25" fmla="*/ 273 h 1372"/>
                  <a:gd name="T26" fmla="*/ 549 w 1098"/>
                  <a:gd name="T27" fmla="*/ 274 h 1372"/>
                  <a:gd name="T28" fmla="*/ 438 w 1098"/>
                  <a:gd name="T29" fmla="*/ 269 h 1372"/>
                  <a:gd name="T30" fmla="*/ 335 w 1098"/>
                  <a:gd name="T31" fmla="*/ 253 h 1372"/>
                  <a:gd name="T32" fmla="*/ 241 w 1098"/>
                  <a:gd name="T33" fmla="*/ 227 h 1372"/>
                  <a:gd name="T34" fmla="*/ 180 w 1098"/>
                  <a:gd name="T35" fmla="*/ 203 h 1372"/>
                  <a:gd name="T36" fmla="*/ 142 w 1098"/>
                  <a:gd name="T37" fmla="*/ 184 h 1372"/>
                  <a:gd name="T38" fmla="*/ 109 w 1098"/>
                  <a:gd name="T39" fmla="*/ 164 h 1372"/>
                  <a:gd name="T40" fmla="*/ 80 w 1098"/>
                  <a:gd name="T41" fmla="*/ 142 h 1372"/>
                  <a:gd name="T42" fmla="*/ 54 w 1098"/>
                  <a:gd name="T43" fmla="*/ 119 h 1372"/>
                  <a:gd name="T44" fmla="*/ 33 w 1098"/>
                  <a:gd name="T45" fmla="*/ 94 h 1372"/>
                  <a:gd name="T46" fmla="*/ 18 w 1098"/>
                  <a:gd name="T47" fmla="*/ 68 h 1372"/>
                  <a:gd name="T48" fmla="*/ 6 w 1098"/>
                  <a:gd name="T49" fmla="*/ 42 h 1372"/>
                  <a:gd name="T50" fmla="*/ 1 w 1098"/>
                  <a:gd name="T51" fmla="*/ 14 h 1372"/>
                  <a:gd name="T52" fmla="*/ 0 w 1098"/>
                  <a:gd name="T53" fmla="*/ 1098 h 1372"/>
                  <a:gd name="T54" fmla="*/ 1 w 1098"/>
                  <a:gd name="T55" fmla="*/ 1112 h 1372"/>
                  <a:gd name="T56" fmla="*/ 6 w 1098"/>
                  <a:gd name="T57" fmla="*/ 1140 h 1372"/>
                  <a:gd name="T58" fmla="*/ 18 w 1098"/>
                  <a:gd name="T59" fmla="*/ 1167 h 1372"/>
                  <a:gd name="T60" fmla="*/ 33 w 1098"/>
                  <a:gd name="T61" fmla="*/ 1192 h 1372"/>
                  <a:gd name="T62" fmla="*/ 54 w 1098"/>
                  <a:gd name="T63" fmla="*/ 1217 h 1372"/>
                  <a:gd name="T64" fmla="*/ 80 w 1098"/>
                  <a:gd name="T65" fmla="*/ 1240 h 1372"/>
                  <a:gd name="T66" fmla="*/ 109 w 1098"/>
                  <a:gd name="T67" fmla="*/ 1262 h 1372"/>
                  <a:gd name="T68" fmla="*/ 142 w 1098"/>
                  <a:gd name="T69" fmla="*/ 1282 h 1372"/>
                  <a:gd name="T70" fmla="*/ 180 w 1098"/>
                  <a:gd name="T71" fmla="*/ 1301 h 1372"/>
                  <a:gd name="T72" fmla="*/ 241 w 1098"/>
                  <a:gd name="T73" fmla="*/ 1325 h 1372"/>
                  <a:gd name="T74" fmla="*/ 335 w 1098"/>
                  <a:gd name="T75" fmla="*/ 1351 h 1372"/>
                  <a:gd name="T76" fmla="*/ 438 w 1098"/>
                  <a:gd name="T77" fmla="*/ 1367 h 1372"/>
                  <a:gd name="T78" fmla="*/ 549 w 1098"/>
                  <a:gd name="T79" fmla="*/ 1372 h 1372"/>
                  <a:gd name="T80" fmla="*/ 605 w 1098"/>
                  <a:gd name="T81" fmla="*/ 1371 h 1372"/>
                  <a:gd name="T82" fmla="*/ 712 w 1098"/>
                  <a:gd name="T83" fmla="*/ 1360 h 1372"/>
                  <a:gd name="T84" fmla="*/ 811 w 1098"/>
                  <a:gd name="T85" fmla="*/ 1339 h 1372"/>
                  <a:gd name="T86" fmla="*/ 899 w 1098"/>
                  <a:gd name="T87" fmla="*/ 1310 h 1372"/>
                  <a:gd name="T88" fmla="*/ 937 w 1098"/>
                  <a:gd name="T89" fmla="*/ 1292 h 1372"/>
                  <a:gd name="T90" fmla="*/ 972 w 1098"/>
                  <a:gd name="T91" fmla="*/ 1272 h 1372"/>
                  <a:gd name="T92" fmla="*/ 1004 w 1098"/>
                  <a:gd name="T93" fmla="*/ 1252 h 1372"/>
                  <a:gd name="T94" fmla="*/ 1032 w 1098"/>
                  <a:gd name="T95" fmla="*/ 1229 h 1372"/>
                  <a:gd name="T96" fmla="*/ 1055 w 1098"/>
                  <a:gd name="T97" fmla="*/ 1205 h 1372"/>
                  <a:gd name="T98" fmla="*/ 1074 w 1098"/>
                  <a:gd name="T99" fmla="*/ 1179 h 1372"/>
                  <a:gd name="T100" fmla="*/ 1087 w 1098"/>
                  <a:gd name="T101" fmla="*/ 1154 h 1372"/>
                  <a:gd name="T102" fmla="*/ 1096 w 1098"/>
                  <a:gd name="T103" fmla="*/ 1126 h 1372"/>
                  <a:gd name="T104" fmla="*/ 1098 w 1098"/>
                  <a:gd name="T105" fmla="*/ 1098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8" h="1372">
                    <a:moveTo>
                      <a:pt x="1098" y="0"/>
                    </a:moveTo>
                    <a:lnTo>
                      <a:pt x="1098" y="0"/>
                    </a:lnTo>
                    <a:lnTo>
                      <a:pt x="1097" y="14"/>
                    </a:lnTo>
                    <a:lnTo>
                      <a:pt x="1096" y="28"/>
                    </a:lnTo>
                    <a:lnTo>
                      <a:pt x="1092" y="42"/>
                    </a:lnTo>
                    <a:lnTo>
                      <a:pt x="1087" y="56"/>
                    </a:lnTo>
                    <a:lnTo>
                      <a:pt x="1080" y="68"/>
                    </a:lnTo>
                    <a:lnTo>
                      <a:pt x="1074" y="81"/>
                    </a:lnTo>
                    <a:lnTo>
                      <a:pt x="1065" y="94"/>
                    </a:lnTo>
                    <a:lnTo>
                      <a:pt x="1055" y="106"/>
                    </a:lnTo>
                    <a:lnTo>
                      <a:pt x="1044" y="119"/>
                    </a:lnTo>
                    <a:lnTo>
                      <a:pt x="1032" y="131"/>
                    </a:lnTo>
                    <a:lnTo>
                      <a:pt x="1018" y="142"/>
                    </a:lnTo>
                    <a:lnTo>
                      <a:pt x="1004" y="153"/>
                    </a:lnTo>
                    <a:lnTo>
                      <a:pt x="989" y="164"/>
                    </a:lnTo>
                    <a:lnTo>
                      <a:pt x="972" y="174"/>
                    </a:lnTo>
                    <a:lnTo>
                      <a:pt x="956" y="184"/>
                    </a:lnTo>
                    <a:lnTo>
                      <a:pt x="937" y="194"/>
                    </a:lnTo>
                    <a:lnTo>
                      <a:pt x="918" y="203"/>
                    </a:lnTo>
                    <a:lnTo>
                      <a:pt x="899" y="212"/>
                    </a:lnTo>
                    <a:lnTo>
                      <a:pt x="857" y="227"/>
                    </a:lnTo>
                    <a:lnTo>
                      <a:pt x="811" y="241"/>
                    </a:lnTo>
                    <a:lnTo>
                      <a:pt x="763" y="253"/>
                    </a:lnTo>
                    <a:lnTo>
                      <a:pt x="712" y="261"/>
                    </a:lnTo>
                    <a:lnTo>
                      <a:pt x="660" y="269"/>
                    </a:lnTo>
                    <a:lnTo>
                      <a:pt x="605" y="273"/>
                    </a:lnTo>
                    <a:lnTo>
                      <a:pt x="549" y="274"/>
                    </a:lnTo>
                    <a:lnTo>
                      <a:pt x="549" y="274"/>
                    </a:lnTo>
                    <a:lnTo>
                      <a:pt x="493" y="273"/>
                    </a:lnTo>
                    <a:lnTo>
                      <a:pt x="438" y="269"/>
                    </a:lnTo>
                    <a:lnTo>
                      <a:pt x="386" y="261"/>
                    </a:lnTo>
                    <a:lnTo>
                      <a:pt x="335" y="253"/>
                    </a:lnTo>
                    <a:lnTo>
                      <a:pt x="287" y="241"/>
                    </a:lnTo>
                    <a:lnTo>
                      <a:pt x="241" y="227"/>
                    </a:lnTo>
                    <a:lnTo>
                      <a:pt x="199" y="212"/>
                    </a:lnTo>
                    <a:lnTo>
                      <a:pt x="180" y="203"/>
                    </a:lnTo>
                    <a:lnTo>
                      <a:pt x="161" y="194"/>
                    </a:lnTo>
                    <a:lnTo>
                      <a:pt x="142" y="184"/>
                    </a:lnTo>
                    <a:lnTo>
                      <a:pt x="126" y="174"/>
                    </a:lnTo>
                    <a:lnTo>
                      <a:pt x="109" y="164"/>
                    </a:lnTo>
                    <a:lnTo>
                      <a:pt x="94" y="153"/>
                    </a:lnTo>
                    <a:lnTo>
                      <a:pt x="80" y="142"/>
                    </a:lnTo>
                    <a:lnTo>
                      <a:pt x="66" y="131"/>
                    </a:lnTo>
                    <a:lnTo>
                      <a:pt x="54" y="119"/>
                    </a:lnTo>
                    <a:lnTo>
                      <a:pt x="43" y="106"/>
                    </a:lnTo>
                    <a:lnTo>
                      <a:pt x="33" y="94"/>
                    </a:lnTo>
                    <a:lnTo>
                      <a:pt x="24" y="81"/>
                    </a:lnTo>
                    <a:lnTo>
                      <a:pt x="18" y="68"/>
                    </a:lnTo>
                    <a:lnTo>
                      <a:pt x="11" y="56"/>
                    </a:lnTo>
                    <a:lnTo>
                      <a:pt x="6" y="42"/>
                    </a:lnTo>
                    <a:lnTo>
                      <a:pt x="2" y="28"/>
                    </a:lnTo>
                    <a:lnTo>
                      <a:pt x="1" y="14"/>
                    </a:lnTo>
                    <a:lnTo>
                      <a:pt x="0" y="0"/>
                    </a:lnTo>
                    <a:lnTo>
                      <a:pt x="0" y="1098"/>
                    </a:lnTo>
                    <a:lnTo>
                      <a:pt x="0" y="1098"/>
                    </a:lnTo>
                    <a:lnTo>
                      <a:pt x="1" y="1112"/>
                    </a:lnTo>
                    <a:lnTo>
                      <a:pt x="2" y="1126"/>
                    </a:lnTo>
                    <a:lnTo>
                      <a:pt x="6" y="1140"/>
                    </a:lnTo>
                    <a:lnTo>
                      <a:pt x="11" y="1154"/>
                    </a:lnTo>
                    <a:lnTo>
                      <a:pt x="18" y="1167"/>
                    </a:lnTo>
                    <a:lnTo>
                      <a:pt x="24" y="1179"/>
                    </a:lnTo>
                    <a:lnTo>
                      <a:pt x="33" y="1192"/>
                    </a:lnTo>
                    <a:lnTo>
                      <a:pt x="43" y="1205"/>
                    </a:lnTo>
                    <a:lnTo>
                      <a:pt x="54" y="1217"/>
                    </a:lnTo>
                    <a:lnTo>
                      <a:pt x="66" y="1229"/>
                    </a:lnTo>
                    <a:lnTo>
                      <a:pt x="80" y="1240"/>
                    </a:lnTo>
                    <a:lnTo>
                      <a:pt x="94" y="1252"/>
                    </a:lnTo>
                    <a:lnTo>
                      <a:pt x="109" y="1262"/>
                    </a:lnTo>
                    <a:lnTo>
                      <a:pt x="126" y="1272"/>
                    </a:lnTo>
                    <a:lnTo>
                      <a:pt x="142" y="1282"/>
                    </a:lnTo>
                    <a:lnTo>
                      <a:pt x="161" y="1292"/>
                    </a:lnTo>
                    <a:lnTo>
                      <a:pt x="180" y="1301"/>
                    </a:lnTo>
                    <a:lnTo>
                      <a:pt x="199" y="1310"/>
                    </a:lnTo>
                    <a:lnTo>
                      <a:pt x="241" y="1325"/>
                    </a:lnTo>
                    <a:lnTo>
                      <a:pt x="287" y="1339"/>
                    </a:lnTo>
                    <a:lnTo>
                      <a:pt x="335" y="1351"/>
                    </a:lnTo>
                    <a:lnTo>
                      <a:pt x="386" y="1360"/>
                    </a:lnTo>
                    <a:lnTo>
                      <a:pt x="438" y="1367"/>
                    </a:lnTo>
                    <a:lnTo>
                      <a:pt x="493" y="1371"/>
                    </a:lnTo>
                    <a:lnTo>
                      <a:pt x="549" y="1372"/>
                    </a:lnTo>
                    <a:lnTo>
                      <a:pt x="549" y="1372"/>
                    </a:lnTo>
                    <a:lnTo>
                      <a:pt x="605" y="1371"/>
                    </a:lnTo>
                    <a:lnTo>
                      <a:pt x="660" y="1367"/>
                    </a:lnTo>
                    <a:lnTo>
                      <a:pt x="712" y="1360"/>
                    </a:lnTo>
                    <a:lnTo>
                      <a:pt x="763" y="1351"/>
                    </a:lnTo>
                    <a:lnTo>
                      <a:pt x="811" y="1339"/>
                    </a:lnTo>
                    <a:lnTo>
                      <a:pt x="857" y="1325"/>
                    </a:lnTo>
                    <a:lnTo>
                      <a:pt x="899" y="1310"/>
                    </a:lnTo>
                    <a:lnTo>
                      <a:pt x="918" y="1301"/>
                    </a:lnTo>
                    <a:lnTo>
                      <a:pt x="937" y="1292"/>
                    </a:lnTo>
                    <a:lnTo>
                      <a:pt x="956" y="1282"/>
                    </a:lnTo>
                    <a:lnTo>
                      <a:pt x="972" y="1272"/>
                    </a:lnTo>
                    <a:lnTo>
                      <a:pt x="989" y="1262"/>
                    </a:lnTo>
                    <a:lnTo>
                      <a:pt x="1004" y="1252"/>
                    </a:lnTo>
                    <a:lnTo>
                      <a:pt x="1018" y="1240"/>
                    </a:lnTo>
                    <a:lnTo>
                      <a:pt x="1032" y="1229"/>
                    </a:lnTo>
                    <a:lnTo>
                      <a:pt x="1044" y="1217"/>
                    </a:lnTo>
                    <a:lnTo>
                      <a:pt x="1055" y="1205"/>
                    </a:lnTo>
                    <a:lnTo>
                      <a:pt x="1065" y="1192"/>
                    </a:lnTo>
                    <a:lnTo>
                      <a:pt x="1074" y="1179"/>
                    </a:lnTo>
                    <a:lnTo>
                      <a:pt x="1080" y="1167"/>
                    </a:lnTo>
                    <a:lnTo>
                      <a:pt x="1087" y="1154"/>
                    </a:lnTo>
                    <a:lnTo>
                      <a:pt x="1092" y="1140"/>
                    </a:lnTo>
                    <a:lnTo>
                      <a:pt x="1096" y="1126"/>
                    </a:lnTo>
                    <a:lnTo>
                      <a:pt x="1097" y="1112"/>
                    </a:lnTo>
                    <a:lnTo>
                      <a:pt x="1098" y="1098"/>
                    </a:lnTo>
                    <a:lnTo>
                      <a:pt x="1098" y="0"/>
                    </a:lnTo>
                    <a:close/>
                  </a:path>
                </a:pathLst>
              </a:custGeom>
              <a:gradFill rotWithShape="1">
                <a:gsLst>
                  <a:gs pos="0">
                    <a:schemeClr val="tx2">
                      <a:lumMod val="60000"/>
                      <a:lumOff val="40000"/>
                    </a:schemeClr>
                  </a:gs>
                  <a:gs pos="50000">
                    <a:schemeClr val="tx1">
                      <a:lumMod val="95000"/>
                    </a:schemeClr>
                  </a:gs>
                  <a:gs pos="99000">
                    <a:schemeClr val="tx2">
                      <a:lumMod val="60000"/>
                      <a:lumOff val="40000"/>
                    </a:schemeClr>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5" name="Group 25"/>
            <p:cNvGrpSpPr/>
            <p:nvPr/>
          </p:nvGrpSpPr>
          <p:grpSpPr bwMode="auto">
            <a:xfrm>
              <a:off x="1658938" y="2656161"/>
              <a:ext cx="2324100" cy="1743075"/>
              <a:chOff x="1252" y="2193"/>
              <a:chExt cx="1464" cy="1098"/>
            </a:xfrm>
          </p:grpSpPr>
          <p:sp>
            <p:nvSpPr>
              <p:cNvPr id="39" name="Freeform 26"/>
              <p:cNvSpPr/>
              <p:nvPr/>
            </p:nvSpPr>
            <p:spPr bwMode="auto">
              <a:xfrm>
                <a:off x="1252" y="2193"/>
                <a:ext cx="1464" cy="366"/>
              </a:xfrm>
              <a:custGeom>
                <a:avLst/>
                <a:gdLst>
                  <a:gd name="T0" fmla="*/ 1 w 1464"/>
                  <a:gd name="T1" fmla="*/ 19 h 366"/>
                  <a:gd name="T2" fmla="*/ 15 w 1464"/>
                  <a:gd name="T3" fmla="*/ 73 h 366"/>
                  <a:gd name="T4" fmla="*/ 44 w 1464"/>
                  <a:gd name="T5" fmla="*/ 126 h 366"/>
                  <a:gd name="T6" fmla="*/ 89 w 1464"/>
                  <a:gd name="T7" fmla="*/ 174 h 366"/>
                  <a:gd name="T8" fmla="*/ 145 w 1464"/>
                  <a:gd name="T9" fmla="*/ 218 h 366"/>
                  <a:gd name="T10" fmla="*/ 215 w 1464"/>
                  <a:gd name="T11" fmla="*/ 259 h 366"/>
                  <a:gd name="T12" fmla="*/ 293 w 1464"/>
                  <a:gd name="T13" fmla="*/ 293 h 366"/>
                  <a:gd name="T14" fmla="*/ 382 w 1464"/>
                  <a:gd name="T15" fmla="*/ 321 h 366"/>
                  <a:gd name="T16" fmla="*/ 480 w 1464"/>
                  <a:gd name="T17" fmla="*/ 344 h 366"/>
                  <a:gd name="T18" fmla="*/ 585 w 1464"/>
                  <a:gd name="T19" fmla="*/ 358 h 366"/>
                  <a:gd name="T20" fmla="*/ 694 w 1464"/>
                  <a:gd name="T21" fmla="*/ 366 h 366"/>
                  <a:gd name="T22" fmla="*/ 770 w 1464"/>
                  <a:gd name="T23" fmla="*/ 366 h 366"/>
                  <a:gd name="T24" fmla="*/ 879 w 1464"/>
                  <a:gd name="T25" fmla="*/ 358 h 366"/>
                  <a:gd name="T26" fmla="*/ 984 w 1464"/>
                  <a:gd name="T27" fmla="*/ 344 h 366"/>
                  <a:gd name="T28" fmla="*/ 1082 w 1464"/>
                  <a:gd name="T29" fmla="*/ 321 h 366"/>
                  <a:gd name="T30" fmla="*/ 1171 w 1464"/>
                  <a:gd name="T31" fmla="*/ 293 h 366"/>
                  <a:gd name="T32" fmla="*/ 1249 w 1464"/>
                  <a:gd name="T33" fmla="*/ 259 h 366"/>
                  <a:gd name="T34" fmla="*/ 1319 w 1464"/>
                  <a:gd name="T35" fmla="*/ 218 h 366"/>
                  <a:gd name="T36" fmla="*/ 1375 w 1464"/>
                  <a:gd name="T37" fmla="*/ 174 h 366"/>
                  <a:gd name="T38" fmla="*/ 1420 w 1464"/>
                  <a:gd name="T39" fmla="*/ 126 h 366"/>
                  <a:gd name="T40" fmla="*/ 1449 w 1464"/>
                  <a:gd name="T41" fmla="*/ 73 h 366"/>
                  <a:gd name="T42" fmla="*/ 1463 w 1464"/>
                  <a:gd name="T43" fmla="*/ 19 h 366"/>
                  <a:gd name="T44" fmla="*/ 1373 w 1464"/>
                  <a:gd name="T45" fmla="*/ 0 h 366"/>
                  <a:gd name="T46" fmla="*/ 1365 w 1464"/>
                  <a:gd name="T47" fmla="*/ 48 h 366"/>
                  <a:gd name="T48" fmla="*/ 1344 w 1464"/>
                  <a:gd name="T49" fmla="*/ 95 h 366"/>
                  <a:gd name="T50" fmla="*/ 1309 w 1464"/>
                  <a:gd name="T51" fmla="*/ 138 h 366"/>
                  <a:gd name="T52" fmla="*/ 1263 w 1464"/>
                  <a:gd name="T53" fmla="*/ 179 h 366"/>
                  <a:gd name="T54" fmla="*/ 1206 w 1464"/>
                  <a:gd name="T55" fmla="*/ 215 h 366"/>
                  <a:gd name="T56" fmla="*/ 1140 w 1464"/>
                  <a:gd name="T57" fmla="*/ 246 h 366"/>
                  <a:gd name="T58" fmla="*/ 1064 w 1464"/>
                  <a:gd name="T59" fmla="*/ 274 h 366"/>
                  <a:gd name="T60" fmla="*/ 981 w 1464"/>
                  <a:gd name="T61" fmla="*/ 295 h 366"/>
                  <a:gd name="T62" fmla="*/ 892 w 1464"/>
                  <a:gd name="T63" fmla="*/ 310 h 366"/>
                  <a:gd name="T64" fmla="*/ 798 w 1464"/>
                  <a:gd name="T65" fmla="*/ 319 h 366"/>
                  <a:gd name="T66" fmla="*/ 732 w 1464"/>
                  <a:gd name="T67" fmla="*/ 320 h 366"/>
                  <a:gd name="T68" fmla="*/ 634 w 1464"/>
                  <a:gd name="T69" fmla="*/ 316 h 366"/>
                  <a:gd name="T70" fmla="*/ 541 w 1464"/>
                  <a:gd name="T71" fmla="*/ 306 h 366"/>
                  <a:gd name="T72" fmla="*/ 454 w 1464"/>
                  <a:gd name="T73" fmla="*/ 288 h 366"/>
                  <a:gd name="T74" fmla="*/ 373 w 1464"/>
                  <a:gd name="T75" fmla="*/ 265 h 366"/>
                  <a:gd name="T76" fmla="*/ 301 w 1464"/>
                  <a:gd name="T77" fmla="*/ 237 h 366"/>
                  <a:gd name="T78" fmla="*/ 237 w 1464"/>
                  <a:gd name="T79" fmla="*/ 203 h 366"/>
                  <a:gd name="T80" fmla="*/ 184 w 1464"/>
                  <a:gd name="T81" fmla="*/ 166 h 366"/>
                  <a:gd name="T82" fmla="*/ 142 w 1464"/>
                  <a:gd name="T83" fmla="*/ 124 h 366"/>
                  <a:gd name="T84" fmla="*/ 112 w 1464"/>
                  <a:gd name="T85" fmla="*/ 80 h 366"/>
                  <a:gd name="T86" fmla="*/ 95 w 1464"/>
                  <a:gd name="T87" fmla="*/ 33 h 366"/>
                  <a:gd name="T88" fmla="*/ 0 w 1464"/>
                  <a:gd name="T89"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4" h="366">
                    <a:moveTo>
                      <a:pt x="0" y="0"/>
                    </a:moveTo>
                    <a:lnTo>
                      <a:pt x="0" y="0"/>
                    </a:lnTo>
                    <a:lnTo>
                      <a:pt x="1" y="19"/>
                    </a:lnTo>
                    <a:lnTo>
                      <a:pt x="3" y="37"/>
                    </a:lnTo>
                    <a:lnTo>
                      <a:pt x="9" y="56"/>
                    </a:lnTo>
                    <a:lnTo>
                      <a:pt x="15" y="73"/>
                    </a:lnTo>
                    <a:lnTo>
                      <a:pt x="23" y="91"/>
                    </a:lnTo>
                    <a:lnTo>
                      <a:pt x="33" y="109"/>
                    </a:lnTo>
                    <a:lnTo>
                      <a:pt x="44" y="126"/>
                    </a:lnTo>
                    <a:lnTo>
                      <a:pt x="57" y="142"/>
                    </a:lnTo>
                    <a:lnTo>
                      <a:pt x="72" y="159"/>
                    </a:lnTo>
                    <a:lnTo>
                      <a:pt x="89" y="174"/>
                    </a:lnTo>
                    <a:lnTo>
                      <a:pt x="105" y="189"/>
                    </a:lnTo>
                    <a:lnTo>
                      <a:pt x="124" y="204"/>
                    </a:lnTo>
                    <a:lnTo>
                      <a:pt x="145" y="218"/>
                    </a:lnTo>
                    <a:lnTo>
                      <a:pt x="167" y="232"/>
                    </a:lnTo>
                    <a:lnTo>
                      <a:pt x="190" y="246"/>
                    </a:lnTo>
                    <a:lnTo>
                      <a:pt x="215" y="259"/>
                    </a:lnTo>
                    <a:lnTo>
                      <a:pt x="240" y="270"/>
                    </a:lnTo>
                    <a:lnTo>
                      <a:pt x="267" y="282"/>
                    </a:lnTo>
                    <a:lnTo>
                      <a:pt x="293" y="293"/>
                    </a:lnTo>
                    <a:lnTo>
                      <a:pt x="323" y="304"/>
                    </a:lnTo>
                    <a:lnTo>
                      <a:pt x="352" y="312"/>
                    </a:lnTo>
                    <a:lnTo>
                      <a:pt x="382" y="321"/>
                    </a:lnTo>
                    <a:lnTo>
                      <a:pt x="414" y="330"/>
                    </a:lnTo>
                    <a:lnTo>
                      <a:pt x="447" y="337"/>
                    </a:lnTo>
                    <a:lnTo>
                      <a:pt x="480" y="344"/>
                    </a:lnTo>
                    <a:lnTo>
                      <a:pt x="515" y="349"/>
                    </a:lnTo>
                    <a:lnTo>
                      <a:pt x="549" y="354"/>
                    </a:lnTo>
                    <a:lnTo>
                      <a:pt x="585" y="358"/>
                    </a:lnTo>
                    <a:lnTo>
                      <a:pt x="620" y="362"/>
                    </a:lnTo>
                    <a:lnTo>
                      <a:pt x="657" y="365"/>
                    </a:lnTo>
                    <a:lnTo>
                      <a:pt x="694" y="366"/>
                    </a:lnTo>
                    <a:lnTo>
                      <a:pt x="732" y="366"/>
                    </a:lnTo>
                    <a:lnTo>
                      <a:pt x="732" y="366"/>
                    </a:lnTo>
                    <a:lnTo>
                      <a:pt x="770" y="366"/>
                    </a:lnTo>
                    <a:lnTo>
                      <a:pt x="807" y="365"/>
                    </a:lnTo>
                    <a:lnTo>
                      <a:pt x="844" y="362"/>
                    </a:lnTo>
                    <a:lnTo>
                      <a:pt x="879" y="358"/>
                    </a:lnTo>
                    <a:lnTo>
                      <a:pt x="915" y="354"/>
                    </a:lnTo>
                    <a:lnTo>
                      <a:pt x="949" y="349"/>
                    </a:lnTo>
                    <a:lnTo>
                      <a:pt x="984" y="344"/>
                    </a:lnTo>
                    <a:lnTo>
                      <a:pt x="1017" y="337"/>
                    </a:lnTo>
                    <a:lnTo>
                      <a:pt x="1050" y="330"/>
                    </a:lnTo>
                    <a:lnTo>
                      <a:pt x="1082" y="321"/>
                    </a:lnTo>
                    <a:lnTo>
                      <a:pt x="1112" y="312"/>
                    </a:lnTo>
                    <a:lnTo>
                      <a:pt x="1141" y="304"/>
                    </a:lnTo>
                    <a:lnTo>
                      <a:pt x="1171" y="293"/>
                    </a:lnTo>
                    <a:lnTo>
                      <a:pt x="1197" y="282"/>
                    </a:lnTo>
                    <a:lnTo>
                      <a:pt x="1224" y="270"/>
                    </a:lnTo>
                    <a:lnTo>
                      <a:pt x="1249" y="259"/>
                    </a:lnTo>
                    <a:lnTo>
                      <a:pt x="1274" y="246"/>
                    </a:lnTo>
                    <a:lnTo>
                      <a:pt x="1297" y="232"/>
                    </a:lnTo>
                    <a:lnTo>
                      <a:pt x="1319" y="218"/>
                    </a:lnTo>
                    <a:lnTo>
                      <a:pt x="1340" y="204"/>
                    </a:lnTo>
                    <a:lnTo>
                      <a:pt x="1359" y="189"/>
                    </a:lnTo>
                    <a:lnTo>
                      <a:pt x="1375" y="174"/>
                    </a:lnTo>
                    <a:lnTo>
                      <a:pt x="1392" y="159"/>
                    </a:lnTo>
                    <a:lnTo>
                      <a:pt x="1407" y="142"/>
                    </a:lnTo>
                    <a:lnTo>
                      <a:pt x="1420" y="126"/>
                    </a:lnTo>
                    <a:lnTo>
                      <a:pt x="1431" y="109"/>
                    </a:lnTo>
                    <a:lnTo>
                      <a:pt x="1441" y="91"/>
                    </a:lnTo>
                    <a:lnTo>
                      <a:pt x="1449" y="73"/>
                    </a:lnTo>
                    <a:lnTo>
                      <a:pt x="1455" y="56"/>
                    </a:lnTo>
                    <a:lnTo>
                      <a:pt x="1461" y="37"/>
                    </a:lnTo>
                    <a:lnTo>
                      <a:pt x="1463" y="19"/>
                    </a:lnTo>
                    <a:lnTo>
                      <a:pt x="1464" y="0"/>
                    </a:lnTo>
                    <a:lnTo>
                      <a:pt x="1373" y="0"/>
                    </a:lnTo>
                    <a:lnTo>
                      <a:pt x="1373" y="0"/>
                    </a:lnTo>
                    <a:lnTo>
                      <a:pt x="1372" y="16"/>
                    </a:lnTo>
                    <a:lnTo>
                      <a:pt x="1369" y="33"/>
                    </a:lnTo>
                    <a:lnTo>
                      <a:pt x="1365" y="48"/>
                    </a:lnTo>
                    <a:lnTo>
                      <a:pt x="1360" y="65"/>
                    </a:lnTo>
                    <a:lnTo>
                      <a:pt x="1352" y="80"/>
                    </a:lnTo>
                    <a:lnTo>
                      <a:pt x="1344" y="95"/>
                    </a:lnTo>
                    <a:lnTo>
                      <a:pt x="1333" y="110"/>
                    </a:lnTo>
                    <a:lnTo>
                      <a:pt x="1322" y="124"/>
                    </a:lnTo>
                    <a:lnTo>
                      <a:pt x="1309" y="138"/>
                    </a:lnTo>
                    <a:lnTo>
                      <a:pt x="1295" y="152"/>
                    </a:lnTo>
                    <a:lnTo>
                      <a:pt x="1280" y="166"/>
                    </a:lnTo>
                    <a:lnTo>
                      <a:pt x="1263" y="179"/>
                    </a:lnTo>
                    <a:lnTo>
                      <a:pt x="1246" y="192"/>
                    </a:lnTo>
                    <a:lnTo>
                      <a:pt x="1227" y="203"/>
                    </a:lnTo>
                    <a:lnTo>
                      <a:pt x="1206" y="215"/>
                    </a:lnTo>
                    <a:lnTo>
                      <a:pt x="1185" y="226"/>
                    </a:lnTo>
                    <a:lnTo>
                      <a:pt x="1163" y="237"/>
                    </a:lnTo>
                    <a:lnTo>
                      <a:pt x="1140" y="246"/>
                    </a:lnTo>
                    <a:lnTo>
                      <a:pt x="1116" y="256"/>
                    </a:lnTo>
                    <a:lnTo>
                      <a:pt x="1091" y="265"/>
                    </a:lnTo>
                    <a:lnTo>
                      <a:pt x="1064" y="274"/>
                    </a:lnTo>
                    <a:lnTo>
                      <a:pt x="1037" y="282"/>
                    </a:lnTo>
                    <a:lnTo>
                      <a:pt x="1010" y="288"/>
                    </a:lnTo>
                    <a:lnTo>
                      <a:pt x="981" y="295"/>
                    </a:lnTo>
                    <a:lnTo>
                      <a:pt x="952" y="301"/>
                    </a:lnTo>
                    <a:lnTo>
                      <a:pt x="923" y="306"/>
                    </a:lnTo>
                    <a:lnTo>
                      <a:pt x="892" y="310"/>
                    </a:lnTo>
                    <a:lnTo>
                      <a:pt x="862" y="314"/>
                    </a:lnTo>
                    <a:lnTo>
                      <a:pt x="830" y="316"/>
                    </a:lnTo>
                    <a:lnTo>
                      <a:pt x="798" y="319"/>
                    </a:lnTo>
                    <a:lnTo>
                      <a:pt x="765" y="320"/>
                    </a:lnTo>
                    <a:lnTo>
                      <a:pt x="732" y="320"/>
                    </a:lnTo>
                    <a:lnTo>
                      <a:pt x="732" y="320"/>
                    </a:lnTo>
                    <a:lnTo>
                      <a:pt x="699" y="320"/>
                    </a:lnTo>
                    <a:lnTo>
                      <a:pt x="666" y="319"/>
                    </a:lnTo>
                    <a:lnTo>
                      <a:pt x="634" y="316"/>
                    </a:lnTo>
                    <a:lnTo>
                      <a:pt x="602" y="314"/>
                    </a:lnTo>
                    <a:lnTo>
                      <a:pt x="572" y="310"/>
                    </a:lnTo>
                    <a:lnTo>
                      <a:pt x="541" y="306"/>
                    </a:lnTo>
                    <a:lnTo>
                      <a:pt x="512" y="301"/>
                    </a:lnTo>
                    <a:lnTo>
                      <a:pt x="483" y="295"/>
                    </a:lnTo>
                    <a:lnTo>
                      <a:pt x="454" y="288"/>
                    </a:lnTo>
                    <a:lnTo>
                      <a:pt x="427" y="282"/>
                    </a:lnTo>
                    <a:lnTo>
                      <a:pt x="400" y="274"/>
                    </a:lnTo>
                    <a:lnTo>
                      <a:pt x="373" y="265"/>
                    </a:lnTo>
                    <a:lnTo>
                      <a:pt x="348" y="256"/>
                    </a:lnTo>
                    <a:lnTo>
                      <a:pt x="324" y="246"/>
                    </a:lnTo>
                    <a:lnTo>
                      <a:pt x="301" y="237"/>
                    </a:lnTo>
                    <a:lnTo>
                      <a:pt x="279" y="226"/>
                    </a:lnTo>
                    <a:lnTo>
                      <a:pt x="258" y="215"/>
                    </a:lnTo>
                    <a:lnTo>
                      <a:pt x="237" y="203"/>
                    </a:lnTo>
                    <a:lnTo>
                      <a:pt x="218" y="192"/>
                    </a:lnTo>
                    <a:lnTo>
                      <a:pt x="201" y="179"/>
                    </a:lnTo>
                    <a:lnTo>
                      <a:pt x="184" y="166"/>
                    </a:lnTo>
                    <a:lnTo>
                      <a:pt x="169" y="152"/>
                    </a:lnTo>
                    <a:lnTo>
                      <a:pt x="155" y="138"/>
                    </a:lnTo>
                    <a:lnTo>
                      <a:pt x="142" y="124"/>
                    </a:lnTo>
                    <a:lnTo>
                      <a:pt x="131" y="110"/>
                    </a:lnTo>
                    <a:lnTo>
                      <a:pt x="120" y="95"/>
                    </a:lnTo>
                    <a:lnTo>
                      <a:pt x="112" y="80"/>
                    </a:lnTo>
                    <a:lnTo>
                      <a:pt x="104" y="65"/>
                    </a:lnTo>
                    <a:lnTo>
                      <a:pt x="99" y="48"/>
                    </a:lnTo>
                    <a:lnTo>
                      <a:pt x="95" y="33"/>
                    </a:lnTo>
                    <a:lnTo>
                      <a:pt x="92" y="16"/>
                    </a:lnTo>
                    <a:lnTo>
                      <a:pt x="91" y="0"/>
                    </a:lnTo>
                    <a:lnTo>
                      <a:pt x="0" y="0"/>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0" name="Freeform 27"/>
              <p:cNvSpPr/>
              <p:nvPr/>
            </p:nvSpPr>
            <p:spPr bwMode="auto">
              <a:xfrm>
                <a:off x="1252" y="2193"/>
                <a:ext cx="1464" cy="1098"/>
              </a:xfrm>
              <a:custGeom>
                <a:avLst/>
                <a:gdLst>
                  <a:gd name="T0" fmla="*/ 1463 w 1464"/>
                  <a:gd name="T1" fmla="*/ 19 h 1098"/>
                  <a:gd name="T2" fmla="*/ 1449 w 1464"/>
                  <a:gd name="T3" fmla="*/ 73 h 1098"/>
                  <a:gd name="T4" fmla="*/ 1420 w 1464"/>
                  <a:gd name="T5" fmla="*/ 126 h 1098"/>
                  <a:gd name="T6" fmla="*/ 1375 w 1464"/>
                  <a:gd name="T7" fmla="*/ 174 h 1098"/>
                  <a:gd name="T8" fmla="*/ 1319 w 1464"/>
                  <a:gd name="T9" fmla="*/ 218 h 1098"/>
                  <a:gd name="T10" fmla="*/ 1249 w 1464"/>
                  <a:gd name="T11" fmla="*/ 259 h 1098"/>
                  <a:gd name="T12" fmla="*/ 1171 w 1464"/>
                  <a:gd name="T13" fmla="*/ 293 h 1098"/>
                  <a:gd name="T14" fmla="*/ 1082 w 1464"/>
                  <a:gd name="T15" fmla="*/ 321 h 1098"/>
                  <a:gd name="T16" fmla="*/ 984 w 1464"/>
                  <a:gd name="T17" fmla="*/ 344 h 1098"/>
                  <a:gd name="T18" fmla="*/ 879 w 1464"/>
                  <a:gd name="T19" fmla="*/ 358 h 1098"/>
                  <a:gd name="T20" fmla="*/ 770 w 1464"/>
                  <a:gd name="T21" fmla="*/ 366 h 1098"/>
                  <a:gd name="T22" fmla="*/ 694 w 1464"/>
                  <a:gd name="T23" fmla="*/ 366 h 1098"/>
                  <a:gd name="T24" fmla="*/ 585 w 1464"/>
                  <a:gd name="T25" fmla="*/ 358 h 1098"/>
                  <a:gd name="T26" fmla="*/ 480 w 1464"/>
                  <a:gd name="T27" fmla="*/ 344 h 1098"/>
                  <a:gd name="T28" fmla="*/ 382 w 1464"/>
                  <a:gd name="T29" fmla="*/ 321 h 1098"/>
                  <a:gd name="T30" fmla="*/ 293 w 1464"/>
                  <a:gd name="T31" fmla="*/ 293 h 1098"/>
                  <a:gd name="T32" fmla="*/ 215 w 1464"/>
                  <a:gd name="T33" fmla="*/ 259 h 1098"/>
                  <a:gd name="T34" fmla="*/ 145 w 1464"/>
                  <a:gd name="T35" fmla="*/ 218 h 1098"/>
                  <a:gd name="T36" fmla="*/ 89 w 1464"/>
                  <a:gd name="T37" fmla="*/ 174 h 1098"/>
                  <a:gd name="T38" fmla="*/ 44 w 1464"/>
                  <a:gd name="T39" fmla="*/ 126 h 1098"/>
                  <a:gd name="T40" fmla="*/ 15 w 1464"/>
                  <a:gd name="T41" fmla="*/ 73 h 1098"/>
                  <a:gd name="T42" fmla="*/ 1 w 1464"/>
                  <a:gd name="T43" fmla="*/ 19 h 1098"/>
                  <a:gd name="T44" fmla="*/ 0 w 1464"/>
                  <a:gd name="T45" fmla="*/ 732 h 1098"/>
                  <a:gd name="T46" fmla="*/ 9 w 1464"/>
                  <a:gd name="T47" fmla="*/ 788 h 1098"/>
                  <a:gd name="T48" fmla="*/ 33 w 1464"/>
                  <a:gd name="T49" fmla="*/ 841 h 1098"/>
                  <a:gd name="T50" fmla="*/ 72 w 1464"/>
                  <a:gd name="T51" fmla="*/ 891 h 1098"/>
                  <a:gd name="T52" fmla="*/ 124 w 1464"/>
                  <a:gd name="T53" fmla="*/ 937 h 1098"/>
                  <a:gd name="T54" fmla="*/ 190 w 1464"/>
                  <a:gd name="T55" fmla="*/ 978 h 1098"/>
                  <a:gd name="T56" fmla="*/ 267 w 1464"/>
                  <a:gd name="T57" fmla="*/ 1014 h 1098"/>
                  <a:gd name="T58" fmla="*/ 352 w 1464"/>
                  <a:gd name="T59" fmla="*/ 1045 h 1098"/>
                  <a:gd name="T60" fmla="*/ 447 w 1464"/>
                  <a:gd name="T61" fmla="*/ 1069 h 1098"/>
                  <a:gd name="T62" fmla="*/ 549 w 1464"/>
                  <a:gd name="T63" fmla="*/ 1087 h 1098"/>
                  <a:gd name="T64" fmla="*/ 657 w 1464"/>
                  <a:gd name="T65" fmla="*/ 1097 h 1098"/>
                  <a:gd name="T66" fmla="*/ 732 w 1464"/>
                  <a:gd name="T67" fmla="*/ 1098 h 1098"/>
                  <a:gd name="T68" fmla="*/ 844 w 1464"/>
                  <a:gd name="T69" fmla="*/ 1094 h 1098"/>
                  <a:gd name="T70" fmla="*/ 949 w 1464"/>
                  <a:gd name="T71" fmla="*/ 1081 h 1098"/>
                  <a:gd name="T72" fmla="*/ 1050 w 1464"/>
                  <a:gd name="T73" fmla="*/ 1062 h 1098"/>
                  <a:gd name="T74" fmla="*/ 1141 w 1464"/>
                  <a:gd name="T75" fmla="*/ 1036 h 1098"/>
                  <a:gd name="T76" fmla="*/ 1224 w 1464"/>
                  <a:gd name="T77" fmla="*/ 1003 h 1098"/>
                  <a:gd name="T78" fmla="*/ 1297 w 1464"/>
                  <a:gd name="T79" fmla="*/ 964 h 1098"/>
                  <a:gd name="T80" fmla="*/ 1359 w 1464"/>
                  <a:gd name="T81" fmla="*/ 921 h 1098"/>
                  <a:gd name="T82" fmla="*/ 1407 w 1464"/>
                  <a:gd name="T83" fmla="*/ 874 h 1098"/>
                  <a:gd name="T84" fmla="*/ 1441 w 1464"/>
                  <a:gd name="T85" fmla="*/ 823 h 1098"/>
                  <a:gd name="T86" fmla="*/ 1461 w 1464"/>
                  <a:gd name="T87" fmla="*/ 769 h 1098"/>
                  <a:gd name="T88" fmla="*/ 1464 w 1464"/>
                  <a:gd name="T89" fmla="*/ 0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64" h="1098">
                    <a:moveTo>
                      <a:pt x="1464" y="0"/>
                    </a:moveTo>
                    <a:lnTo>
                      <a:pt x="1464" y="0"/>
                    </a:lnTo>
                    <a:lnTo>
                      <a:pt x="1463" y="19"/>
                    </a:lnTo>
                    <a:lnTo>
                      <a:pt x="1461" y="37"/>
                    </a:lnTo>
                    <a:lnTo>
                      <a:pt x="1455" y="56"/>
                    </a:lnTo>
                    <a:lnTo>
                      <a:pt x="1449" y="73"/>
                    </a:lnTo>
                    <a:lnTo>
                      <a:pt x="1441" y="91"/>
                    </a:lnTo>
                    <a:lnTo>
                      <a:pt x="1431" y="109"/>
                    </a:lnTo>
                    <a:lnTo>
                      <a:pt x="1420" y="126"/>
                    </a:lnTo>
                    <a:lnTo>
                      <a:pt x="1407" y="142"/>
                    </a:lnTo>
                    <a:lnTo>
                      <a:pt x="1392" y="159"/>
                    </a:lnTo>
                    <a:lnTo>
                      <a:pt x="1375" y="174"/>
                    </a:lnTo>
                    <a:lnTo>
                      <a:pt x="1359" y="189"/>
                    </a:lnTo>
                    <a:lnTo>
                      <a:pt x="1340" y="204"/>
                    </a:lnTo>
                    <a:lnTo>
                      <a:pt x="1319" y="218"/>
                    </a:lnTo>
                    <a:lnTo>
                      <a:pt x="1297" y="232"/>
                    </a:lnTo>
                    <a:lnTo>
                      <a:pt x="1274" y="246"/>
                    </a:lnTo>
                    <a:lnTo>
                      <a:pt x="1249" y="259"/>
                    </a:lnTo>
                    <a:lnTo>
                      <a:pt x="1224" y="270"/>
                    </a:lnTo>
                    <a:lnTo>
                      <a:pt x="1197" y="282"/>
                    </a:lnTo>
                    <a:lnTo>
                      <a:pt x="1171" y="293"/>
                    </a:lnTo>
                    <a:lnTo>
                      <a:pt x="1141" y="304"/>
                    </a:lnTo>
                    <a:lnTo>
                      <a:pt x="1112" y="312"/>
                    </a:lnTo>
                    <a:lnTo>
                      <a:pt x="1082" y="321"/>
                    </a:lnTo>
                    <a:lnTo>
                      <a:pt x="1050" y="330"/>
                    </a:lnTo>
                    <a:lnTo>
                      <a:pt x="1017" y="337"/>
                    </a:lnTo>
                    <a:lnTo>
                      <a:pt x="984" y="344"/>
                    </a:lnTo>
                    <a:lnTo>
                      <a:pt x="949" y="349"/>
                    </a:lnTo>
                    <a:lnTo>
                      <a:pt x="915" y="354"/>
                    </a:lnTo>
                    <a:lnTo>
                      <a:pt x="879" y="358"/>
                    </a:lnTo>
                    <a:lnTo>
                      <a:pt x="844" y="362"/>
                    </a:lnTo>
                    <a:lnTo>
                      <a:pt x="807" y="365"/>
                    </a:lnTo>
                    <a:lnTo>
                      <a:pt x="770" y="366"/>
                    </a:lnTo>
                    <a:lnTo>
                      <a:pt x="732" y="366"/>
                    </a:lnTo>
                    <a:lnTo>
                      <a:pt x="732" y="366"/>
                    </a:lnTo>
                    <a:lnTo>
                      <a:pt x="694" y="366"/>
                    </a:lnTo>
                    <a:lnTo>
                      <a:pt x="657" y="365"/>
                    </a:lnTo>
                    <a:lnTo>
                      <a:pt x="620" y="362"/>
                    </a:lnTo>
                    <a:lnTo>
                      <a:pt x="585" y="358"/>
                    </a:lnTo>
                    <a:lnTo>
                      <a:pt x="549" y="354"/>
                    </a:lnTo>
                    <a:lnTo>
                      <a:pt x="515" y="349"/>
                    </a:lnTo>
                    <a:lnTo>
                      <a:pt x="480" y="344"/>
                    </a:lnTo>
                    <a:lnTo>
                      <a:pt x="447" y="337"/>
                    </a:lnTo>
                    <a:lnTo>
                      <a:pt x="414" y="330"/>
                    </a:lnTo>
                    <a:lnTo>
                      <a:pt x="382" y="321"/>
                    </a:lnTo>
                    <a:lnTo>
                      <a:pt x="352" y="312"/>
                    </a:lnTo>
                    <a:lnTo>
                      <a:pt x="323" y="304"/>
                    </a:lnTo>
                    <a:lnTo>
                      <a:pt x="293" y="293"/>
                    </a:lnTo>
                    <a:lnTo>
                      <a:pt x="267" y="282"/>
                    </a:lnTo>
                    <a:lnTo>
                      <a:pt x="240" y="270"/>
                    </a:lnTo>
                    <a:lnTo>
                      <a:pt x="215" y="259"/>
                    </a:lnTo>
                    <a:lnTo>
                      <a:pt x="190" y="246"/>
                    </a:lnTo>
                    <a:lnTo>
                      <a:pt x="167" y="232"/>
                    </a:lnTo>
                    <a:lnTo>
                      <a:pt x="145" y="218"/>
                    </a:lnTo>
                    <a:lnTo>
                      <a:pt x="124" y="204"/>
                    </a:lnTo>
                    <a:lnTo>
                      <a:pt x="105" y="189"/>
                    </a:lnTo>
                    <a:lnTo>
                      <a:pt x="89" y="174"/>
                    </a:lnTo>
                    <a:lnTo>
                      <a:pt x="72" y="159"/>
                    </a:lnTo>
                    <a:lnTo>
                      <a:pt x="57" y="142"/>
                    </a:lnTo>
                    <a:lnTo>
                      <a:pt x="44" y="126"/>
                    </a:lnTo>
                    <a:lnTo>
                      <a:pt x="33" y="109"/>
                    </a:lnTo>
                    <a:lnTo>
                      <a:pt x="23" y="91"/>
                    </a:lnTo>
                    <a:lnTo>
                      <a:pt x="15" y="73"/>
                    </a:lnTo>
                    <a:lnTo>
                      <a:pt x="9" y="56"/>
                    </a:lnTo>
                    <a:lnTo>
                      <a:pt x="3" y="37"/>
                    </a:lnTo>
                    <a:lnTo>
                      <a:pt x="1" y="19"/>
                    </a:lnTo>
                    <a:lnTo>
                      <a:pt x="0" y="0"/>
                    </a:lnTo>
                    <a:lnTo>
                      <a:pt x="0" y="732"/>
                    </a:lnTo>
                    <a:lnTo>
                      <a:pt x="0" y="732"/>
                    </a:lnTo>
                    <a:lnTo>
                      <a:pt x="1" y="751"/>
                    </a:lnTo>
                    <a:lnTo>
                      <a:pt x="3" y="769"/>
                    </a:lnTo>
                    <a:lnTo>
                      <a:pt x="9" y="788"/>
                    </a:lnTo>
                    <a:lnTo>
                      <a:pt x="15" y="806"/>
                    </a:lnTo>
                    <a:lnTo>
                      <a:pt x="23" y="823"/>
                    </a:lnTo>
                    <a:lnTo>
                      <a:pt x="33" y="841"/>
                    </a:lnTo>
                    <a:lnTo>
                      <a:pt x="44" y="858"/>
                    </a:lnTo>
                    <a:lnTo>
                      <a:pt x="57" y="874"/>
                    </a:lnTo>
                    <a:lnTo>
                      <a:pt x="72" y="891"/>
                    </a:lnTo>
                    <a:lnTo>
                      <a:pt x="89" y="906"/>
                    </a:lnTo>
                    <a:lnTo>
                      <a:pt x="105" y="921"/>
                    </a:lnTo>
                    <a:lnTo>
                      <a:pt x="124" y="937"/>
                    </a:lnTo>
                    <a:lnTo>
                      <a:pt x="145" y="950"/>
                    </a:lnTo>
                    <a:lnTo>
                      <a:pt x="167" y="964"/>
                    </a:lnTo>
                    <a:lnTo>
                      <a:pt x="190" y="978"/>
                    </a:lnTo>
                    <a:lnTo>
                      <a:pt x="215" y="991"/>
                    </a:lnTo>
                    <a:lnTo>
                      <a:pt x="240" y="1003"/>
                    </a:lnTo>
                    <a:lnTo>
                      <a:pt x="267" y="1014"/>
                    </a:lnTo>
                    <a:lnTo>
                      <a:pt x="293" y="1025"/>
                    </a:lnTo>
                    <a:lnTo>
                      <a:pt x="323" y="1036"/>
                    </a:lnTo>
                    <a:lnTo>
                      <a:pt x="352" y="1045"/>
                    </a:lnTo>
                    <a:lnTo>
                      <a:pt x="382" y="1053"/>
                    </a:lnTo>
                    <a:lnTo>
                      <a:pt x="414" y="1062"/>
                    </a:lnTo>
                    <a:lnTo>
                      <a:pt x="447" y="1069"/>
                    </a:lnTo>
                    <a:lnTo>
                      <a:pt x="480" y="1076"/>
                    </a:lnTo>
                    <a:lnTo>
                      <a:pt x="515" y="1081"/>
                    </a:lnTo>
                    <a:lnTo>
                      <a:pt x="549" y="1087"/>
                    </a:lnTo>
                    <a:lnTo>
                      <a:pt x="585" y="1090"/>
                    </a:lnTo>
                    <a:lnTo>
                      <a:pt x="620" y="1094"/>
                    </a:lnTo>
                    <a:lnTo>
                      <a:pt x="657" y="1097"/>
                    </a:lnTo>
                    <a:lnTo>
                      <a:pt x="694" y="1098"/>
                    </a:lnTo>
                    <a:lnTo>
                      <a:pt x="732" y="1098"/>
                    </a:lnTo>
                    <a:lnTo>
                      <a:pt x="732" y="1098"/>
                    </a:lnTo>
                    <a:lnTo>
                      <a:pt x="770" y="1098"/>
                    </a:lnTo>
                    <a:lnTo>
                      <a:pt x="807" y="1097"/>
                    </a:lnTo>
                    <a:lnTo>
                      <a:pt x="844" y="1094"/>
                    </a:lnTo>
                    <a:lnTo>
                      <a:pt x="879" y="1090"/>
                    </a:lnTo>
                    <a:lnTo>
                      <a:pt x="915" y="1087"/>
                    </a:lnTo>
                    <a:lnTo>
                      <a:pt x="949" y="1081"/>
                    </a:lnTo>
                    <a:lnTo>
                      <a:pt x="984" y="1076"/>
                    </a:lnTo>
                    <a:lnTo>
                      <a:pt x="1017" y="1069"/>
                    </a:lnTo>
                    <a:lnTo>
                      <a:pt x="1050" y="1062"/>
                    </a:lnTo>
                    <a:lnTo>
                      <a:pt x="1082" y="1053"/>
                    </a:lnTo>
                    <a:lnTo>
                      <a:pt x="1112" y="1045"/>
                    </a:lnTo>
                    <a:lnTo>
                      <a:pt x="1141" y="1036"/>
                    </a:lnTo>
                    <a:lnTo>
                      <a:pt x="1171" y="1025"/>
                    </a:lnTo>
                    <a:lnTo>
                      <a:pt x="1197" y="1014"/>
                    </a:lnTo>
                    <a:lnTo>
                      <a:pt x="1224" y="1003"/>
                    </a:lnTo>
                    <a:lnTo>
                      <a:pt x="1249" y="991"/>
                    </a:lnTo>
                    <a:lnTo>
                      <a:pt x="1274" y="978"/>
                    </a:lnTo>
                    <a:lnTo>
                      <a:pt x="1297" y="964"/>
                    </a:lnTo>
                    <a:lnTo>
                      <a:pt x="1319" y="950"/>
                    </a:lnTo>
                    <a:lnTo>
                      <a:pt x="1340" y="937"/>
                    </a:lnTo>
                    <a:lnTo>
                      <a:pt x="1359" y="921"/>
                    </a:lnTo>
                    <a:lnTo>
                      <a:pt x="1375" y="906"/>
                    </a:lnTo>
                    <a:lnTo>
                      <a:pt x="1392" y="891"/>
                    </a:lnTo>
                    <a:lnTo>
                      <a:pt x="1407" y="874"/>
                    </a:lnTo>
                    <a:lnTo>
                      <a:pt x="1420" y="858"/>
                    </a:lnTo>
                    <a:lnTo>
                      <a:pt x="1431" y="841"/>
                    </a:lnTo>
                    <a:lnTo>
                      <a:pt x="1441" y="823"/>
                    </a:lnTo>
                    <a:lnTo>
                      <a:pt x="1449" y="806"/>
                    </a:lnTo>
                    <a:lnTo>
                      <a:pt x="1455" y="788"/>
                    </a:lnTo>
                    <a:lnTo>
                      <a:pt x="1461" y="769"/>
                    </a:lnTo>
                    <a:lnTo>
                      <a:pt x="1463" y="751"/>
                    </a:lnTo>
                    <a:lnTo>
                      <a:pt x="1464" y="732"/>
                    </a:lnTo>
                    <a:lnTo>
                      <a:pt x="1464" y="0"/>
                    </a:lnTo>
                    <a:close/>
                  </a:path>
                </a:pathLst>
              </a:custGeom>
              <a:gradFill rotWithShape="1">
                <a:gsLst>
                  <a:gs pos="0">
                    <a:srgbClr val="969696"/>
                  </a:gs>
                  <a:gs pos="50000">
                    <a:srgbClr val="969696">
                      <a:gamma/>
                      <a:tint val="60784"/>
                      <a:invGamma/>
                    </a:srgbClr>
                  </a:gs>
                  <a:gs pos="100000">
                    <a:srgbClr val="969696"/>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6" name="Group 28"/>
            <p:cNvGrpSpPr/>
            <p:nvPr/>
          </p:nvGrpSpPr>
          <p:grpSpPr bwMode="auto">
            <a:xfrm>
              <a:off x="1368425" y="3237186"/>
              <a:ext cx="2905125" cy="1306513"/>
              <a:chOff x="1069" y="2559"/>
              <a:chExt cx="1830" cy="823"/>
            </a:xfrm>
          </p:grpSpPr>
          <p:sp>
            <p:nvSpPr>
              <p:cNvPr id="37" name="Freeform 29"/>
              <p:cNvSpPr/>
              <p:nvPr/>
            </p:nvSpPr>
            <p:spPr bwMode="auto">
              <a:xfrm>
                <a:off x="1069" y="2559"/>
                <a:ext cx="1830" cy="457"/>
              </a:xfrm>
              <a:custGeom>
                <a:avLst/>
                <a:gdLst>
                  <a:gd name="T0" fmla="*/ 1 w 1830"/>
                  <a:gd name="T1" fmla="*/ 24 h 457"/>
                  <a:gd name="T2" fmla="*/ 19 w 1830"/>
                  <a:gd name="T3" fmla="*/ 93 h 457"/>
                  <a:gd name="T4" fmla="*/ 55 w 1830"/>
                  <a:gd name="T5" fmla="*/ 157 h 457"/>
                  <a:gd name="T6" fmla="*/ 110 w 1830"/>
                  <a:gd name="T7" fmla="*/ 218 h 457"/>
                  <a:gd name="T8" fmla="*/ 181 w 1830"/>
                  <a:gd name="T9" fmla="*/ 273 h 457"/>
                  <a:gd name="T10" fmla="*/ 268 w 1830"/>
                  <a:gd name="T11" fmla="*/ 324 h 457"/>
                  <a:gd name="T12" fmla="*/ 367 w 1830"/>
                  <a:gd name="T13" fmla="*/ 366 h 457"/>
                  <a:gd name="T14" fmla="*/ 479 w 1830"/>
                  <a:gd name="T15" fmla="*/ 403 h 457"/>
                  <a:gd name="T16" fmla="*/ 600 w 1830"/>
                  <a:gd name="T17" fmla="*/ 429 h 457"/>
                  <a:gd name="T18" fmla="*/ 731 w 1830"/>
                  <a:gd name="T19" fmla="*/ 448 h 457"/>
                  <a:gd name="T20" fmla="*/ 868 w 1830"/>
                  <a:gd name="T21" fmla="*/ 457 h 457"/>
                  <a:gd name="T22" fmla="*/ 962 w 1830"/>
                  <a:gd name="T23" fmla="*/ 457 h 457"/>
                  <a:gd name="T24" fmla="*/ 1099 w 1830"/>
                  <a:gd name="T25" fmla="*/ 448 h 457"/>
                  <a:gd name="T26" fmla="*/ 1230 w 1830"/>
                  <a:gd name="T27" fmla="*/ 429 h 457"/>
                  <a:gd name="T28" fmla="*/ 1351 w 1830"/>
                  <a:gd name="T29" fmla="*/ 403 h 457"/>
                  <a:gd name="T30" fmla="*/ 1463 w 1830"/>
                  <a:gd name="T31" fmla="*/ 366 h 457"/>
                  <a:gd name="T32" fmla="*/ 1562 w 1830"/>
                  <a:gd name="T33" fmla="*/ 324 h 457"/>
                  <a:gd name="T34" fmla="*/ 1649 w 1830"/>
                  <a:gd name="T35" fmla="*/ 273 h 457"/>
                  <a:gd name="T36" fmla="*/ 1720 w 1830"/>
                  <a:gd name="T37" fmla="*/ 218 h 457"/>
                  <a:gd name="T38" fmla="*/ 1775 w 1830"/>
                  <a:gd name="T39" fmla="*/ 157 h 457"/>
                  <a:gd name="T40" fmla="*/ 1811 w 1830"/>
                  <a:gd name="T41" fmla="*/ 93 h 457"/>
                  <a:gd name="T42" fmla="*/ 1829 w 1830"/>
                  <a:gd name="T43" fmla="*/ 24 h 457"/>
                  <a:gd name="T44" fmla="*/ 1739 w 1830"/>
                  <a:gd name="T45" fmla="*/ 0 h 457"/>
                  <a:gd name="T46" fmla="*/ 1730 w 1830"/>
                  <a:gd name="T47" fmla="*/ 62 h 457"/>
                  <a:gd name="T48" fmla="*/ 1702 w 1830"/>
                  <a:gd name="T49" fmla="*/ 122 h 457"/>
                  <a:gd name="T50" fmla="*/ 1658 w 1830"/>
                  <a:gd name="T51" fmla="*/ 178 h 457"/>
                  <a:gd name="T52" fmla="*/ 1598 w 1830"/>
                  <a:gd name="T53" fmla="*/ 230 h 457"/>
                  <a:gd name="T54" fmla="*/ 1525 w 1830"/>
                  <a:gd name="T55" fmla="*/ 277 h 457"/>
                  <a:gd name="T56" fmla="*/ 1439 w 1830"/>
                  <a:gd name="T57" fmla="*/ 318 h 457"/>
                  <a:gd name="T58" fmla="*/ 1342 w 1830"/>
                  <a:gd name="T59" fmla="*/ 352 h 457"/>
                  <a:gd name="T60" fmla="*/ 1235 w 1830"/>
                  <a:gd name="T61" fmla="*/ 380 h 457"/>
                  <a:gd name="T62" fmla="*/ 1121 w 1830"/>
                  <a:gd name="T63" fmla="*/ 399 h 457"/>
                  <a:gd name="T64" fmla="*/ 999 w 1830"/>
                  <a:gd name="T65" fmla="*/ 409 h 457"/>
                  <a:gd name="T66" fmla="*/ 915 w 1830"/>
                  <a:gd name="T67" fmla="*/ 412 h 457"/>
                  <a:gd name="T68" fmla="*/ 789 w 1830"/>
                  <a:gd name="T69" fmla="*/ 407 h 457"/>
                  <a:gd name="T70" fmla="*/ 670 w 1830"/>
                  <a:gd name="T71" fmla="*/ 393 h 457"/>
                  <a:gd name="T72" fmla="*/ 558 w 1830"/>
                  <a:gd name="T73" fmla="*/ 371 h 457"/>
                  <a:gd name="T74" fmla="*/ 455 w 1830"/>
                  <a:gd name="T75" fmla="*/ 342 h 457"/>
                  <a:gd name="T76" fmla="*/ 361 w 1830"/>
                  <a:gd name="T77" fmla="*/ 305 h 457"/>
                  <a:gd name="T78" fmla="*/ 279 w 1830"/>
                  <a:gd name="T79" fmla="*/ 262 h 457"/>
                  <a:gd name="T80" fmla="*/ 211 w 1830"/>
                  <a:gd name="T81" fmla="*/ 213 h 457"/>
                  <a:gd name="T82" fmla="*/ 156 w 1830"/>
                  <a:gd name="T83" fmla="*/ 160 h 457"/>
                  <a:gd name="T84" fmla="*/ 117 w 1830"/>
                  <a:gd name="T85" fmla="*/ 103 h 457"/>
                  <a:gd name="T86" fmla="*/ 95 w 1830"/>
                  <a:gd name="T87" fmla="*/ 42 h 457"/>
                  <a:gd name="T88" fmla="*/ 0 w 1830"/>
                  <a:gd name="T89"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0" h="457">
                    <a:moveTo>
                      <a:pt x="0" y="0"/>
                    </a:moveTo>
                    <a:lnTo>
                      <a:pt x="0" y="0"/>
                    </a:lnTo>
                    <a:lnTo>
                      <a:pt x="1" y="24"/>
                    </a:lnTo>
                    <a:lnTo>
                      <a:pt x="5" y="47"/>
                    </a:lnTo>
                    <a:lnTo>
                      <a:pt x="10" y="70"/>
                    </a:lnTo>
                    <a:lnTo>
                      <a:pt x="19" y="93"/>
                    </a:lnTo>
                    <a:lnTo>
                      <a:pt x="29" y="114"/>
                    </a:lnTo>
                    <a:lnTo>
                      <a:pt x="40" y="136"/>
                    </a:lnTo>
                    <a:lnTo>
                      <a:pt x="55" y="157"/>
                    </a:lnTo>
                    <a:lnTo>
                      <a:pt x="72" y="178"/>
                    </a:lnTo>
                    <a:lnTo>
                      <a:pt x="90" y="198"/>
                    </a:lnTo>
                    <a:lnTo>
                      <a:pt x="110" y="218"/>
                    </a:lnTo>
                    <a:lnTo>
                      <a:pt x="132" y="237"/>
                    </a:lnTo>
                    <a:lnTo>
                      <a:pt x="156" y="255"/>
                    </a:lnTo>
                    <a:lnTo>
                      <a:pt x="181" y="273"/>
                    </a:lnTo>
                    <a:lnTo>
                      <a:pt x="208" y="291"/>
                    </a:lnTo>
                    <a:lnTo>
                      <a:pt x="237" y="307"/>
                    </a:lnTo>
                    <a:lnTo>
                      <a:pt x="268" y="324"/>
                    </a:lnTo>
                    <a:lnTo>
                      <a:pt x="300" y="338"/>
                    </a:lnTo>
                    <a:lnTo>
                      <a:pt x="333" y="353"/>
                    </a:lnTo>
                    <a:lnTo>
                      <a:pt x="367" y="366"/>
                    </a:lnTo>
                    <a:lnTo>
                      <a:pt x="403" y="380"/>
                    </a:lnTo>
                    <a:lnTo>
                      <a:pt x="441" y="391"/>
                    </a:lnTo>
                    <a:lnTo>
                      <a:pt x="479" y="403"/>
                    </a:lnTo>
                    <a:lnTo>
                      <a:pt x="518" y="412"/>
                    </a:lnTo>
                    <a:lnTo>
                      <a:pt x="559" y="422"/>
                    </a:lnTo>
                    <a:lnTo>
                      <a:pt x="600" y="429"/>
                    </a:lnTo>
                    <a:lnTo>
                      <a:pt x="643" y="437"/>
                    </a:lnTo>
                    <a:lnTo>
                      <a:pt x="686" y="443"/>
                    </a:lnTo>
                    <a:lnTo>
                      <a:pt x="731" y="448"/>
                    </a:lnTo>
                    <a:lnTo>
                      <a:pt x="775" y="452"/>
                    </a:lnTo>
                    <a:lnTo>
                      <a:pt x="821" y="455"/>
                    </a:lnTo>
                    <a:lnTo>
                      <a:pt x="868" y="457"/>
                    </a:lnTo>
                    <a:lnTo>
                      <a:pt x="915" y="457"/>
                    </a:lnTo>
                    <a:lnTo>
                      <a:pt x="915" y="457"/>
                    </a:lnTo>
                    <a:lnTo>
                      <a:pt x="962" y="457"/>
                    </a:lnTo>
                    <a:lnTo>
                      <a:pt x="1009" y="455"/>
                    </a:lnTo>
                    <a:lnTo>
                      <a:pt x="1055" y="452"/>
                    </a:lnTo>
                    <a:lnTo>
                      <a:pt x="1099" y="448"/>
                    </a:lnTo>
                    <a:lnTo>
                      <a:pt x="1144" y="443"/>
                    </a:lnTo>
                    <a:lnTo>
                      <a:pt x="1187" y="437"/>
                    </a:lnTo>
                    <a:lnTo>
                      <a:pt x="1230" y="429"/>
                    </a:lnTo>
                    <a:lnTo>
                      <a:pt x="1271" y="422"/>
                    </a:lnTo>
                    <a:lnTo>
                      <a:pt x="1312" y="412"/>
                    </a:lnTo>
                    <a:lnTo>
                      <a:pt x="1351" y="403"/>
                    </a:lnTo>
                    <a:lnTo>
                      <a:pt x="1389" y="391"/>
                    </a:lnTo>
                    <a:lnTo>
                      <a:pt x="1427" y="380"/>
                    </a:lnTo>
                    <a:lnTo>
                      <a:pt x="1463" y="366"/>
                    </a:lnTo>
                    <a:lnTo>
                      <a:pt x="1497" y="353"/>
                    </a:lnTo>
                    <a:lnTo>
                      <a:pt x="1530" y="338"/>
                    </a:lnTo>
                    <a:lnTo>
                      <a:pt x="1562" y="324"/>
                    </a:lnTo>
                    <a:lnTo>
                      <a:pt x="1593" y="307"/>
                    </a:lnTo>
                    <a:lnTo>
                      <a:pt x="1622" y="291"/>
                    </a:lnTo>
                    <a:lnTo>
                      <a:pt x="1649" y="273"/>
                    </a:lnTo>
                    <a:lnTo>
                      <a:pt x="1674" y="255"/>
                    </a:lnTo>
                    <a:lnTo>
                      <a:pt x="1698" y="237"/>
                    </a:lnTo>
                    <a:lnTo>
                      <a:pt x="1720" y="218"/>
                    </a:lnTo>
                    <a:lnTo>
                      <a:pt x="1740" y="198"/>
                    </a:lnTo>
                    <a:lnTo>
                      <a:pt x="1758" y="178"/>
                    </a:lnTo>
                    <a:lnTo>
                      <a:pt x="1775" y="157"/>
                    </a:lnTo>
                    <a:lnTo>
                      <a:pt x="1790" y="136"/>
                    </a:lnTo>
                    <a:lnTo>
                      <a:pt x="1801" y="114"/>
                    </a:lnTo>
                    <a:lnTo>
                      <a:pt x="1811" y="93"/>
                    </a:lnTo>
                    <a:lnTo>
                      <a:pt x="1820" y="70"/>
                    </a:lnTo>
                    <a:lnTo>
                      <a:pt x="1825" y="47"/>
                    </a:lnTo>
                    <a:lnTo>
                      <a:pt x="1829" y="24"/>
                    </a:lnTo>
                    <a:lnTo>
                      <a:pt x="1830" y="0"/>
                    </a:lnTo>
                    <a:lnTo>
                      <a:pt x="1739" y="0"/>
                    </a:lnTo>
                    <a:lnTo>
                      <a:pt x="1739" y="0"/>
                    </a:lnTo>
                    <a:lnTo>
                      <a:pt x="1738" y="21"/>
                    </a:lnTo>
                    <a:lnTo>
                      <a:pt x="1735" y="42"/>
                    </a:lnTo>
                    <a:lnTo>
                      <a:pt x="1730" y="62"/>
                    </a:lnTo>
                    <a:lnTo>
                      <a:pt x="1722" y="82"/>
                    </a:lnTo>
                    <a:lnTo>
                      <a:pt x="1713" y="103"/>
                    </a:lnTo>
                    <a:lnTo>
                      <a:pt x="1702" y="122"/>
                    </a:lnTo>
                    <a:lnTo>
                      <a:pt x="1689" y="141"/>
                    </a:lnTo>
                    <a:lnTo>
                      <a:pt x="1674" y="160"/>
                    </a:lnTo>
                    <a:lnTo>
                      <a:pt x="1658" y="178"/>
                    </a:lnTo>
                    <a:lnTo>
                      <a:pt x="1640" y="196"/>
                    </a:lnTo>
                    <a:lnTo>
                      <a:pt x="1619" y="213"/>
                    </a:lnTo>
                    <a:lnTo>
                      <a:pt x="1598" y="230"/>
                    </a:lnTo>
                    <a:lnTo>
                      <a:pt x="1575" y="246"/>
                    </a:lnTo>
                    <a:lnTo>
                      <a:pt x="1551" y="262"/>
                    </a:lnTo>
                    <a:lnTo>
                      <a:pt x="1525" y="277"/>
                    </a:lnTo>
                    <a:lnTo>
                      <a:pt x="1497" y="291"/>
                    </a:lnTo>
                    <a:lnTo>
                      <a:pt x="1469" y="305"/>
                    </a:lnTo>
                    <a:lnTo>
                      <a:pt x="1439" y="318"/>
                    </a:lnTo>
                    <a:lnTo>
                      <a:pt x="1408" y="330"/>
                    </a:lnTo>
                    <a:lnTo>
                      <a:pt x="1375" y="342"/>
                    </a:lnTo>
                    <a:lnTo>
                      <a:pt x="1342" y="352"/>
                    </a:lnTo>
                    <a:lnTo>
                      <a:pt x="1308" y="362"/>
                    </a:lnTo>
                    <a:lnTo>
                      <a:pt x="1272" y="371"/>
                    </a:lnTo>
                    <a:lnTo>
                      <a:pt x="1235" y="380"/>
                    </a:lnTo>
                    <a:lnTo>
                      <a:pt x="1199" y="386"/>
                    </a:lnTo>
                    <a:lnTo>
                      <a:pt x="1160" y="393"/>
                    </a:lnTo>
                    <a:lnTo>
                      <a:pt x="1121" y="399"/>
                    </a:lnTo>
                    <a:lnTo>
                      <a:pt x="1082" y="403"/>
                    </a:lnTo>
                    <a:lnTo>
                      <a:pt x="1041" y="407"/>
                    </a:lnTo>
                    <a:lnTo>
                      <a:pt x="999" y="409"/>
                    </a:lnTo>
                    <a:lnTo>
                      <a:pt x="957" y="412"/>
                    </a:lnTo>
                    <a:lnTo>
                      <a:pt x="915" y="412"/>
                    </a:lnTo>
                    <a:lnTo>
                      <a:pt x="915" y="412"/>
                    </a:lnTo>
                    <a:lnTo>
                      <a:pt x="873" y="412"/>
                    </a:lnTo>
                    <a:lnTo>
                      <a:pt x="831" y="409"/>
                    </a:lnTo>
                    <a:lnTo>
                      <a:pt x="789" y="407"/>
                    </a:lnTo>
                    <a:lnTo>
                      <a:pt x="748" y="403"/>
                    </a:lnTo>
                    <a:lnTo>
                      <a:pt x="709" y="399"/>
                    </a:lnTo>
                    <a:lnTo>
                      <a:pt x="670" y="393"/>
                    </a:lnTo>
                    <a:lnTo>
                      <a:pt x="631" y="386"/>
                    </a:lnTo>
                    <a:lnTo>
                      <a:pt x="595" y="380"/>
                    </a:lnTo>
                    <a:lnTo>
                      <a:pt x="558" y="371"/>
                    </a:lnTo>
                    <a:lnTo>
                      <a:pt x="522" y="362"/>
                    </a:lnTo>
                    <a:lnTo>
                      <a:pt x="488" y="352"/>
                    </a:lnTo>
                    <a:lnTo>
                      <a:pt x="455" y="342"/>
                    </a:lnTo>
                    <a:lnTo>
                      <a:pt x="422" y="330"/>
                    </a:lnTo>
                    <a:lnTo>
                      <a:pt x="391" y="318"/>
                    </a:lnTo>
                    <a:lnTo>
                      <a:pt x="361" y="305"/>
                    </a:lnTo>
                    <a:lnTo>
                      <a:pt x="333" y="291"/>
                    </a:lnTo>
                    <a:lnTo>
                      <a:pt x="305" y="277"/>
                    </a:lnTo>
                    <a:lnTo>
                      <a:pt x="279" y="262"/>
                    </a:lnTo>
                    <a:lnTo>
                      <a:pt x="255" y="246"/>
                    </a:lnTo>
                    <a:lnTo>
                      <a:pt x="232" y="230"/>
                    </a:lnTo>
                    <a:lnTo>
                      <a:pt x="211" y="213"/>
                    </a:lnTo>
                    <a:lnTo>
                      <a:pt x="190" y="196"/>
                    </a:lnTo>
                    <a:lnTo>
                      <a:pt x="172" y="178"/>
                    </a:lnTo>
                    <a:lnTo>
                      <a:pt x="156" y="160"/>
                    </a:lnTo>
                    <a:lnTo>
                      <a:pt x="141" y="141"/>
                    </a:lnTo>
                    <a:lnTo>
                      <a:pt x="128" y="122"/>
                    </a:lnTo>
                    <a:lnTo>
                      <a:pt x="117" y="103"/>
                    </a:lnTo>
                    <a:lnTo>
                      <a:pt x="108" y="82"/>
                    </a:lnTo>
                    <a:lnTo>
                      <a:pt x="100" y="62"/>
                    </a:lnTo>
                    <a:lnTo>
                      <a:pt x="95" y="42"/>
                    </a:lnTo>
                    <a:lnTo>
                      <a:pt x="92" y="21"/>
                    </a:lnTo>
                    <a:lnTo>
                      <a:pt x="91" y="0"/>
                    </a:lnTo>
                    <a:lnTo>
                      <a:pt x="0" y="0"/>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38" name="Freeform 30"/>
              <p:cNvSpPr/>
              <p:nvPr/>
            </p:nvSpPr>
            <p:spPr bwMode="auto">
              <a:xfrm>
                <a:off x="1069" y="2559"/>
                <a:ext cx="1830" cy="823"/>
              </a:xfrm>
              <a:custGeom>
                <a:avLst/>
                <a:gdLst>
                  <a:gd name="T0" fmla="*/ 1829 w 1830"/>
                  <a:gd name="T1" fmla="*/ 24 h 823"/>
                  <a:gd name="T2" fmla="*/ 1811 w 1830"/>
                  <a:gd name="T3" fmla="*/ 93 h 823"/>
                  <a:gd name="T4" fmla="*/ 1775 w 1830"/>
                  <a:gd name="T5" fmla="*/ 157 h 823"/>
                  <a:gd name="T6" fmla="*/ 1720 w 1830"/>
                  <a:gd name="T7" fmla="*/ 218 h 823"/>
                  <a:gd name="T8" fmla="*/ 1649 w 1830"/>
                  <a:gd name="T9" fmla="*/ 273 h 823"/>
                  <a:gd name="T10" fmla="*/ 1562 w 1830"/>
                  <a:gd name="T11" fmla="*/ 324 h 823"/>
                  <a:gd name="T12" fmla="*/ 1463 w 1830"/>
                  <a:gd name="T13" fmla="*/ 366 h 823"/>
                  <a:gd name="T14" fmla="*/ 1351 w 1830"/>
                  <a:gd name="T15" fmla="*/ 403 h 823"/>
                  <a:gd name="T16" fmla="*/ 1230 w 1830"/>
                  <a:gd name="T17" fmla="*/ 429 h 823"/>
                  <a:gd name="T18" fmla="*/ 1099 w 1830"/>
                  <a:gd name="T19" fmla="*/ 448 h 823"/>
                  <a:gd name="T20" fmla="*/ 962 w 1830"/>
                  <a:gd name="T21" fmla="*/ 457 h 823"/>
                  <a:gd name="T22" fmla="*/ 868 w 1830"/>
                  <a:gd name="T23" fmla="*/ 457 h 823"/>
                  <a:gd name="T24" fmla="*/ 731 w 1830"/>
                  <a:gd name="T25" fmla="*/ 448 h 823"/>
                  <a:gd name="T26" fmla="*/ 600 w 1830"/>
                  <a:gd name="T27" fmla="*/ 429 h 823"/>
                  <a:gd name="T28" fmla="*/ 479 w 1830"/>
                  <a:gd name="T29" fmla="*/ 403 h 823"/>
                  <a:gd name="T30" fmla="*/ 367 w 1830"/>
                  <a:gd name="T31" fmla="*/ 366 h 823"/>
                  <a:gd name="T32" fmla="*/ 268 w 1830"/>
                  <a:gd name="T33" fmla="*/ 324 h 823"/>
                  <a:gd name="T34" fmla="*/ 181 w 1830"/>
                  <a:gd name="T35" fmla="*/ 273 h 823"/>
                  <a:gd name="T36" fmla="*/ 110 w 1830"/>
                  <a:gd name="T37" fmla="*/ 218 h 823"/>
                  <a:gd name="T38" fmla="*/ 55 w 1830"/>
                  <a:gd name="T39" fmla="*/ 157 h 823"/>
                  <a:gd name="T40" fmla="*/ 19 w 1830"/>
                  <a:gd name="T41" fmla="*/ 93 h 823"/>
                  <a:gd name="T42" fmla="*/ 1 w 1830"/>
                  <a:gd name="T43" fmla="*/ 24 h 823"/>
                  <a:gd name="T44" fmla="*/ 0 w 1830"/>
                  <a:gd name="T45" fmla="*/ 366 h 823"/>
                  <a:gd name="T46" fmla="*/ 10 w 1830"/>
                  <a:gd name="T47" fmla="*/ 436 h 823"/>
                  <a:gd name="T48" fmla="*/ 40 w 1830"/>
                  <a:gd name="T49" fmla="*/ 502 h 823"/>
                  <a:gd name="T50" fmla="*/ 90 w 1830"/>
                  <a:gd name="T51" fmla="*/ 564 h 823"/>
                  <a:gd name="T52" fmla="*/ 156 w 1830"/>
                  <a:gd name="T53" fmla="*/ 621 h 823"/>
                  <a:gd name="T54" fmla="*/ 237 w 1830"/>
                  <a:gd name="T55" fmla="*/ 673 h 823"/>
                  <a:gd name="T56" fmla="*/ 333 w 1830"/>
                  <a:gd name="T57" fmla="*/ 719 h 823"/>
                  <a:gd name="T58" fmla="*/ 441 w 1830"/>
                  <a:gd name="T59" fmla="*/ 757 h 823"/>
                  <a:gd name="T60" fmla="*/ 559 w 1830"/>
                  <a:gd name="T61" fmla="*/ 788 h 823"/>
                  <a:gd name="T62" fmla="*/ 686 w 1830"/>
                  <a:gd name="T63" fmla="*/ 809 h 823"/>
                  <a:gd name="T64" fmla="*/ 821 w 1830"/>
                  <a:gd name="T65" fmla="*/ 821 h 823"/>
                  <a:gd name="T66" fmla="*/ 915 w 1830"/>
                  <a:gd name="T67" fmla="*/ 823 h 823"/>
                  <a:gd name="T68" fmla="*/ 1055 w 1830"/>
                  <a:gd name="T69" fmla="*/ 818 h 823"/>
                  <a:gd name="T70" fmla="*/ 1187 w 1830"/>
                  <a:gd name="T71" fmla="*/ 803 h 823"/>
                  <a:gd name="T72" fmla="*/ 1312 w 1830"/>
                  <a:gd name="T73" fmla="*/ 778 h 823"/>
                  <a:gd name="T74" fmla="*/ 1427 w 1830"/>
                  <a:gd name="T75" fmla="*/ 746 h 823"/>
                  <a:gd name="T76" fmla="*/ 1530 w 1830"/>
                  <a:gd name="T77" fmla="*/ 704 h 823"/>
                  <a:gd name="T78" fmla="*/ 1622 w 1830"/>
                  <a:gd name="T79" fmla="*/ 657 h 823"/>
                  <a:gd name="T80" fmla="*/ 1698 w 1830"/>
                  <a:gd name="T81" fmla="*/ 604 h 823"/>
                  <a:gd name="T82" fmla="*/ 1758 w 1830"/>
                  <a:gd name="T83" fmla="*/ 544 h 823"/>
                  <a:gd name="T84" fmla="*/ 1801 w 1830"/>
                  <a:gd name="T85" fmla="*/ 480 h 823"/>
                  <a:gd name="T86" fmla="*/ 1825 w 1830"/>
                  <a:gd name="T87" fmla="*/ 413 h 823"/>
                  <a:gd name="T88" fmla="*/ 1830 w 1830"/>
                  <a:gd name="T89"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30" h="823">
                    <a:moveTo>
                      <a:pt x="1830" y="0"/>
                    </a:moveTo>
                    <a:lnTo>
                      <a:pt x="1830" y="0"/>
                    </a:lnTo>
                    <a:lnTo>
                      <a:pt x="1829" y="24"/>
                    </a:lnTo>
                    <a:lnTo>
                      <a:pt x="1825" y="47"/>
                    </a:lnTo>
                    <a:lnTo>
                      <a:pt x="1820" y="70"/>
                    </a:lnTo>
                    <a:lnTo>
                      <a:pt x="1811" y="93"/>
                    </a:lnTo>
                    <a:lnTo>
                      <a:pt x="1801" y="114"/>
                    </a:lnTo>
                    <a:lnTo>
                      <a:pt x="1790" y="136"/>
                    </a:lnTo>
                    <a:lnTo>
                      <a:pt x="1775" y="157"/>
                    </a:lnTo>
                    <a:lnTo>
                      <a:pt x="1758" y="178"/>
                    </a:lnTo>
                    <a:lnTo>
                      <a:pt x="1740" y="198"/>
                    </a:lnTo>
                    <a:lnTo>
                      <a:pt x="1720" y="218"/>
                    </a:lnTo>
                    <a:lnTo>
                      <a:pt x="1698" y="237"/>
                    </a:lnTo>
                    <a:lnTo>
                      <a:pt x="1674" y="255"/>
                    </a:lnTo>
                    <a:lnTo>
                      <a:pt x="1649" y="273"/>
                    </a:lnTo>
                    <a:lnTo>
                      <a:pt x="1622" y="291"/>
                    </a:lnTo>
                    <a:lnTo>
                      <a:pt x="1593" y="307"/>
                    </a:lnTo>
                    <a:lnTo>
                      <a:pt x="1562" y="324"/>
                    </a:lnTo>
                    <a:lnTo>
                      <a:pt x="1530" y="338"/>
                    </a:lnTo>
                    <a:lnTo>
                      <a:pt x="1497" y="353"/>
                    </a:lnTo>
                    <a:lnTo>
                      <a:pt x="1463" y="366"/>
                    </a:lnTo>
                    <a:lnTo>
                      <a:pt x="1427" y="380"/>
                    </a:lnTo>
                    <a:lnTo>
                      <a:pt x="1389" y="391"/>
                    </a:lnTo>
                    <a:lnTo>
                      <a:pt x="1351" y="403"/>
                    </a:lnTo>
                    <a:lnTo>
                      <a:pt x="1312" y="412"/>
                    </a:lnTo>
                    <a:lnTo>
                      <a:pt x="1271" y="422"/>
                    </a:lnTo>
                    <a:lnTo>
                      <a:pt x="1230" y="429"/>
                    </a:lnTo>
                    <a:lnTo>
                      <a:pt x="1187" y="437"/>
                    </a:lnTo>
                    <a:lnTo>
                      <a:pt x="1144" y="443"/>
                    </a:lnTo>
                    <a:lnTo>
                      <a:pt x="1099" y="448"/>
                    </a:lnTo>
                    <a:lnTo>
                      <a:pt x="1055" y="452"/>
                    </a:lnTo>
                    <a:lnTo>
                      <a:pt x="1009" y="455"/>
                    </a:lnTo>
                    <a:lnTo>
                      <a:pt x="962" y="457"/>
                    </a:lnTo>
                    <a:lnTo>
                      <a:pt x="915" y="457"/>
                    </a:lnTo>
                    <a:lnTo>
                      <a:pt x="915" y="457"/>
                    </a:lnTo>
                    <a:lnTo>
                      <a:pt x="868" y="457"/>
                    </a:lnTo>
                    <a:lnTo>
                      <a:pt x="821" y="455"/>
                    </a:lnTo>
                    <a:lnTo>
                      <a:pt x="775" y="452"/>
                    </a:lnTo>
                    <a:lnTo>
                      <a:pt x="731" y="448"/>
                    </a:lnTo>
                    <a:lnTo>
                      <a:pt x="686" y="443"/>
                    </a:lnTo>
                    <a:lnTo>
                      <a:pt x="643" y="437"/>
                    </a:lnTo>
                    <a:lnTo>
                      <a:pt x="600" y="429"/>
                    </a:lnTo>
                    <a:lnTo>
                      <a:pt x="559" y="422"/>
                    </a:lnTo>
                    <a:lnTo>
                      <a:pt x="518" y="412"/>
                    </a:lnTo>
                    <a:lnTo>
                      <a:pt x="479" y="403"/>
                    </a:lnTo>
                    <a:lnTo>
                      <a:pt x="441" y="391"/>
                    </a:lnTo>
                    <a:lnTo>
                      <a:pt x="403" y="380"/>
                    </a:lnTo>
                    <a:lnTo>
                      <a:pt x="367" y="366"/>
                    </a:lnTo>
                    <a:lnTo>
                      <a:pt x="333" y="353"/>
                    </a:lnTo>
                    <a:lnTo>
                      <a:pt x="300" y="338"/>
                    </a:lnTo>
                    <a:lnTo>
                      <a:pt x="268" y="324"/>
                    </a:lnTo>
                    <a:lnTo>
                      <a:pt x="237" y="307"/>
                    </a:lnTo>
                    <a:lnTo>
                      <a:pt x="208" y="291"/>
                    </a:lnTo>
                    <a:lnTo>
                      <a:pt x="181" y="273"/>
                    </a:lnTo>
                    <a:lnTo>
                      <a:pt x="156" y="255"/>
                    </a:lnTo>
                    <a:lnTo>
                      <a:pt x="132" y="237"/>
                    </a:lnTo>
                    <a:lnTo>
                      <a:pt x="110" y="218"/>
                    </a:lnTo>
                    <a:lnTo>
                      <a:pt x="90" y="198"/>
                    </a:lnTo>
                    <a:lnTo>
                      <a:pt x="72" y="178"/>
                    </a:lnTo>
                    <a:lnTo>
                      <a:pt x="55" y="157"/>
                    </a:lnTo>
                    <a:lnTo>
                      <a:pt x="40" y="136"/>
                    </a:lnTo>
                    <a:lnTo>
                      <a:pt x="29" y="114"/>
                    </a:lnTo>
                    <a:lnTo>
                      <a:pt x="19" y="93"/>
                    </a:lnTo>
                    <a:lnTo>
                      <a:pt x="10" y="70"/>
                    </a:lnTo>
                    <a:lnTo>
                      <a:pt x="5" y="47"/>
                    </a:lnTo>
                    <a:lnTo>
                      <a:pt x="1" y="24"/>
                    </a:lnTo>
                    <a:lnTo>
                      <a:pt x="0" y="0"/>
                    </a:lnTo>
                    <a:lnTo>
                      <a:pt x="0" y="366"/>
                    </a:lnTo>
                    <a:lnTo>
                      <a:pt x="0" y="366"/>
                    </a:lnTo>
                    <a:lnTo>
                      <a:pt x="1" y="390"/>
                    </a:lnTo>
                    <a:lnTo>
                      <a:pt x="5" y="413"/>
                    </a:lnTo>
                    <a:lnTo>
                      <a:pt x="10" y="436"/>
                    </a:lnTo>
                    <a:lnTo>
                      <a:pt x="19" y="459"/>
                    </a:lnTo>
                    <a:lnTo>
                      <a:pt x="29" y="480"/>
                    </a:lnTo>
                    <a:lnTo>
                      <a:pt x="40" y="502"/>
                    </a:lnTo>
                    <a:lnTo>
                      <a:pt x="55" y="523"/>
                    </a:lnTo>
                    <a:lnTo>
                      <a:pt x="72" y="544"/>
                    </a:lnTo>
                    <a:lnTo>
                      <a:pt x="90" y="564"/>
                    </a:lnTo>
                    <a:lnTo>
                      <a:pt x="110" y="584"/>
                    </a:lnTo>
                    <a:lnTo>
                      <a:pt x="132" y="604"/>
                    </a:lnTo>
                    <a:lnTo>
                      <a:pt x="156" y="621"/>
                    </a:lnTo>
                    <a:lnTo>
                      <a:pt x="181" y="639"/>
                    </a:lnTo>
                    <a:lnTo>
                      <a:pt x="208" y="657"/>
                    </a:lnTo>
                    <a:lnTo>
                      <a:pt x="237" y="673"/>
                    </a:lnTo>
                    <a:lnTo>
                      <a:pt x="268" y="690"/>
                    </a:lnTo>
                    <a:lnTo>
                      <a:pt x="300" y="704"/>
                    </a:lnTo>
                    <a:lnTo>
                      <a:pt x="333" y="719"/>
                    </a:lnTo>
                    <a:lnTo>
                      <a:pt x="367" y="732"/>
                    </a:lnTo>
                    <a:lnTo>
                      <a:pt x="403" y="746"/>
                    </a:lnTo>
                    <a:lnTo>
                      <a:pt x="441" y="757"/>
                    </a:lnTo>
                    <a:lnTo>
                      <a:pt x="479" y="769"/>
                    </a:lnTo>
                    <a:lnTo>
                      <a:pt x="518" y="778"/>
                    </a:lnTo>
                    <a:lnTo>
                      <a:pt x="559" y="788"/>
                    </a:lnTo>
                    <a:lnTo>
                      <a:pt x="600" y="795"/>
                    </a:lnTo>
                    <a:lnTo>
                      <a:pt x="643" y="803"/>
                    </a:lnTo>
                    <a:lnTo>
                      <a:pt x="686" y="809"/>
                    </a:lnTo>
                    <a:lnTo>
                      <a:pt x="731" y="815"/>
                    </a:lnTo>
                    <a:lnTo>
                      <a:pt x="775" y="818"/>
                    </a:lnTo>
                    <a:lnTo>
                      <a:pt x="821" y="821"/>
                    </a:lnTo>
                    <a:lnTo>
                      <a:pt x="868" y="823"/>
                    </a:lnTo>
                    <a:lnTo>
                      <a:pt x="915" y="823"/>
                    </a:lnTo>
                    <a:lnTo>
                      <a:pt x="915" y="823"/>
                    </a:lnTo>
                    <a:lnTo>
                      <a:pt x="962" y="823"/>
                    </a:lnTo>
                    <a:lnTo>
                      <a:pt x="1009" y="821"/>
                    </a:lnTo>
                    <a:lnTo>
                      <a:pt x="1055" y="818"/>
                    </a:lnTo>
                    <a:lnTo>
                      <a:pt x="1099" y="815"/>
                    </a:lnTo>
                    <a:lnTo>
                      <a:pt x="1144" y="809"/>
                    </a:lnTo>
                    <a:lnTo>
                      <a:pt x="1187" y="803"/>
                    </a:lnTo>
                    <a:lnTo>
                      <a:pt x="1230" y="795"/>
                    </a:lnTo>
                    <a:lnTo>
                      <a:pt x="1271" y="788"/>
                    </a:lnTo>
                    <a:lnTo>
                      <a:pt x="1312" y="778"/>
                    </a:lnTo>
                    <a:lnTo>
                      <a:pt x="1351" y="769"/>
                    </a:lnTo>
                    <a:lnTo>
                      <a:pt x="1389" y="757"/>
                    </a:lnTo>
                    <a:lnTo>
                      <a:pt x="1427" y="746"/>
                    </a:lnTo>
                    <a:lnTo>
                      <a:pt x="1463" y="732"/>
                    </a:lnTo>
                    <a:lnTo>
                      <a:pt x="1497" y="719"/>
                    </a:lnTo>
                    <a:lnTo>
                      <a:pt x="1530" y="704"/>
                    </a:lnTo>
                    <a:lnTo>
                      <a:pt x="1562" y="690"/>
                    </a:lnTo>
                    <a:lnTo>
                      <a:pt x="1593" y="673"/>
                    </a:lnTo>
                    <a:lnTo>
                      <a:pt x="1622" y="657"/>
                    </a:lnTo>
                    <a:lnTo>
                      <a:pt x="1649" y="639"/>
                    </a:lnTo>
                    <a:lnTo>
                      <a:pt x="1674" y="621"/>
                    </a:lnTo>
                    <a:lnTo>
                      <a:pt x="1698" y="604"/>
                    </a:lnTo>
                    <a:lnTo>
                      <a:pt x="1720" y="584"/>
                    </a:lnTo>
                    <a:lnTo>
                      <a:pt x="1740" y="564"/>
                    </a:lnTo>
                    <a:lnTo>
                      <a:pt x="1758" y="544"/>
                    </a:lnTo>
                    <a:lnTo>
                      <a:pt x="1775" y="523"/>
                    </a:lnTo>
                    <a:lnTo>
                      <a:pt x="1790" y="502"/>
                    </a:lnTo>
                    <a:lnTo>
                      <a:pt x="1801" y="480"/>
                    </a:lnTo>
                    <a:lnTo>
                      <a:pt x="1811" y="459"/>
                    </a:lnTo>
                    <a:lnTo>
                      <a:pt x="1820" y="436"/>
                    </a:lnTo>
                    <a:lnTo>
                      <a:pt x="1825" y="413"/>
                    </a:lnTo>
                    <a:lnTo>
                      <a:pt x="1829" y="390"/>
                    </a:lnTo>
                    <a:lnTo>
                      <a:pt x="1830" y="366"/>
                    </a:lnTo>
                    <a:lnTo>
                      <a:pt x="1830" y="0"/>
                    </a:lnTo>
                    <a:close/>
                  </a:path>
                </a:pathLst>
              </a:custGeom>
              <a:gradFill rotWithShape="1">
                <a:gsLst>
                  <a:gs pos="0">
                    <a:srgbClr val="969696"/>
                  </a:gs>
                  <a:gs pos="50000">
                    <a:srgbClr val="969696">
                      <a:gamma/>
                      <a:tint val="60784"/>
                      <a:invGamma/>
                    </a:srgbClr>
                  </a:gs>
                  <a:gs pos="100000">
                    <a:srgbClr val="969696"/>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grpSp>
        <p:nvGrpSpPr>
          <p:cNvPr id="4" name="Group 35"/>
          <p:cNvGrpSpPr/>
          <p:nvPr/>
        </p:nvGrpSpPr>
        <p:grpSpPr bwMode="auto">
          <a:xfrm>
            <a:off x="5183188" y="1308373"/>
            <a:ext cx="271463" cy="682625"/>
            <a:chOff x="5999" y="1345"/>
            <a:chExt cx="351" cy="883"/>
          </a:xfrm>
        </p:grpSpPr>
        <p:sp>
          <p:nvSpPr>
            <p:cNvPr id="23" name="Freeform 36"/>
            <p:cNvSpPr/>
            <p:nvPr/>
          </p:nvSpPr>
          <p:spPr bwMode="auto">
            <a:xfrm>
              <a:off x="5999" y="1345"/>
              <a:ext cx="351" cy="883"/>
            </a:xfrm>
            <a:custGeom>
              <a:avLst/>
              <a:gdLst>
                <a:gd name="T0" fmla="*/ 606 w 606"/>
                <a:gd name="T1" fmla="*/ 152 h 1523"/>
                <a:gd name="T2" fmla="*/ 605 w 606"/>
                <a:gd name="T3" fmla="*/ 137 h 1523"/>
                <a:gd name="T4" fmla="*/ 600 w 606"/>
                <a:gd name="T5" fmla="*/ 122 h 1523"/>
                <a:gd name="T6" fmla="*/ 592 w 606"/>
                <a:gd name="T7" fmla="*/ 107 h 1523"/>
                <a:gd name="T8" fmla="*/ 582 w 606"/>
                <a:gd name="T9" fmla="*/ 93 h 1523"/>
                <a:gd name="T10" fmla="*/ 554 w 606"/>
                <a:gd name="T11" fmla="*/ 67 h 1523"/>
                <a:gd name="T12" fmla="*/ 518 w 606"/>
                <a:gd name="T13" fmla="*/ 45 h 1523"/>
                <a:gd name="T14" fmla="*/ 472 w 606"/>
                <a:gd name="T15" fmla="*/ 27 h 1523"/>
                <a:gd name="T16" fmla="*/ 421 w 606"/>
                <a:gd name="T17" fmla="*/ 12 h 1523"/>
                <a:gd name="T18" fmla="*/ 364 w 606"/>
                <a:gd name="T19" fmla="*/ 3 h 1523"/>
                <a:gd name="T20" fmla="*/ 303 w 606"/>
                <a:gd name="T21" fmla="*/ 0 h 1523"/>
                <a:gd name="T22" fmla="*/ 272 w 606"/>
                <a:gd name="T23" fmla="*/ 1 h 1523"/>
                <a:gd name="T24" fmla="*/ 212 w 606"/>
                <a:gd name="T25" fmla="*/ 6 h 1523"/>
                <a:gd name="T26" fmla="*/ 159 w 606"/>
                <a:gd name="T27" fmla="*/ 18 h 1523"/>
                <a:gd name="T28" fmla="*/ 110 w 606"/>
                <a:gd name="T29" fmla="*/ 35 h 1523"/>
                <a:gd name="T30" fmla="*/ 69 w 606"/>
                <a:gd name="T31" fmla="*/ 55 h 1523"/>
                <a:gd name="T32" fmla="*/ 37 w 606"/>
                <a:gd name="T33" fmla="*/ 79 h 1523"/>
                <a:gd name="T34" fmla="*/ 13 w 606"/>
                <a:gd name="T35" fmla="*/ 107 h 1523"/>
                <a:gd name="T36" fmla="*/ 6 w 606"/>
                <a:gd name="T37" fmla="*/ 122 h 1523"/>
                <a:gd name="T38" fmla="*/ 1 w 606"/>
                <a:gd name="T39" fmla="*/ 137 h 1523"/>
                <a:gd name="T40" fmla="*/ 0 w 606"/>
                <a:gd name="T41" fmla="*/ 152 h 1523"/>
                <a:gd name="T42" fmla="*/ 0 w 606"/>
                <a:gd name="T43" fmla="*/ 1371 h 1523"/>
                <a:gd name="T44" fmla="*/ 1 w 606"/>
                <a:gd name="T45" fmla="*/ 1387 h 1523"/>
                <a:gd name="T46" fmla="*/ 6 w 606"/>
                <a:gd name="T47" fmla="*/ 1402 h 1523"/>
                <a:gd name="T48" fmla="*/ 13 w 606"/>
                <a:gd name="T49" fmla="*/ 1417 h 1523"/>
                <a:gd name="T50" fmla="*/ 37 w 606"/>
                <a:gd name="T51" fmla="*/ 1444 h 1523"/>
                <a:gd name="T52" fmla="*/ 69 w 606"/>
                <a:gd name="T53" fmla="*/ 1468 h 1523"/>
                <a:gd name="T54" fmla="*/ 110 w 606"/>
                <a:gd name="T55" fmla="*/ 1488 h 1523"/>
                <a:gd name="T56" fmla="*/ 159 w 606"/>
                <a:gd name="T57" fmla="*/ 1505 h 1523"/>
                <a:gd name="T58" fmla="*/ 212 w 606"/>
                <a:gd name="T59" fmla="*/ 1517 h 1523"/>
                <a:gd name="T60" fmla="*/ 272 w 606"/>
                <a:gd name="T61" fmla="*/ 1522 h 1523"/>
                <a:gd name="T62" fmla="*/ 303 w 606"/>
                <a:gd name="T63" fmla="*/ 1523 h 1523"/>
                <a:gd name="T64" fmla="*/ 364 w 606"/>
                <a:gd name="T65" fmla="*/ 1520 h 1523"/>
                <a:gd name="T66" fmla="*/ 421 w 606"/>
                <a:gd name="T67" fmla="*/ 1512 h 1523"/>
                <a:gd name="T68" fmla="*/ 472 w 606"/>
                <a:gd name="T69" fmla="*/ 1497 h 1523"/>
                <a:gd name="T70" fmla="*/ 518 w 606"/>
                <a:gd name="T71" fmla="*/ 1479 h 1523"/>
                <a:gd name="T72" fmla="*/ 554 w 606"/>
                <a:gd name="T73" fmla="*/ 1457 h 1523"/>
                <a:gd name="T74" fmla="*/ 582 w 606"/>
                <a:gd name="T75" fmla="*/ 1430 h 1523"/>
                <a:gd name="T76" fmla="*/ 592 w 606"/>
                <a:gd name="T77" fmla="*/ 1417 h 1523"/>
                <a:gd name="T78" fmla="*/ 600 w 606"/>
                <a:gd name="T79" fmla="*/ 1402 h 1523"/>
                <a:gd name="T80" fmla="*/ 605 w 606"/>
                <a:gd name="T81" fmla="*/ 1387 h 1523"/>
                <a:gd name="T82" fmla="*/ 606 w 606"/>
                <a:gd name="T83" fmla="*/ 1371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6" h="1523">
                  <a:moveTo>
                    <a:pt x="606" y="152"/>
                  </a:moveTo>
                  <a:lnTo>
                    <a:pt x="606" y="152"/>
                  </a:lnTo>
                  <a:lnTo>
                    <a:pt x="606" y="145"/>
                  </a:lnTo>
                  <a:lnTo>
                    <a:pt x="605" y="137"/>
                  </a:lnTo>
                  <a:lnTo>
                    <a:pt x="603" y="129"/>
                  </a:lnTo>
                  <a:lnTo>
                    <a:pt x="600" y="122"/>
                  </a:lnTo>
                  <a:lnTo>
                    <a:pt x="596" y="114"/>
                  </a:lnTo>
                  <a:lnTo>
                    <a:pt x="592" y="107"/>
                  </a:lnTo>
                  <a:lnTo>
                    <a:pt x="588" y="100"/>
                  </a:lnTo>
                  <a:lnTo>
                    <a:pt x="582" y="93"/>
                  </a:lnTo>
                  <a:lnTo>
                    <a:pt x="569" y="79"/>
                  </a:lnTo>
                  <a:lnTo>
                    <a:pt x="554" y="67"/>
                  </a:lnTo>
                  <a:lnTo>
                    <a:pt x="536" y="55"/>
                  </a:lnTo>
                  <a:lnTo>
                    <a:pt x="518" y="45"/>
                  </a:lnTo>
                  <a:lnTo>
                    <a:pt x="495" y="35"/>
                  </a:lnTo>
                  <a:lnTo>
                    <a:pt x="472" y="27"/>
                  </a:lnTo>
                  <a:lnTo>
                    <a:pt x="447" y="18"/>
                  </a:lnTo>
                  <a:lnTo>
                    <a:pt x="421" y="12"/>
                  </a:lnTo>
                  <a:lnTo>
                    <a:pt x="393" y="6"/>
                  </a:lnTo>
                  <a:lnTo>
                    <a:pt x="364" y="3"/>
                  </a:lnTo>
                  <a:lnTo>
                    <a:pt x="333" y="1"/>
                  </a:lnTo>
                  <a:lnTo>
                    <a:pt x="303" y="0"/>
                  </a:lnTo>
                  <a:lnTo>
                    <a:pt x="303" y="0"/>
                  </a:lnTo>
                  <a:lnTo>
                    <a:pt x="272" y="1"/>
                  </a:lnTo>
                  <a:lnTo>
                    <a:pt x="242" y="3"/>
                  </a:lnTo>
                  <a:lnTo>
                    <a:pt x="212" y="6"/>
                  </a:lnTo>
                  <a:lnTo>
                    <a:pt x="185" y="12"/>
                  </a:lnTo>
                  <a:lnTo>
                    <a:pt x="159" y="18"/>
                  </a:lnTo>
                  <a:lnTo>
                    <a:pt x="133" y="27"/>
                  </a:lnTo>
                  <a:lnTo>
                    <a:pt x="110" y="35"/>
                  </a:lnTo>
                  <a:lnTo>
                    <a:pt x="88" y="45"/>
                  </a:lnTo>
                  <a:lnTo>
                    <a:pt x="69" y="55"/>
                  </a:lnTo>
                  <a:lnTo>
                    <a:pt x="51" y="67"/>
                  </a:lnTo>
                  <a:lnTo>
                    <a:pt x="37" y="79"/>
                  </a:lnTo>
                  <a:lnTo>
                    <a:pt x="24" y="93"/>
                  </a:lnTo>
                  <a:lnTo>
                    <a:pt x="13" y="107"/>
                  </a:lnTo>
                  <a:lnTo>
                    <a:pt x="9" y="114"/>
                  </a:lnTo>
                  <a:lnTo>
                    <a:pt x="6" y="122"/>
                  </a:lnTo>
                  <a:lnTo>
                    <a:pt x="3" y="129"/>
                  </a:lnTo>
                  <a:lnTo>
                    <a:pt x="1" y="137"/>
                  </a:lnTo>
                  <a:lnTo>
                    <a:pt x="0" y="145"/>
                  </a:lnTo>
                  <a:lnTo>
                    <a:pt x="0" y="152"/>
                  </a:lnTo>
                  <a:lnTo>
                    <a:pt x="0" y="1371"/>
                  </a:lnTo>
                  <a:lnTo>
                    <a:pt x="0" y="1371"/>
                  </a:lnTo>
                  <a:lnTo>
                    <a:pt x="0" y="1378"/>
                  </a:lnTo>
                  <a:lnTo>
                    <a:pt x="1" y="1387"/>
                  </a:lnTo>
                  <a:lnTo>
                    <a:pt x="3" y="1394"/>
                  </a:lnTo>
                  <a:lnTo>
                    <a:pt x="6" y="1402"/>
                  </a:lnTo>
                  <a:lnTo>
                    <a:pt x="9" y="1409"/>
                  </a:lnTo>
                  <a:lnTo>
                    <a:pt x="13" y="1417"/>
                  </a:lnTo>
                  <a:lnTo>
                    <a:pt x="24" y="1430"/>
                  </a:lnTo>
                  <a:lnTo>
                    <a:pt x="37" y="1444"/>
                  </a:lnTo>
                  <a:lnTo>
                    <a:pt x="51" y="1457"/>
                  </a:lnTo>
                  <a:lnTo>
                    <a:pt x="69" y="1468"/>
                  </a:lnTo>
                  <a:lnTo>
                    <a:pt x="88" y="1479"/>
                  </a:lnTo>
                  <a:lnTo>
                    <a:pt x="110" y="1488"/>
                  </a:lnTo>
                  <a:lnTo>
                    <a:pt x="133" y="1497"/>
                  </a:lnTo>
                  <a:lnTo>
                    <a:pt x="159" y="1505"/>
                  </a:lnTo>
                  <a:lnTo>
                    <a:pt x="185" y="1512"/>
                  </a:lnTo>
                  <a:lnTo>
                    <a:pt x="212" y="1517"/>
                  </a:lnTo>
                  <a:lnTo>
                    <a:pt x="242" y="1520"/>
                  </a:lnTo>
                  <a:lnTo>
                    <a:pt x="272" y="1522"/>
                  </a:lnTo>
                  <a:lnTo>
                    <a:pt x="303" y="1523"/>
                  </a:lnTo>
                  <a:lnTo>
                    <a:pt x="303" y="1523"/>
                  </a:lnTo>
                  <a:lnTo>
                    <a:pt x="333" y="1522"/>
                  </a:lnTo>
                  <a:lnTo>
                    <a:pt x="364" y="1520"/>
                  </a:lnTo>
                  <a:lnTo>
                    <a:pt x="393" y="1517"/>
                  </a:lnTo>
                  <a:lnTo>
                    <a:pt x="421" y="1512"/>
                  </a:lnTo>
                  <a:lnTo>
                    <a:pt x="447" y="1505"/>
                  </a:lnTo>
                  <a:lnTo>
                    <a:pt x="472" y="1497"/>
                  </a:lnTo>
                  <a:lnTo>
                    <a:pt x="495" y="1488"/>
                  </a:lnTo>
                  <a:lnTo>
                    <a:pt x="518" y="1479"/>
                  </a:lnTo>
                  <a:lnTo>
                    <a:pt x="536" y="1468"/>
                  </a:lnTo>
                  <a:lnTo>
                    <a:pt x="554" y="1457"/>
                  </a:lnTo>
                  <a:lnTo>
                    <a:pt x="569" y="1444"/>
                  </a:lnTo>
                  <a:lnTo>
                    <a:pt x="582" y="1430"/>
                  </a:lnTo>
                  <a:lnTo>
                    <a:pt x="588" y="1424"/>
                  </a:lnTo>
                  <a:lnTo>
                    <a:pt x="592" y="1417"/>
                  </a:lnTo>
                  <a:lnTo>
                    <a:pt x="596" y="1409"/>
                  </a:lnTo>
                  <a:lnTo>
                    <a:pt x="600" y="1402"/>
                  </a:lnTo>
                  <a:lnTo>
                    <a:pt x="603" y="1394"/>
                  </a:lnTo>
                  <a:lnTo>
                    <a:pt x="605" y="1387"/>
                  </a:lnTo>
                  <a:lnTo>
                    <a:pt x="606" y="1378"/>
                  </a:lnTo>
                  <a:lnTo>
                    <a:pt x="606" y="1371"/>
                  </a:lnTo>
                  <a:lnTo>
                    <a:pt x="606" y="152"/>
                  </a:lnTo>
                  <a:close/>
                </a:path>
              </a:pathLst>
            </a:custGeom>
            <a:gradFill rotWithShape="1">
              <a:gsLst>
                <a:gs pos="0">
                  <a:schemeClr val="bg2"/>
                </a:gs>
                <a:gs pos="50000">
                  <a:srgbClr val="03A550"/>
                </a:gs>
                <a:gs pos="100000">
                  <a:schemeClr val="bg2"/>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4" name="Freeform 37"/>
            <p:cNvSpPr/>
            <p:nvPr/>
          </p:nvSpPr>
          <p:spPr bwMode="auto">
            <a:xfrm>
              <a:off x="5999" y="1345"/>
              <a:ext cx="351" cy="177"/>
            </a:xfrm>
            <a:custGeom>
              <a:avLst/>
              <a:gdLst>
                <a:gd name="T0" fmla="*/ 606 w 606"/>
                <a:gd name="T1" fmla="*/ 152 h 305"/>
                <a:gd name="T2" fmla="*/ 605 w 606"/>
                <a:gd name="T3" fmla="*/ 168 h 305"/>
                <a:gd name="T4" fmla="*/ 600 w 606"/>
                <a:gd name="T5" fmla="*/ 183 h 305"/>
                <a:gd name="T6" fmla="*/ 592 w 606"/>
                <a:gd name="T7" fmla="*/ 198 h 305"/>
                <a:gd name="T8" fmla="*/ 582 w 606"/>
                <a:gd name="T9" fmla="*/ 212 h 305"/>
                <a:gd name="T10" fmla="*/ 554 w 606"/>
                <a:gd name="T11" fmla="*/ 238 h 305"/>
                <a:gd name="T12" fmla="*/ 518 w 606"/>
                <a:gd name="T13" fmla="*/ 260 h 305"/>
                <a:gd name="T14" fmla="*/ 472 w 606"/>
                <a:gd name="T15" fmla="*/ 278 h 305"/>
                <a:gd name="T16" fmla="*/ 421 w 606"/>
                <a:gd name="T17" fmla="*/ 293 h 305"/>
                <a:gd name="T18" fmla="*/ 364 w 606"/>
                <a:gd name="T19" fmla="*/ 302 h 305"/>
                <a:gd name="T20" fmla="*/ 303 w 606"/>
                <a:gd name="T21" fmla="*/ 305 h 305"/>
                <a:gd name="T22" fmla="*/ 272 w 606"/>
                <a:gd name="T23" fmla="*/ 304 h 305"/>
                <a:gd name="T24" fmla="*/ 212 w 606"/>
                <a:gd name="T25" fmla="*/ 298 h 305"/>
                <a:gd name="T26" fmla="*/ 159 w 606"/>
                <a:gd name="T27" fmla="*/ 287 h 305"/>
                <a:gd name="T28" fmla="*/ 110 w 606"/>
                <a:gd name="T29" fmla="*/ 270 h 305"/>
                <a:gd name="T30" fmla="*/ 69 w 606"/>
                <a:gd name="T31" fmla="*/ 250 h 305"/>
                <a:gd name="T32" fmla="*/ 37 w 606"/>
                <a:gd name="T33" fmla="*/ 225 h 305"/>
                <a:gd name="T34" fmla="*/ 13 w 606"/>
                <a:gd name="T35" fmla="*/ 198 h 305"/>
                <a:gd name="T36" fmla="*/ 6 w 606"/>
                <a:gd name="T37" fmla="*/ 183 h 305"/>
                <a:gd name="T38" fmla="*/ 1 w 606"/>
                <a:gd name="T39" fmla="*/ 168 h 305"/>
                <a:gd name="T40" fmla="*/ 0 w 606"/>
                <a:gd name="T41" fmla="*/ 152 h 305"/>
                <a:gd name="T42" fmla="*/ 0 w 606"/>
                <a:gd name="T43" fmla="*/ 145 h 305"/>
                <a:gd name="T44" fmla="*/ 3 w 606"/>
                <a:gd name="T45" fmla="*/ 129 h 305"/>
                <a:gd name="T46" fmla="*/ 9 w 606"/>
                <a:gd name="T47" fmla="*/ 114 h 305"/>
                <a:gd name="T48" fmla="*/ 24 w 606"/>
                <a:gd name="T49" fmla="*/ 93 h 305"/>
                <a:gd name="T50" fmla="*/ 51 w 606"/>
                <a:gd name="T51" fmla="*/ 67 h 305"/>
                <a:gd name="T52" fmla="*/ 88 w 606"/>
                <a:gd name="T53" fmla="*/ 45 h 305"/>
                <a:gd name="T54" fmla="*/ 133 w 606"/>
                <a:gd name="T55" fmla="*/ 27 h 305"/>
                <a:gd name="T56" fmla="*/ 185 w 606"/>
                <a:gd name="T57" fmla="*/ 12 h 305"/>
                <a:gd name="T58" fmla="*/ 242 w 606"/>
                <a:gd name="T59" fmla="*/ 3 h 305"/>
                <a:gd name="T60" fmla="*/ 303 w 606"/>
                <a:gd name="T61" fmla="*/ 0 h 305"/>
                <a:gd name="T62" fmla="*/ 333 w 606"/>
                <a:gd name="T63" fmla="*/ 1 h 305"/>
                <a:gd name="T64" fmla="*/ 393 w 606"/>
                <a:gd name="T65" fmla="*/ 6 h 305"/>
                <a:gd name="T66" fmla="*/ 447 w 606"/>
                <a:gd name="T67" fmla="*/ 18 h 305"/>
                <a:gd name="T68" fmla="*/ 495 w 606"/>
                <a:gd name="T69" fmla="*/ 35 h 305"/>
                <a:gd name="T70" fmla="*/ 536 w 606"/>
                <a:gd name="T71" fmla="*/ 55 h 305"/>
                <a:gd name="T72" fmla="*/ 569 w 606"/>
                <a:gd name="T73" fmla="*/ 79 h 305"/>
                <a:gd name="T74" fmla="*/ 588 w 606"/>
                <a:gd name="T75" fmla="*/ 100 h 305"/>
                <a:gd name="T76" fmla="*/ 596 w 606"/>
                <a:gd name="T77" fmla="*/ 114 h 305"/>
                <a:gd name="T78" fmla="*/ 603 w 606"/>
                <a:gd name="T79" fmla="*/ 129 h 305"/>
                <a:gd name="T80" fmla="*/ 606 w 606"/>
                <a:gd name="T81" fmla="*/ 145 h 305"/>
                <a:gd name="T82" fmla="*/ 606 w 606"/>
                <a:gd name="T83" fmla="*/ 15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6" h="305">
                  <a:moveTo>
                    <a:pt x="606" y="152"/>
                  </a:moveTo>
                  <a:lnTo>
                    <a:pt x="606" y="152"/>
                  </a:lnTo>
                  <a:lnTo>
                    <a:pt x="606" y="160"/>
                  </a:lnTo>
                  <a:lnTo>
                    <a:pt x="605" y="168"/>
                  </a:lnTo>
                  <a:lnTo>
                    <a:pt x="603" y="176"/>
                  </a:lnTo>
                  <a:lnTo>
                    <a:pt x="600" y="183"/>
                  </a:lnTo>
                  <a:lnTo>
                    <a:pt x="596" y="191"/>
                  </a:lnTo>
                  <a:lnTo>
                    <a:pt x="592" y="198"/>
                  </a:lnTo>
                  <a:lnTo>
                    <a:pt x="588" y="205"/>
                  </a:lnTo>
                  <a:lnTo>
                    <a:pt x="582" y="212"/>
                  </a:lnTo>
                  <a:lnTo>
                    <a:pt x="569" y="225"/>
                  </a:lnTo>
                  <a:lnTo>
                    <a:pt x="554" y="238"/>
                  </a:lnTo>
                  <a:lnTo>
                    <a:pt x="536" y="250"/>
                  </a:lnTo>
                  <a:lnTo>
                    <a:pt x="518" y="260"/>
                  </a:lnTo>
                  <a:lnTo>
                    <a:pt x="495" y="270"/>
                  </a:lnTo>
                  <a:lnTo>
                    <a:pt x="472" y="278"/>
                  </a:lnTo>
                  <a:lnTo>
                    <a:pt x="447" y="287"/>
                  </a:lnTo>
                  <a:lnTo>
                    <a:pt x="421" y="293"/>
                  </a:lnTo>
                  <a:lnTo>
                    <a:pt x="393" y="298"/>
                  </a:lnTo>
                  <a:lnTo>
                    <a:pt x="364" y="302"/>
                  </a:lnTo>
                  <a:lnTo>
                    <a:pt x="333" y="304"/>
                  </a:lnTo>
                  <a:lnTo>
                    <a:pt x="303" y="305"/>
                  </a:lnTo>
                  <a:lnTo>
                    <a:pt x="303" y="305"/>
                  </a:lnTo>
                  <a:lnTo>
                    <a:pt x="272" y="304"/>
                  </a:lnTo>
                  <a:lnTo>
                    <a:pt x="242" y="302"/>
                  </a:lnTo>
                  <a:lnTo>
                    <a:pt x="212" y="298"/>
                  </a:lnTo>
                  <a:lnTo>
                    <a:pt x="185" y="293"/>
                  </a:lnTo>
                  <a:lnTo>
                    <a:pt x="159" y="287"/>
                  </a:lnTo>
                  <a:lnTo>
                    <a:pt x="133" y="278"/>
                  </a:lnTo>
                  <a:lnTo>
                    <a:pt x="110" y="270"/>
                  </a:lnTo>
                  <a:lnTo>
                    <a:pt x="88" y="260"/>
                  </a:lnTo>
                  <a:lnTo>
                    <a:pt x="69" y="250"/>
                  </a:lnTo>
                  <a:lnTo>
                    <a:pt x="51" y="238"/>
                  </a:lnTo>
                  <a:lnTo>
                    <a:pt x="37" y="225"/>
                  </a:lnTo>
                  <a:lnTo>
                    <a:pt x="24" y="212"/>
                  </a:lnTo>
                  <a:lnTo>
                    <a:pt x="13" y="198"/>
                  </a:lnTo>
                  <a:lnTo>
                    <a:pt x="9" y="191"/>
                  </a:lnTo>
                  <a:lnTo>
                    <a:pt x="6" y="183"/>
                  </a:lnTo>
                  <a:lnTo>
                    <a:pt x="3" y="176"/>
                  </a:lnTo>
                  <a:lnTo>
                    <a:pt x="1" y="168"/>
                  </a:lnTo>
                  <a:lnTo>
                    <a:pt x="0" y="160"/>
                  </a:lnTo>
                  <a:lnTo>
                    <a:pt x="0" y="152"/>
                  </a:lnTo>
                  <a:lnTo>
                    <a:pt x="0" y="152"/>
                  </a:lnTo>
                  <a:lnTo>
                    <a:pt x="0" y="145"/>
                  </a:lnTo>
                  <a:lnTo>
                    <a:pt x="1" y="137"/>
                  </a:lnTo>
                  <a:lnTo>
                    <a:pt x="3" y="129"/>
                  </a:lnTo>
                  <a:lnTo>
                    <a:pt x="6" y="122"/>
                  </a:lnTo>
                  <a:lnTo>
                    <a:pt x="9" y="114"/>
                  </a:lnTo>
                  <a:lnTo>
                    <a:pt x="13" y="107"/>
                  </a:lnTo>
                  <a:lnTo>
                    <a:pt x="24" y="93"/>
                  </a:lnTo>
                  <a:lnTo>
                    <a:pt x="37" y="79"/>
                  </a:lnTo>
                  <a:lnTo>
                    <a:pt x="51" y="67"/>
                  </a:lnTo>
                  <a:lnTo>
                    <a:pt x="69" y="55"/>
                  </a:lnTo>
                  <a:lnTo>
                    <a:pt x="88" y="45"/>
                  </a:lnTo>
                  <a:lnTo>
                    <a:pt x="110" y="35"/>
                  </a:lnTo>
                  <a:lnTo>
                    <a:pt x="133" y="27"/>
                  </a:lnTo>
                  <a:lnTo>
                    <a:pt x="159" y="18"/>
                  </a:lnTo>
                  <a:lnTo>
                    <a:pt x="185" y="12"/>
                  </a:lnTo>
                  <a:lnTo>
                    <a:pt x="212" y="6"/>
                  </a:lnTo>
                  <a:lnTo>
                    <a:pt x="242" y="3"/>
                  </a:lnTo>
                  <a:lnTo>
                    <a:pt x="272" y="1"/>
                  </a:lnTo>
                  <a:lnTo>
                    <a:pt x="303" y="0"/>
                  </a:lnTo>
                  <a:lnTo>
                    <a:pt x="303" y="0"/>
                  </a:lnTo>
                  <a:lnTo>
                    <a:pt x="333" y="1"/>
                  </a:lnTo>
                  <a:lnTo>
                    <a:pt x="364" y="3"/>
                  </a:lnTo>
                  <a:lnTo>
                    <a:pt x="393" y="6"/>
                  </a:lnTo>
                  <a:lnTo>
                    <a:pt x="421" y="12"/>
                  </a:lnTo>
                  <a:lnTo>
                    <a:pt x="447" y="18"/>
                  </a:lnTo>
                  <a:lnTo>
                    <a:pt x="472" y="27"/>
                  </a:lnTo>
                  <a:lnTo>
                    <a:pt x="495" y="35"/>
                  </a:lnTo>
                  <a:lnTo>
                    <a:pt x="518" y="45"/>
                  </a:lnTo>
                  <a:lnTo>
                    <a:pt x="536" y="55"/>
                  </a:lnTo>
                  <a:lnTo>
                    <a:pt x="554" y="67"/>
                  </a:lnTo>
                  <a:lnTo>
                    <a:pt x="569" y="79"/>
                  </a:lnTo>
                  <a:lnTo>
                    <a:pt x="582" y="93"/>
                  </a:lnTo>
                  <a:lnTo>
                    <a:pt x="588" y="100"/>
                  </a:lnTo>
                  <a:lnTo>
                    <a:pt x="592" y="107"/>
                  </a:lnTo>
                  <a:lnTo>
                    <a:pt x="596" y="114"/>
                  </a:lnTo>
                  <a:lnTo>
                    <a:pt x="600" y="122"/>
                  </a:lnTo>
                  <a:lnTo>
                    <a:pt x="603" y="129"/>
                  </a:lnTo>
                  <a:lnTo>
                    <a:pt x="605" y="137"/>
                  </a:lnTo>
                  <a:lnTo>
                    <a:pt x="606" y="145"/>
                  </a:lnTo>
                  <a:lnTo>
                    <a:pt x="606" y="152"/>
                  </a:lnTo>
                  <a:lnTo>
                    <a:pt x="606" y="152"/>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5" name="Group 38"/>
          <p:cNvGrpSpPr/>
          <p:nvPr/>
        </p:nvGrpSpPr>
        <p:grpSpPr bwMode="auto">
          <a:xfrm>
            <a:off x="4967288" y="3899173"/>
            <a:ext cx="679450" cy="477838"/>
            <a:chOff x="3357" y="1743"/>
            <a:chExt cx="879" cy="618"/>
          </a:xfrm>
        </p:grpSpPr>
        <p:sp>
          <p:nvSpPr>
            <p:cNvPr id="20" name="Freeform 39"/>
            <p:cNvSpPr/>
            <p:nvPr/>
          </p:nvSpPr>
          <p:spPr bwMode="auto">
            <a:xfrm>
              <a:off x="3399" y="1763"/>
              <a:ext cx="793" cy="377"/>
            </a:xfrm>
            <a:custGeom>
              <a:avLst/>
              <a:gdLst>
                <a:gd name="T0" fmla="*/ 1363 w 1364"/>
                <a:gd name="T1" fmla="*/ 324 h 647"/>
                <a:gd name="T2" fmla="*/ 1350 w 1364"/>
                <a:gd name="T3" fmla="*/ 274 h 647"/>
                <a:gd name="T4" fmla="*/ 1323 w 1364"/>
                <a:gd name="T5" fmla="*/ 225 h 647"/>
                <a:gd name="T6" fmla="*/ 1282 w 1364"/>
                <a:gd name="T7" fmla="*/ 180 h 647"/>
                <a:gd name="T8" fmla="*/ 1228 w 1364"/>
                <a:gd name="T9" fmla="*/ 137 h 647"/>
                <a:gd name="T10" fmla="*/ 1164 w 1364"/>
                <a:gd name="T11" fmla="*/ 100 h 647"/>
                <a:gd name="T12" fmla="*/ 1090 w 1364"/>
                <a:gd name="T13" fmla="*/ 67 h 647"/>
                <a:gd name="T14" fmla="*/ 1007 w 1364"/>
                <a:gd name="T15" fmla="*/ 41 h 647"/>
                <a:gd name="T16" fmla="*/ 916 w 1364"/>
                <a:gd name="T17" fmla="*/ 21 h 647"/>
                <a:gd name="T18" fmla="*/ 820 w 1364"/>
                <a:gd name="T19" fmla="*/ 7 h 647"/>
                <a:gd name="T20" fmla="*/ 716 w 1364"/>
                <a:gd name="T21" fmla="*/ 0 h 647"/>
                <a:gd name="T22" fmla="*/ 647 w 1364"/>
                <a:gd name="T23" fmla="*/ 0 h 647"/>
                <a:gd name="T24" fmla="*/ 544 w 1364"/>
                <a:gd name="T25" fmla="*/ 7 h 647"/>
                <a:gd name="T26" fmla="*/ 447 w 1364"/>
                <a:gd name="T27" fmla="*/ 21 h 647"/>
                <a:gd name="T28" fmla="*/ 357 w 1364"/>
                <a:gd name="T29" fmla="*/ 41 h 647"/>
                <a:gd name="T30" fmla="*/ 273 w 1364"/>
                <a:gd name="T31" fmla="*/ 67 h 647"/>
                <a:gd name="T32" fmla="*/ 200 w 1364"/>
                <a:gd name="T33" fmla="*/ 100 h 647"/>
                <a:gd name="T34" fmla="*/ 136 w 1364"/>
                <a:gd name="T35" fmla="*/ 137 h 647"/>
                <a:gd name="T36" fmla="*/ 82 w 1364"/>
                <a:gd name="T37" fmla="*/ 180 h 647"/>
                <a:gd name="T38" fmla="*/ 41 w 1364"/>
                <a:gd name="T39" fmla="*/ 225 h 647"/>
                <a:gd name="T40" fmla="*/ 14 w 1364"/>
                <a:gd name="T41" fmla="*/ 274 h 647"/>
                <a:gd name="T42" fmla="*/ 1 w 1364"/>
                <a:gd name="T43" fmla="*/ 324 h 647"/>
                <a:gd name="T44" fmla="*/ 0 w 1364"/>
                <a:gd name="T45" fmla="*/ 647 h 647"/>
                <a:gd name="T46" fmla="*/ 7 w 1364"/>
                <a:gd name="T47" fmla="*/ 595 h 647"/>
                <a:gd name="T48" fmla="*/ 30 w 1364"/>
                <a:gd name="T49" fmla="*/ 546 h 647"/>
                <a:gd name="T50" fmla="*/ 67 w 1364"/>
                <a:gd name="T51" fmla="*/ 499 h 647"/>
                <a:gd name="T52" fmla="*/ 117 w 1364"/>
                <a:gd name="T53" fmla="*/ 456 h 647"/>
                <a:gd name="T54" fmla="*/ 177 w 1364"/>
                <a:gd name="T55" fmla="*/ 416 h 647"/>
                <a:gd name="T56" fmla="*/ 248 w 1364"/>
                <a:gd name="T57" fmla="*/ 383 h 647"/>
                <a:gd name="T58" fmla="*/ 328 w 1364"/>
                <a:gd name="T59" fmla="*/ 354 h 647"/>
                <a:gd name="T60" fmla="*/ 417 w 1364"/>
                <a:gd name="T61" fmla="*/ 331 h 647"/>
                <a:gd name="T62" fmla="*/ 511 w 1364"/>
                <a:gd name="T63" fmla="*/ 315 h 647"/>
                <a:gd name="T64" fmla="*/ 612 w 1364"/>
                <a:gd name="T65" fmla="*/ 306 h 647"/>
                <a:gd name="T66" fmla="*/ 682 w 1364"/>
                <a:gd name="T67" fmla="*/ 304 h 647"/>
                <a:gd name="T68" fmla="*/ 786 w 1364"/>
                <a:gd name="T69" fmla="*/ 309 h 647"/>
                <a:gd name="T70" fmla="*/ 885 w 1364"/>
                <a:gd name="T71" fmla="*/ 320 h 647"/>
                <a:gd name="T72" fmla="*/ 977 w 1364"/>
                <a:gd name="T73" fmla="*/ 338 h 647"/>
                <a:gd name="T74" fmla="*/ 1063 w 1364"/>
                <a:gd name="T75" fmla="*/ 363 h 647"/>
                <a:gd name="T76" fmla="*/ 1140 w 1364"/>
                <a:gd name="T77" fmla="*/ 393 h 647"/>
                <a:gd name="T78" fmla="*/ 1208 w 1364"/>
                <a:gd name="T79" fmla="*/ 429 h 647"/>
                <a:gd name="T80" fmla="*/ 1265 w 1364"/>
                <a:gd name="T81" fmla="*/ 469 h 647"/>
                <a:gd name="T82" fmla="*/ 1310 w 1364"/>
                <a:gd name="T83" fmla="*/ 514 h 647"/>
                <a:gd name="T84" fmla="*/ 1343 w 1364"/>
                <a:gd name="T85" fmla="*/ 561 h 647"/>
                <a:gd name="T86" fmla="*/ 1360 w 1364"/>
                <a:gd name="T87" fmla="*/ 612 h 647"/>
                <a:gd name="T88" fmla="*/ 1364 w 1364"/>
                <a:gd name="T89" fmla="*/ 342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4" h="647">
                  <a:moveTo>
                    <a:pt x="1364" y="342"/>
                  </a:moveTo>
                  <a:lnTo>
                    <a:pt x="1364" y="342"/>
                  </a:lnTo>
                  <a:lnTo>
                    <a:pt x="1363" y="324"/>
                  </a:lnTo>
                  <a:lnTo>
                    <a:pt x="1360" y="308"/>
                  </a:lnTo>
                  <a:lnTo>
                    <a:pt x="1356" y="291"/>
                  </a:lnTo>
                  <a:lnTo>
                    <a:pt x="1350" y="274"/>
                  </a:lnTo>
                  <a:lnTo>
                    <a:pt x="1343" y="257"/>
                  </a:lnTo>
                  <a:lnTo>
                    <a:pt x="1333" y="241"/>
                  </a:lnTo>
                  <a:lnTo>
                    <a:pt x="1323" y="225"/>
                  </a:lnTo>
                  <a:lnTo>
                    <a:pt x="1310" y="209"/>
                  </a:lnTo>
                  <a:lnTo>
                    <a:pt x="1296" y="194"/>
                  </a:lnTo>
                  <a:lnTo>
                    <a:pt x="1282" y="180"/>
                  </a:lnTo>
                  <a:lnTo>
                    <a:pt x="1265" y="165"/>
                  </a:lnTo>
                  <a:lnTo>
                    <a:pt x="1247" y="151"/>
                  </a:lnTo>
                  <a:lnTo>
                    <a:pt x="1228" y="137"/>
                  </a:lnTo>
                  <a:lnTo>
                    <a:pt x="1208" y="124"/>
                  </a:lnTo>
                  <a:lnTo>
                    <a:pt x="1187" y="112"/>
                  </a:lnTo>
                  <a:lnTo>
                    <a:pt x="1164" y="100"/>
                  </a:lnTo>
                  <a:lnTo>
                    <a:pt x="1140" y="89"/>
                  </a:lnTo>
                  <a:lnTo>
                    <a:pt x="1115" y="78"/>
                  </a:lnTo>
                  <a:lnTo>
                    <a:pt x="1090" y="67"/>
                  </a:lnTo>
                  <a:lnTo>
                    <a:pt x="1063" y="58"/>
                  </a:lnTo>
                  <a:lnTo>
                    <a:pt x="1035" y="49"/>
                  </a:lnTo>
                  <a:lnTo>
                    <a:pt x="1007" y="41"/>
                  </a:lnTo>
                  <a:lnTo>
                    <a:pt x="977" y="34"/>
                  </a:lnTo>
                  <a:lnTo>
                    <a:pt x="947" y="26"/>
                  </a:lnTo>
                  <a:lnTo>
                    <a:pt x="916" y="21"/>
                  </a:lnTo>
                  <a:lnTo>
                    <a:pt x="885" y="16"/>
                  </a:lnTo>
                  <a:lnTo>
                    <a:pt x="852" y="10"/>
                  </a:lnTo>
                  <a:lnTo>
                    <a:pt x="820" y="7"/>
                  </a:lnTo>
                  <a:lnTo>
                    <a:pt x="786" y="4"/>
                  </a:lnTo>
                  <a:lnTo>
                    <a:pt x="751" y="2"/>
                  </a:lnTo>
                  <a:lnTo>
                    <a:pt x="716" y="0"/>
                  </a:lnTo>
                  <a:lnTo>
                    <a:pt x="682" y="0"/>
                  </a:lnTo>
                  <a:lnTo>
                    <a:pt x="682" y="0"/>
                  </a:lnTo>
                  <a:lnTo>
                    <a:pt x="647" y="0"/>
                  </a:lnTo>
                  <a:lnTo>
                    <a:pt x="612" y="2"/>
                  </a:lnTo>
                  <a:lnTo>
                    <a:pt x="578" y="4"/>
                  </a:lnTo>
                  <a:lnTo>
                    <a:pt x="544" y="7"/>
                  </a:lnTo>
                  <a:lnTo>
                    <a:pt x="511" y="10"/>
                  </a:lnTo>
                  <a:lnTo>
                    <a:pt x="479" y="16"/>
                  </a:lnTo>
                  <a:lnTo>
                    <a:pt x="447" y="21"/>
                  </a:lnTo>
                  <a:lnTo>
                    <a:pt x="417" y="26"/>
                  </a:lnTo>
                  <a:lnTo>
                    <a:pt x="386" y="34"/>
                  </a:lnTo>
                  <a:lnTo>
                    <a:pt x="357" y="41"/>
                  </a:lnTo>
                  <a:lnTo>
                    <a:pt x="328" y="49"/>
                  </a:lnTo>
                  <a:lnTo>
                    <a:pt x="301" y="58"/>
                  </a:lnTo>
                  <a:lnTo>
                    <a:pt x="273" y="67"/>
                  </a:lnTo>
                  <a:lnTo>
                    <a:pt x="248" y="78"/>
                  </a:lnTo>
                  <a:lnTo>
                    <a:pt x="223" y="89"/>
                  </a:lnTo>
                  <a:lnTo>
                    <a:pt x="200" y="100"/>
                  </a:lnTo>
                  <a:lnTo>
                    <a:pt x="177" y="112"/>
                  </a:lnTo>
                  <a:lnTo>
                    <a:pt x="156" y="124"/>
                  </a:lnTo>
                  <a:lnTo>
                    <a:pt x="136" y="137"/>
                  </a:lnTo>
                  <a:lnTo>
                    <a:pt x="117" y="151"/>
                  </a:lnTo>
                  <a:lnTo>
                    <a:pt x="99" y="165"/>
                  </a:lnTo>
                  <a:lnTo>
                    <a:pt x="82" y="180"/>
                  </a:lnTo>
                  <a:lnTo>
                    <a:pt x="67" y="194"/>
                  </a:lnTo>
                  <a:lnTo>
                    <a:pt x="54" y="209"/>
                  </a:lnTo>
                  <a:lnTo>
                    <a:pt x="41" y="225"/>
                  </a:lnTo>
                  <a:lnTo>
                    <a:pt x="30" y="241"/>
                  </a:lnTo>
                  <a:lnTo>
                    <a:pt x="21" y="257"/>
                  </a:lnTo>
                  <a:lnTo>
                    <a:pt x="14" y="274"/>
                  </a:lnTo>
                  <a:lnTo>
                    <a:pt x="7" y="291"/>
                  </a:lnTo>
                  <a:lnTo>
                    <a:pt x="3" y="308"/>
                  </a:lnTo>
                  <a:lnTo>
                    <a:pt x="1" y="324"/>
                  </a:lnTo>
                  <a:lnTo>
                    <a:pt x="0" y="342"/>
                  </a:lnTo>
                  <a:lnTo>
                    <a:pt x="0" y="647"/>
                  </a:lnTo>
                  <a:lnTo>
                    <a:pt x="0" y="647"/>
                  </a:lnTo>
                  <a:lnTo>
                    <a:pt x="1" y="629"/>
                  </a:lnTo>
                  <a:lnTo>
                    <a:pt x="3" y="612"/>
                  </a:lnTo>
                  <a:lnTo>
                    <a:pt x="7" y="595"/>
                  </a:lnTo>
                  <a:lnTo>
                    <a:pt x="14" y="578"/>
                  </a:lnTo>
                  <a:lnTo>
                    <a:pt x="21" y="561"/>
                  </a:lnTo>
                  <a:lnTo>
                    <a:pt x="30" y="546"/>
                  </a:lnTo>
                  <a:lnTo>
                    <a:pt x="41" y="530"/>
                  </a:lnTo>
                  <a:lnTo>
                    <a:pt x="54" y="514"/>
                  </a:lnTo>
                  <a:lnTo>
                    <a:pt x="67" y="499"/>
                  </a:lnTo>
                  <a:lnTo>
                    <a:pt x="82" y="484"/>
                  </a:lnTo>
                  <a:lnTo>
                    <a:pt x="99" y="469"/>
                  </a:lnTo>
                  <a:lnTo>
                    <a:pt x="117" y="456"/>
                  </a:lnTo>
                  <a:lnTo>
                    <a:pt x="136" y="442"/>
                  </a:lnTo>
                  <a:lnTo>
                    <a:pt x="156" y="429"/>
                  </a:lnTo>
                  <a:lnTo>
                    <a:pt x="177" y="416"/>
                  </a:lnTo>
                  <a:lnTo>
                    <a:pt x="200" y="405"/>
                  </a:lnTo>
                  <a:lnTo>
                    <a:pt x="223" y="393"/>
                  </a:lnTo>
                  <a:lnTo>
                    <a:pt x="248" y="383"/>
                  </a:lnTo>
                  <a:lnTo>
                    <a:pt x="273" y="372"/>
                  </a:lnTo>
                  <a:lnTo>
                    <a:pt x="301" y="363"/>
                  </a:lnTo>
                  <a:lnTo>
                    <a:pt x="328" y="354"/>
                  </a:lnTo>
                  <a:lnTo>
                    <a:pt x="357" y="346"/>
                  </a:lnTo>
                  <a:lnTo>
                    <a:pt x="386" y="338"/>
                  </a:lnTo>
                  <a:lnTo>
                    <a:pt x="417" y="331"/>
                  </a:lnTo>
                  <a:lnTo>
                    <a:pt x="447" y="325"/>
                  </a:lnTo>
                  <a:lnTo>
                    <a:pt x="479" y="320"/>
                  </a:lnTo>
                  <a:lnTo>
                    <a:pt x="511" y="315"/>
                  </a:lnTo>
                  <a:lnTo>
                    <a:pt x="544" y="312"/>
                  </a:lnTo>
                  <a:lnTo>
                    <a:pt x="578" y="309"/>
                  </a:lnTo>
                  <a:lnTo>
                    <a:pt x="612" y="306"/>
                  </a:lnTo>
                  <a:lnTo>
                    <a:pt x="647" y="304"/>
                  </a:lnTo>
                  <a:lnTo>
                    <a:pt x="682" y="304"/>
                  </a:lnTo>
                  <a:lnTo>
                    <a:pt x="682" y="304"/>
                  </a:lnTo>
                  <a:lnTo>
                    <a:pt x="716" y="304"/>
                  </a:lnTo>
                  <a:lnTo>
                    <a:pt x="751" y="306"/>
                  </a:lnTo>
                  <a:lnTo>
                    <a:pt x="786" y="309"/>
                  </a:lnTo>
                  <a:lnTo>
                    <a:pt x="820" y="312"/>
                  </a:lnTo>
                  <a:lnTo>
                    <a:pt x="852" y="315"/>
                  </a:lnTo>
                  <a:lnTo>
                    <a:pt x="885" y="320"/>
                  </a:lnTo>
                  <a:lnTo>
                    <a:pt x="916" y="325"/>
                  </a:lnTo>
                  <a:lnTo>
                    <a:pt x="947" y="331"/>
                  </a:lnTo>
                  <a:lnTo>
                    <a:pt x="977" y="338"/>
                  </a:lnTo>
                  <a:lnTo>
                    <a:pt x="1007" y="346"/>
                  </a:lnTo>
                  <a:lnTo>
                    <a:pt x="1035" y="354"/>
                  </a:lnTo>
                  <a:lnTo>
                    <a:pt x="1063" y="363"/>
                  </a:lnTo>
                  <a:lnTo>
                    <a:pt x="1090" y="372"/>
                  </a:lnTo>
                  <a:lnTo>
                    <a:pt x="1115" y="383"/>
                  </a:lnTo>
                  <a:lnTo>
                    <a:pt x="1140" y="393"/>
                  </a:lnTo>
                  <a:lnTo>
                    <a:pt x="1164" y="405"/>
                  </a:lnTo>
                  <a:lnTo>
                    <a:pt x="1187" y="416"/>
                  </a:lnTo>
                  <a:lnTo>
                    <a:pt x="1208" y="429"/>
                  </a:lnTo>
                  <a:lnTo>
                    <a:pt x="1228" y="442"/>
                  </a:lnTo>
                  <a:lnTo>
                    <a:pt x="1247" y="456"/>
                  </a:lnTo>
                  <a:lnTo>
                    <a:pt x="1265" y="469"/>
                  </a:lnTo>
                  <a:lnTo>
                    <a:pt x="1282" y="484"/>
                  </a:lnTo>
                  <a:lnTo>
                    <a:pt x="1296" y="499"/>
                  </a:lnTo>
                  <a:lnTo>
                    <a:pt x="1310" y="514"/>
                  </a:lnTo>
                  <a:lnTo>
                    <a:pt x="1323" y="530"/>
                  </a:lnTo>
                  <a:lnTo>
                    <a:pt x="1333" y="546"/>
                  </a:lnTo>
                  <a:lnTo>
                    <a:pt x="1343" y="561"/>
                  </a:lnTo>
                  <a:lnTo>
                    <a:pt x="1350" y="578"/>
                  </a:lnTo>
                  <a:lnTo>
                    <a:pt x="1356" y="595"/>
                  </a:lnTo>
                  <a:lnTo>
                    <a:pt x="1360" y="612"/>
                  </a:lnTo>
                  <a:lnTo>
                    <a:pt x="1363" y="629"/>
                  </a:lnTo>
                  <a:lnTo>
                    <a:pt x="1364" y="647"/>
                  </a:lnTo>
                  <a:lnTo>
                    <a:pt x="1364" y="342"/>
                  </a:lnTo>
                  <a:close/>
                </a:path>
              </a:pathLst>
            </a:custGeom>
            <a:solidFill>
              <a:srgbClr val="5F5F5F"/>
            </a:solidFill>
            <a:ln>
              <a:noFill/>
            </a:ln>
            <a:effectLst/>
            <a:extLst>
              <a:ext uri="{91240B29-F687-4F45-9708-019B960494DF}">
                <a14:hiddenLine xmlns:a14="http://schemas.microsoft.com/office/drawing/2010/main" w="8001">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1" name="Freeform 40"/>
            <p:cNvSpPr/>
            <p:nvPr/>
          </p:nvSpPr>
          <p:spPr bwMode="auto">
            <a:xfrm>
              <a:off x="3357" y="1963"/>
              <a:ext cx="879" cy="398"/>
            </a:xfrm>
            <a:custGeom>
              <a:avLst/>
              <a:gdLst>
                <a:gd name="T0" fmla="*/ 1514 w 1515"/>
                <a:gd name="T1" fmla="*/ 21 h 686"/>
                <a:gd name="T2" fmla="*/ 1500 w 1515"/>
                <a:gd name="T3" fmla="*/ 78 h 686"/>
                <a:gd name="T4" fmla="*/ 1469 w 1515"/>
                <a:gd name="T5" fmla="*/ 132 h 686"/>
                <a:gd name="T6" fmla="*/ 1424 w 1515"/>
                <a:gd name="T7" fmla="*/ 182 h 686"/>
                <a:gd name="T8" fmla="*/ 1365 w 1515"/>
                <a:gd name="T9" fmla="*/ 228 h 686"/>
                <a:gd name="T10" fmla="*/ 1293 w 1515"/>
                <a:gd name="T11" fmla="*/ 270 h 686"/>
                <a:gd name="T12" fmla="*/ 1211 w 1515"/>
                <a:gd name="T13" fmla="*/ 305 h 686"/>
                <a:gd name="T14" fmla="*/ 1119 w 1515"/>
                <a:gd name="T15" fmla="*/ 336 h 686"/>
                <a:gd name="T16" fmla="*/ 1019 w 1515"/>
                <a:gd name="T17" fmla="*/ 358 h 686"/>
                <a:gd name="T18" fmla="*/ 910 w 1515"/>
                <a:gd name="T19" fmla="*/ 374 h 686"/>
                <a:gd name="T20" fmla="*/ 797 w 1515"/>
                <a:gd name="T21" fmla="*/ 381 h 686"/>
                <a:gd name="T22" fmla="*/ 719 w 1515"/>
                <a:gd name="T23" fmla="*/ 381 h 686"/>
                <a:gd name="T24" fmla="*/ 605 w 1515"/>
                <a:gd name="T25" fmla="*/ 374 h 686"/>
                <a:gd name="T26" fmla="*/ 497 w 1515"/>
                <a:gd name="T27" fmla="*/ 358 h 686"/>
                <a:gd name="T28" fmla="*/ 397 w 1515"/>
                <a:gd name="T29" fmla="*/ 336 h 686"/>
                <a:gd name="T30" fmla="*/ 304 w 1515"/>
                <a:gd name="T31" fmla="*/ 305 h 686"/>
                <a:gd name="T32" fmla="*/ 222 w 1515"/>
                <a:gd name="T33" fmla="*/ 270 h 686"/>
                <a:gd name="T34" fmla="*/ 151 w 1515"/>
                <a:gd name="T35" fmla="*/ 228 h 686"/>
                <a:gd name="T36" fmla="*/ 92 w 1515"/>
                <a:gd name="T37" fmla="*/ 182 h 686"/>
                <a:gd name="T38" fmla="*/ 46 w 1515"/>
                <a:gd name="T39" fmla="*/ 132 h 686"/>
                <a:gd name="T40" fmla="*/ 16 w 1515"/>
                <a:gd name="T41" fmla="*/ 78 h 686"/>
                <a:gd name="T42" fmla="*/ 1 w 1515"/>
                <a:gd name="T43" fmla="*/ 21 h 686"/>
                <a:gd name="T44" fmla="*/ 0 w 1515"/>
                <a:gd name="T45" fmla="*/ 305 h 686"/>
                <a:gd name="T46" fmla="*/ 9 w 1515"/>
                <a:gd name="T47" fmla="*/ 363 h 686"/>
                <a:gd name="T48" fmla="*/ 34 w 1515"/>
                <a:gd name="T49" fmla="*/ 418 h 686"/>
                <a:gd name="T50" fmla="*/ 75 w 1515"/>
                <a:gd name="T51" fmla="*/ 470 h 686"/>
                <a:gd name="T52" fmla="*/ 130 w 1515"/>
                <a:gd name="T53" fmla="*/ 518 h 686"/>
                <a:gd name="T54" fmla="*/ 197 w 1515"/>
                <a:gd name="T55" fmla="*/ 561 h 686"/>
                <a:gd name="T56" fmla="*/ 276 w 1515"/>
                <a:gd name="T57" fmla="*/ 599 h 686"/>
                <a:gd name="T58" fmla="*/ 365 w 1515"/>
                <a:gd name="T59" fmla="*/ 631 h 686"/>
                <a:gd name="T60" fmla="*/ 463 w 1515"/>
                <a:gd name="T61" fmla="*/ 656 h 686"/>
                <a:gd name="T62" fmla="*/ 568 w 1515"/>
                <a:gd name="T63" fmla="*/ 674 h 686"/>
                <a:gd name="T64" fmla="*/ 680 w 1515"/>
                <a:gd name="T65" fmla="*/ 684 h 686"/>
                <a:gd name="T66" fmla="*/ 758 w 1515"/>
                <a:gd name="T67" fmla="*/ 686 h 686"/>
                <a:gd name="T68" fmla="*/ 873 w 1515"/>
                <a:gd name="T69" fmla="*/ 682 h 686"/>
                <a:gd name="T70" fmla="*/ 983 w 1515"/>
                <a:gd name="T71" fmla="*/ 669 h 686"/>
                <a:gd name="T72" fmla="*/ 1086 w 1515"/>
                <a:gd name="T73" fmla="*/ 648 h 686"/>
                <a:gd name="T74" fmla="*/ 1182 w 1515"/>
                <a:gd name="T75" fmla="*/ 621 h 686"/>
                <a:gd name="T76" fmla="*/ 1267 w 1515"/>
                <a:gd name="T77" fmla="*/ 586 h 686"/>
                <a:gd name="T78" fmla="*/ 1343 w 1515"/>
                <a:gd name="T79" fmla="*/ 547 h 686"/>
                <a:gd name="T80" fmla="*/ 1406 w 1515"/>
                <a:gd name="T81" fmla="*/ 503 h 686"/>
                <a:gd name="T82" fmla="*/ 1455 w 1515"/>
                <a:gd name="T83" fmla="*/ 453 h 686"/>
                <a:gd name="T84" fmla="*/ 1491 w 1515"/>
                <a:gd name="T85" fmla="*/ 400 h 686"/>
                <a:gd name="T86" fmla="*/ 1511 w 1515"/>
                <a:gd name="T87" fmla="*/ 344 h 686"/>
                <a:gd name="T88" fmla="*/ 1515 w 1515"/>
                <a:gd name="T89"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5" h="686">
                  <a:moveTo>
                    <a:pt x="1515" y="0"/>
                  </a:moveTo>
                  <a:lnTo>
                    <a:pt x="1515" y="0"/>
                  </a:lnTo>
                  <a:lnTo>
                    <a:pt x="1514" y="21"/>
                  </a:lnTo>
                  <a:lnTo>
                    <a:pt x="1511" y="40"/>
                  </a:lnTo>
                  <a:lnTo>
                    <a:pt x="1507" y="59"/>
                  </a:lnTo>
                  <a:lnTo>
                    <a:pt x="1500" y="78"/>
                  </a:lnTo>
                  <a:lnTo>
                    <a:pt x="1491" y="96"/>
                  </a:lnTo>
                  <a:lnTo>
                    <a:pt x="1482" y="114"/>
                  </a:lnTo>
                  <a:lnTo>
                    <a:pt x="1469" y="132"/>
                  </a:lnTo>
                  <a:lnTo>
                    <a:pt x="1455" y="149"/>
                  </a:lnTo>
                  <a:lnTo>
                    <a:pt x="1441" y="165"/>
                  </a:lnTo>
                  <a:lnTo>
                    <a:pt x="1424" y="182"/>
                  </a:lnTo>
                  <a:lnTo>
                    <a:pt x="1406" y="198"/>
                  </a:lnTo>
                  <a:lnTo>
                    <a:pt x="1386" y="213"/>
                  </a:lnTo>
                  <a:lnTo>
                    <a:pt x="1365" y="228"/>
                  </a:lnTo>
                  <a:lnTo>
                    <a:pt x="1343" y="243"/>
                  </a:lnTo>
                  <a:lnTo>
                    <a:pt x="1319" y="256"/>
                  </a:lnTo>
                  <a:lnTo>
                    <a:pt x="1293" y="270"/>
                  </a:lnTo>
                  <a:lnTo>
                    <a:pt x="1267" y="282"/>
                  </a:lnTo>
                  <a:lnTo>
                    <a:pt x="1240" y="294"/>
                  </a:lnTo>
                  <a:lnTo>
                    <a:pt x="1211" y="305"/>
                  </a:lnTo>
                  <a:lnTo>
                    <a:pt x="1182" y="317"/>
                  </a:lnTo>
                  <a:lnTo>
                    <a:pt x="1150" y="326"/>
                  </a:lnTo>
                  <a:lnTo>
                    <a:pt x="1119" y="336"/>
                  </a:lnTo>
                  <a:lnTo>
                    <a:pt x="1086" y="343"/>
                  </a:lnTo>
                  <a:lnTo>
                    <a:pt x="1052" y="352"/>
                  </a:lnTo>
                  <a:lnTo>
                    <a:pt x="1019" y="358"/>
                  </a:lnTo>
                  <a:lnTo>
                    <a:pt x="983" y="364"/>
                  </a:lnTo>
                  <a:lnTo>
                    <a:pt x="947" y="370"/>
                  </a:lnTo>
                  <a:lnTo>
                    <a:pt x="910" y="374"/>
                  </a:lnTo>
                  <a:lnTo>
                    <a:pt x="873" y="377"/>
                  </a:lnTo>
                  <a:lnTo>
                    <a:pt x="836" y="379"/>
                  </a:lnTo>
                  <a:lnTo>
                    <a:pt x="797" y="381"/>
                  </a:lnTo>
                  <a:lnTo>
                    <a:pt x="758" y="381"/>
                  </a:lnTo>
                  <a:lnTo>
                    <a:pt x="758" y="381"/>
                  </a:lnTo>
                  <a:lnTo>
                    <a:pt x="719" y="381"/>
                  </a:lnTo>
                  <a:lnTo>
                    <a:pt x="680" y="379"/>
                  </a:lnTo>
                  <a:lnTo>
                    <a:pt x="642" y="377"/>
                  </a:lnTo>
                  <a:lnTo>
                    <a:pt x="605" y="374"/>
                  </a:lnTo>
                  <a:lnTo>
                    <a:pt x="568" y="370"/>
                  </a:lnTo>
                  <a:lnTo>
                    <a:pt x="533" y="364"/>
                  </a:lnTo>
                  <a:lnTo>
                    <a:pt x="497" y="358"/>
                  </a:lnTo>
                  <a:lnTo>
                    <a:pt x="463" y="352"/>
                  </a:lnTo>
                  <a:lnTo>
                    <a:pt x="429" y="343"/>
                  </a:lnTo>
                  <a:lnTo>
                    <a:pt x="397" y="336"/>
                  </a:lnTo>
                  <a:lnTo>
                    <a:pt x="365" y="326"/>
                  </a:lnTo>
                  <a:lnTo>
                    <a:pt x="334" y="317"/>
                  </a:lnTo>
                  <a:lnTo>
                    <a:pt x="304" y="305"/>
                  </a:lnTo>
                  <a:lnTo>
                    <a:pt x="276" y="294"/>
                  </a:lnTo>
                  <a:lnTo>
                    <a:pt x="248" y="282"/>
                  </a:lnTo>
                  <a:lnTo>
                    <a:pt x="222" y="270"/>
                  </a:lnTo>
                  <a:lnTo>
                    <a:pt x="197" y="256"/>
                  </a:lnTo>
                  <a:lnTo>
                    <a:pt x="173" y="243"/>
                  </a:lnTo>
                  <a:lnTo>
                    <a:pt x="151" y="228"/>
                  </a:lnTo>
                  <a:lnTo>
                    <a:pt x="130" y="213"/>
                  </a:lnTo>
                  <a:lnTo>
                    <a:pt x="110" y="198"/>
                  </a:lnTo>
                  <a:lnTo>
                    <a:pt x="92" y="182"/>
                  </a:lnTo>
                  <a:lnTo>
                    <a:pt x="75" y="165"/>
                  </a:lnTo>
                  <a:lnTo>
                    <a:pt x="60" y="149"/>
                  </a:lnTo>
                  <a:lnTo>
                    <a:pt x="46" y="132"/>
                  </a:lnTo>
                  <a:lnTo>
                    <a:pt x="34" y="114"/>
                  </a:lnTo>
                  <a:lnTo>
                    <a:pt x="24" y="96"/>
                  </a:lnTo>
                  <a:lnTo>
                    <a:pt x="16" y="78"/>
                  </a:lnTo>
                  <a:lnTo>
                    <a:pt x="9" y="59"/>
                  </a:lnTo>
                  <a:lnTo>
                    <a:pt x="4" y="40"/>
                  </a:lnTo>
                  <a:lnTo>
                    <a:pt x="1" y="21"/>
                  </a:lnTo>
                  <a:lnTo>
                    <a:pt x="0" y="0"/>
                  </a:lnTo>
                  <a:lnTo>
                    <a:pt x="0" y="305"/>
                  </a:lnTo>
                  <a:lnTo>
                    <a:pt x="0" y="305"/>
                  </a:lnTo>
                  <a:lnTo>
                    <a:pt x="1" y="325"/>
                  </a:lnTo>
                  <a:lnTo>
                    <a:pt x="4" y="344"/>
                  </a:lnTo>
                  <a:lnTo>
                    <a:pt x="9" y="363"/>
                  </a:lnTo>
                  <a:lnTo>
                    <a:pt x="16" y="382"/>
                  </a:lnTo>
                  <a:lnTo>
                    <a:pt x="24" y="400"/>
                  </a:lnTo>
                  <a:lnTo>
                    <a:pt x="34" y="418"/>
                  </a:lnTo>
                  <a:lnTo>
                    <a:pt x="46" y="436"/>
                  </a:lnTo>
                  <a:lnTo>
                    <a:pt x="60" y="453"/>
                  </a:lnTo>
                  <a:lnTo>
                    <a:pt x="75" y="470"/>
                  </a:lnTo>
                  <a:lnTo>
                    <a:pt x="92" y="487"/>
                  </a:lnTo>
                  <a:lnTo>
                    <a:pt x="110" y="503"/>
                  </a:lnTo>
                  <a:lnTo>
                    <a:pt x="130" y="518"/>
                  </a:lnTo>
                  <a:lnTo>
                    <a:pt x="151" y="532"/>
                  </a:lnTo>
                  <a:lnTo>
                    <a:pt x="173" y="547"/>
                  </a:lnTo>
                  <a:lnTo>
                    <a:pt x="197" y="561"/>
                  </a:lnTo>
                  <a:lnTo>
                    <a:pt x="222" y="575"/>
                  </a:lnTo>
                  <a:lnTo>
                    <a:pt x="248" y="586"/>
                  </a:lnTo>
                  <a:lnTo>
                    <a:pt x="276" y="599"/>
                  </a:lnTo>
                  <a:lnTo>
                    <a:pt x="304" y="610"/>
                  </a:lnTo>
                  <a:lnTo>
                    <a:pt x="334" y="621"/>
                  </a:lnTo>
                  <a:lnTo>
                    <a:pt x="365" y="631"/>
                  </a:lnTo>
                  <a:lnTo>
                    <a:pt x="397" y="640"/>
                  </a:lnTo>
                  <a:lnTo>
                    <a:pt x="429" y="648"/>
                  </a:lnTo>
                  <a:lnTo>
                    <a:pt x="463" y="656"/>
                  </a:lnTo>
                  <a:lnTo>
                    <a:pt x="497" y="663"/>
                  </a:lnTo>
                  <a:lnTo>
                    <a:pt x="533" y="669"/>
                  </a:lnTo>
                  <a:lnTo>
                    <a:pt x="568" y="674"/>
                  </a:lnTo>
                  <a:lnTo>
                    <a:pt x="605" y="678"/>
                  </a:lnTo>
                  <a:lnTo>
                    <a:pt x="642" y="682"/>
                  </a:lnTo>
                  <a:lnTo>
                    <a:pt x="680" y="684"/>
                  </a:lnTo>
                  <a:lnTo>
                    <a:pt x="719" y="686"/>
                  </a:lnTo>
                  <a:lnTo>
                    <a:pt x="758" y="686"/>
                  </a:lnTo>
                  <a:lnTo>
                    <a:pt x="758" y="686"/>
                  </a:lnTo>
                  <a:lnTo>
                    <a:pt x="797" y="686"/>
                  </a:lnTo>
                  <a:lnTo>
                    <a:pt x="836" y="684"/>
                  </a:lnTo>
                  <a:lnTo>
                    <a:pt x="873" y="682"/>
                  </a:lnTo>
                  <a:lnTo>
                    <a:pt x="910" y="678"/>
                  </a:lnTo>
                  <a:lnTo>
                    <a:pt x="947" y="674"/>
                  </a:lnTo>
                  <a:lnTo>
                    <a:pt x="983" y="669"/>
                  </a:lnTo>
                  <a:lnTo>
                    <a:pt x="1019" y="663"/>
                  </a:lnTo>
                  <a:lnTo>
                    <a:pt x="1052" y="656"/>
                  </a:lnTo>
                  <a:lnTo>
                    <a:pt x="1086" y="648"/>
                  </a:lnTo>
                  <a:lnTo>
                    <a:pt x="1119" y="640"/>
                  </a:lnTo>
                  <a:lnTo>
                    <a:pt x="1150" y="631"/>
                  </a:lnTo>
                  <a:lnTo>
                    <a:pt x="1182" y="621"/>
                  </a:lnTo>
                  <a:lnTo>
                    <a:pt x="1211" y="610"/>
                  </a:lnTo>
                  <a:lnTo>
                    <a:pt x="1240" y="599"/>
                  </a:lnTo>
                  <a:lnTo>
                    <a:pt x="1267" y="586"/>
                  </a:lnTo>
                  <a:lnTo>
                    <a:pt x="1293" y="575"/>
                  </a:lnTo>
                  <a:lnTo>
                    <a:pt x="1319" y="561"/>
                  </a:lnTo>
                  <a:lnTo>
                    <a:pt x="1343" y="547"/>
                  </a:lnTo>
                  <a:lnTo>
                    <a:pt x="1365" y="532"/>
                  </a:lnTo>
                  <a:lnTo>
                    <a:pt x="1386" y="518"/>
                  </a:lnTo>
                  <a:lnTo>
                    <a:pt x="1406" y="503"/>
                  </a:lnTo>
                  <a:lnTo>
                    <a:pt x="1424" y="487"/>
                  </a:lnTo>
                  <a:lnTo>
                    <a:pt x="1441" y="470"/>
                  </a:lnTo>
                  <a:lnTo>
                    <a:pt x="1455" y="453"/>
                  </a:lnTo>
                  <a:lnTo>
                    <a:pt x="1469" y="436"/>
                  </a:lnTo>
                  <a:lnTo>
                    <a:pt x="1482" y="418"/>
                  </a:lnTo>
                  <a:lnTo>
                    <a:pt x="1491" y="400"/>
                  </a:lnTo>
                  <a:lnTo>
                    <a:pt x="1500" y="382"/>
                  </a:lnTo>
                  <a:lnTo>
                    <a:pt x="1507" y="363"/>
                  </a:lnTo>
                  <a:lnTo>
                    <a:pt x="1511" y="344"/>
                  </a:lnTo>
                  <a:lnTo>
                    <a:pt x="1514" y="325"/>
                  </a:lnTo>
                  <a:lnTo>
                    <a:pt x="1515" y="305"/>
                  </a:lnTo>
                  <a:lnTo>
                    <a:pt x="1515" y="0"/>
                  </a:lnTo>
                  <a:close/>
                </a:path>
              </a:pathLst>
            </a:custGeom>
            <a:gradFill rotWithShape="1">
              <a:gsLst>
                <a:gs pos="0">
                  <a:srgbClr val="969696"/>
                </a:gs>
                <a:gs pos="50000">
                  <a:srgbClr val="969696">
                    <a:gamma/>
                    <a:tint val="60784"/>
                    <a:invGamma/>
                  </a:srgbClr>
                </a:gs>
                <a:gs pos="100000">
                  <a:srgbClr val="969696"/>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2" name="Freeform 41"/>
            <p:cNvSpPr>
              <a:spLocks noEditPoints="1"/>
            </p:cNvSpPr>
            <p:nvPr/>
          </p:nvSpPr>
          <p:spPr bwMode="auto">
            <a:xfrm>
              <a:off x="3357" y="1743"/>
              <a:ext cx="879" cy="441"/>
            </a:xfrm>
            <a:custGeom>
              <a:avLst/>
              <a:gdLst>
                <a:gd name="T0" fmla="*/ 642 w 1515"/>
                <a:gd name="T1" fmla="*/ 4 h 761"/>
                <a:gd name="T2" fmla="*/ 463 w 1515"/>
                <a:gd name="T3" fmla="*/ 29 h 761"/>
                <a:gd name="T4" fmla="*/ 304 w 1515"/>
                <a:gd name="T5" fmla="*/ 76 h 761"/>
                <a:gd name="T6" fmla="*/ 173 w 1515"/>
                <a:gd name="T7" fmla="*/ 138 h 761"/>
                <a:gd name="T8" fmla="*/ 75 w 1515"/>
                <a:gd name="T9" fmla="*/ 215 h 761"/>
                <a:gd name="T10" fmla="*/ 16 w 1515"/>
                <a:gd name="T11" fmla="*/ 303 h 761"/>
                <a:gd name="T12" fmla="*/ 0 w 1515"/>
                <a:gd name="T13" fmla="*/ 380 h 761"/>
                <a:gd name="T14" fmla="*/ 24 w 1515"/>
                <a:gd name="T15" fmla="*/ 476 h 761"/>
                <a:gd name="T16" fmla="*/ 92 w 1515"/>
                <a:gd name="T17" fmla="*/ 562 h 761"/>
                <a:gd name="T18" fmla="*/ 197 w 1515"/>
                <a:gd name="T19" fmla="*/ 636 h 761"/>
                <a:gd name="T20" fmla="*/ 334 w 1515"/>
                <a:gd name="T21" fmla="*/ 697 h 761"/>
                <a:gd name="T22" fmla="*/ 497 w 1515"/>
                <a:gd name="T23" fmla="*/ 738 h 761"/>
                <a:gd name="T24" fmla="*/ 680 w 1515"/>
                <a:gd name="T25" fmla="*/ 759 h 761"/>
                <a:gd name="T26" fmla="*/ 836 w 1515"/>
                <a:gd name="T27" fmla="*/ 759 h 761"/>
                <a:gd name="T28" fmla="*/ 1019 w 1515"/>
                <a:gd name="T29" fmla="*/ 738 h 761"/>
                <a:gd name="T30" fmla="*/ 1182 w 1515"/>
                <a:gd name="T31" fmla="*/ 697 h 761"/>
                <a:gd name="T32" fmla="*/ 1319 w 1515"/>
                <a:gd name="T33" fmla="*/ 636 h 761"/>
                <a:gd name="T34" fmla="*/ 1424 w 1515"/>
                <a:gd name="T35" fmla="*/ 562 h 761"/>
                <a:gd name="T36" fmla="*/ 1491 w 1515"/>
                <a:gd name="T37" fmla="*/ 476 h 761"/>
                <a:gd name="T38" fmla="*/ 1515 w 1515"/>
                <a:gd name="T39" fmla="*/ 380 h 761"/>
                <a:gd name="T40" fmla="*/ 1500 w 1515"/>
                <a:gd name="T41" fmla="*/ 303 h 761"/>
                <a:gd name="T42" fmla="*/ 1441 w 1515"/>
                <a:gd name="T43" fmla="*/ 215 h 761"/>
                <a:gd name="T44" fmla="*/ 1343 w 1515"/>
                <a:gd name="T45" fmla="*/ 138 h 761"/>
                <a:gd name="T46" fmla="*/ 1211 w 1515"/>
                <a:gd name="T47" fmla="*/ 76 h 761"/>
                <a:gd name="T48" fmla="*/ 1052 w 1515"/>
                <a:gd name="T49" fmla="*/ 29 h 761"/>
                <a:gd name="T50" fmla="*/ 873 w 1515"/>
                <a:gd name="T51" fmla="*/ 4 h 761"/>
                <a:gd name="T52" fmla="*/ 758 w 1515"/>
                <a:gd name="T53" fmla="*/ 723 h 761"/>
                <a:gd name="T54" fmla="*/ 620 w 1515"/>
                <a:gd name="T55" fmla="*/ 716 h 761"/>
                <a:gd name="T56" fmla="*/ 462 w 1515"/>
                <a:gd name="T57" fmla="*/ 689 h 761"/>
                <a:gd name="T58" fmla="*/ 324 w 1515"/>
                <a:gd name="T59" fmla="*/ 645 h 761"/>
                <a:gd name="T60" fmla="*/ 212 w 1515"/>
                <a:gd name="T61" fmla="*/ 586 h 761"/>
                <a:gd name="T62" fmla="*/ 130 w 1515"/>
                <a:gd name="T63" fmla="*/ 514 h 761"/>
                <a:gd name="T64" fmla="*/ 83 w 1515"/>
                <a:gd name="T65" fmla="*/ 432 h 761"/>
                <a:gd name="T66" fmla="*/ 77 w 1515"/>
                <a:gd name="T67" fmla="*/ 362 h 761"/>
                <a:gd name="T68" fmla="*/ 106 w 1515"/>
                <a:gd name="T69" fmla="*/ 279 h 761"/>
                <a:gd name="T70" fmla="*/ 175 w 1515"/>
                <a:gd name="T71" fmla="*/ 203 h 761"/>
                <a:gd name="T72" fmla="*/ 276 w 1515"/>
                <a:gd name="T73" fmla="*/ 138 h 761"/>
                <a:gd name="T74" fmla="*/ 404 w 1515"/>
                <a:gd name="T75" fmla="*/ 87 h 761"/>
                <a:gd name="T76" fmla="*/ 555 w 1515"/>
                <a:gd name="T77" fmla="*/ 54 h 761"/>
                <a:gd name="T78" fmla="*/ 723 w 1515"/>
                <a:gd name="T79" fmla="*/ 38 h 761"/>
                <a:gd name="T80" fmla="*/ 862 w 1515"/>
                <a:gd name="T81" fmla="*/ 42 h 761"/>
                <a:gd name="T82" fmla="*/ 1023 w 1515"/>
                <a:gd name="T83" fmla="*/ 64 h 761"/>
                <a:gd name="T84" fmla="*/ 1166 w 1515"/>
                <a:gd name="T85" fmla="*/ 105 h 761"/>
                <a:gd name="T86" fmla="*/ 1284 w 1515"/>
                <a:gd name="T87" fmla="*/ 162 h 761"/>
                <a:gd name="T88" fmla="*/ 1372 w 1515"/>
                <a:gd name="T89" fmla="*/ 232 h 761"/>
                <a:gd name="T90" fmla="*/ 1426 w 1515"/>
                <a:gd name="T91" fmla="*/ 312 h 761"/>
                <a:gd name="T92" fmla="*/ 1440 w 1515"/>
                <a:gd name="T93" fmla="*/ 380 h 761"/>
                <a:gd name="T94" fmla="*/ 1419 w 1515"/>
                <a:gd name="T95" fmla="*/ 466 h 761"/>
                <a:gd name="T96" fmla="*/ 1358 w 1515"/>
                <a:gd name="T97" fmla="*/ 543 h 761"/>
                <a:gd name="T98" fmla="*/ 1263 w 1515"/>
                <a:gd name="T99" fmla="*/ 611 h 761"/>
                <a:gd name="T100" fmla="*/ 1139 w 1515"/>
                <a:gd name="T101" fmla="*/ 665 h 761"/>
                <a:gd name="T102" fmla="*/ 992 w 1515"/>
                <a:gd name="T103" fmla="*/ 702 h 761"/>
                <a:gd name="T104" fmla="*/ 827 w 1515"/>
                <a:gd name="T105" fmla="*/ 721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5" h="761">
                  <a:moveTo>
                    <a:pt x="758" y="0"/>
                  </a:moveTo>
                  <a:lnTo>
                    <a:pt x="758" y="0"/>
                  </a:lnTo>
                  <a:lnTo>
                    <a:pt x="719" y="0"/>
                  </a:lnTo>
                  <a:lnTo>
                    <a:pt x="680" y="2"/>
                  </a:lnTo>
                  <a:lnTo>
                    <a:pt x="642" y="4"/>
                  </a:lnTo>
                  <a:lnTo>
                    <a:pt x="605" y="7"/>
                  </a:lnTo>
                  <a:lnTo>
                    <a:pt x="568" y="11"/>
                  </a:lnTo>
                  <a:lnTo>
                    <a:pt x="533" y="17"/>
                  </a:lnTo>
                  <a:lnTo>
                    <a:pt x="497" y="23"/>
                  </a:lnTo>
                  <a:lnTo>
                    <a:pt x="463" y="29"/>
                  </a:lnTo>
                  <a:lnTo>
                    <a:pt x="429" y="37"/>
                  </a:lnTo>
                  <a:lnTo>
                    <a:pt x="397" y="45"/>
                  </a:lnTo>
                  <a:lnTo>
                    <a:pt x="365" y="55"/>
                  </a:lnTo>
                  <a:lnTo>
                    <a:pt x="334" y="64"/>
                  </a:lnTo>
                  <a:lnTo>
                    <a:pt x="304" y="76"/>
                  </a:lnTo>
                  <a:lnTo>
                    <a:pt x="276" y="86"/>
                  </a:lnTo>
                  <a:lnTo>
                    <a:pt x="248" y="99"/>
                  </a:lnTo>
                  <a:lnTo>
                    <a:pt x="222" y="111"/>
                  </a:lnTo>
                  <a:lnTo>
                    <a:pt x="197" y="124"/>
                  </a:lnTo>
                  <a:lnTo>
                    <a:pt x="173" y="138"/>
                  </a:lnTo>
                  <a:lnTo>
                    <a:pt x="151" y="153"/>
                  </a:lnTo>
                  <a:lnTo>
                    <a:pt x="130" y="168"/>
                  </a:lnTo>
                  <a:lnTo>
                    <a:pt x="110" y="183"/>
                  </a:lnTo>
                  <a:lnTo>
                    <a:pt x="92" y="198"/>
                  </a:lnTo>
                  <a:lnTo>
                    <a:pt x="75" y="215"/>
                  </a:lnTo>
                  <a:lnTo>
                    <a:pt x="60" y="232"/>
                  </a:lnTo>
                  <a:lnTo>
                    <a:pt x="46" y="249"/>
                  </a:lnTo>
                  <a:lnTo>
                    <a:pt x="34" y="267"/>
                  </a:lnTo>
                  <a:lnTo>
                    <a:pt x="24" y="285"/>
                  </a:lnTo>
                  <a:lnTo>
                    <a:pt x="16" y="303"/>
                  </a:lnTo>
                  <a:lnTo>
                    <a:pt x="9" y="322"/>
                  </a:lnTo>
                  <a:lnTo>
                    <a:pt x="4" y="341"/>
                  </a:lnTo>
                  <a:lnTo>
                    <a:pt x="1" y="360"/>
                  </a:lnTo>
                  <a:lnTo>
                    <a:pt x="0" y="380"/>
                  </a:lnTo>
                  <a:lnTo>
                    <a:pt x="0" y="380"/>
                  </a:lnTo>
                  <a:lnTo>
                    <a:pt x="1" y="401"/>
                  </a:lnTo>
                  <a:lnTo>
                    <a:pt x="4" y="420"/>
                  </a:lnTo>
                  <a:lnTo>
                    <a:pt x="9" y="439"/>
                  </a:lnTo>
                  <a:lnTo>
                    <a:pt x="16" y="458"/>
                  </a:lnTo>
                  <a:lnTo>
                    <a:pt x="24" y="476"/>
                  </a:lnTo>
                  <a:lnTo>
                    <a:pt x="34" y="494"/>
                  </a:lnTo>
                  <a:lnTo>
                    <a:pt x="46" y="512"/>
                  </a:lnTo>
                  <a:lnTo>
                    <a:pt x="60" y="529"/>
                  </a:lnTo>
                  <a:lnTo>
                    <a:pt x="75" y="545"/>
                  </a:lnTo>
                  <a:lnTo>
                    <a:pt x="92" y="562"/>
                  </a:lnTo>
                  <a:lnTo>
                    <a:pt x="110" y="578"/>
                  </a:lnTo>
                  <a:lnTo>
                    <a:pt x="130" y="593"/>
                  </a:lnTo>
                  <a:lnTo>
                    <a:pt x="151" y="608"/>
                  </a:lnTo>
                  <a:lnTo>
                    <a:pt x="173" y="623"/>
                  </a:lnTo>
                  <a:lnTo>
                    <a:pt x="197" y="636"/>
                  </a:lnTo>
                  <a:lnTo>
                    <a:pt x="222" y="650"/>
                  </a:lnTo>
                  <a:lnTo>
                    <a:pt x="248" y="662"/>
                  </a:lnTo>
                  <a:lnTo>
                    <a:pt x="276" y="674"/>
                  </a:lnTo>
                  <a:lnTo>
                    <a:pt x="304" y="685"/>
                  </a:lnTo>
                  <a:lnTo>
                    <a:pt x="334" y="697"/>
                  </a:lnTo>
                  <a:lnTo>
                    <a:pt x="365" y="706"/>
                  </a:lnTo>
                  <a:lnTo>
                    <a:pt x="397" y="716"/>
                  </a:lnTo>
                  <a:lnTo>
                    <a:pt x="429" y="723"/>
                  </a:lnTo>
                  <a:lnTo>
                    <a:pt x="463" y="732"/>
                  </a:lnTo>
                  <a:lnTo>
                    <a:pt x="497" y="738"/>
                  </a:lnTo>
                  <a:lnTo>
                    <a:pt x="533" y="744"/>
                  </a:lnTo>
                  <a:lnTo>
                    <a:pt x="568" y="750"/>
                  </a:lnTo>
                  <a:lnTo>
                    <a:pt x="605" y="754"/>
                  </a:lnTo>
                  <a:lnTo>
                    <a:pt x="642" y="757"/>
                  </a:lnTo>
                  <a:lnTo>
                    <a:pt x="680" y="759"/>
                  </a:lnTo>
                  <a:lnTo>
                    <a:pt x="719" y="761"/>
                  </a:lnTo>
                  <a:lnTo>
                    <a:pt x="758" y="761"/>
                  </a:lnTo>
                  <a:lnTo>
                    <a:pt x="758" y="761"/>
                  </a:lnTo>
                  <a:lnTo>
                    <a:pt x="797" y="761"/>
                  </a:lnTo>
                  <a:lnTo>
                    <a:pt x="836" y="759"/>
                  </a:lnTo>
                  <a:lnTo>
                    <a:pt x="873" y="757"/>
                  </a:lnTo>
                  <a:lnTo>
                    <a:pt x="910" y="754"/>
                  </a:lnTo>
                  <a:lnTo>
                    <a:pt x="947" y="750"/>
                  </a:lnTo>
                  <a:lnTo>
                    <a:pt x="983" y="744"/>
                  </a:lnTo>
                  <a:lnTo>
                    <a:pt x="1019" y="738"/>
                  </a:lnTo>
                  <a:lnTo>
                    <a:pt x="1052" y="732"/>
                  </a:lnTo>
                  <a:lnTo>
                    <a:pt x="1086" y="723"/>
                  </a:lnTo>
                  <a:lnTo>
                    <a:pt x="1119" y="716"/>
                  </a:lnTo>
                  <a:lnTo>
                    <a:pt x="1150" y="706"/>
                  </a:lnTo>
                  <a:lnTo>
                    <a:pt x="1182" y="697"/>
                  </a:lnTo>
                  <a:lnTo>
                    <a:pt x="1211" y="685"/>
                  </a:lnTo>
                  <a:lnTo>
                    <a:pt x="1240" y="674"/>
                  </a:lnTo>
                  <a:lnTo>
                    <a:pt x="1267" y="662"/>
                  </a:lnTo>
                  <a:lnTo>
                    <a:pt x="1293" y="650"/>
                  </a:lnTo>
                  <a:lnTo>
                    <a:pt x="1319" y="636"/>
                  </a:lnTo>
                  <a:lnTo>
                    <a:pt x="1343" y="623"/>
                  </a:lnTo>
                  <a:lnTo>
                    <a:pt x="1365" y="608"/>
                  </a:lnTo>
                  <a:lnTo>
                    <a:pt x="1386" y="593"/>
                  </a:lnTo>
                  <a:lnTo>
                    <a:pt x="1406" y="578"/>
                  </a:lnTo>
                  <a:lnTo>
                    <a:pt x="1424" y="562"/>
                  </a:lnTo>
                  <a:lnTo>
                    <a:pt x="1441" y="545"/>
                  </a:lnTo>
                  <a:lnTo>
                    <a:pt x="1455" y="529"/>
                  </a:lnTo>
                  <a:lnTo>
                    <a:pt x="1469" y="512"/>
                  </a:lnTo>
                  <a:lnTo>
                    <a:pt x="1482" y="494"/>
                  </a:lnTo>
                  <a:lnTo>
                    <a:pt x="1491" y="476"/>
                  </a:lnTo>
                  <a:lnTo>
                    <a:pt x="1500" y="458"/>
                  </a:lnTo>
                  <a:lnTo>
                    <a:pt x="1507" y="439"/>
                  </a:lnTo>
                  <a:lnTo>
                    <a:pt x="1511" y="420"/>
                  </a:lnTo>
                  <a:lnTo>
                    <a:pt x="1514" y="401"/>
                  </a:lnTo>
                  <a:lnTo>
                    <a:pt x="1515" y="380"/>
                  </a:lnTo>
                  <a:lnTo>
                    <a:pt x="1515" y="380"/>
                  </a:lnTo>
                  <a:lnTo>
                    <a:pt x="1514" y="360"/>
                  </a:lnTo>
                  <a:lnTo>
                    <a:pt x="1511" y="341"/>
                  </a:lnTo>
                  <a:lnTo>
                    <a:pt x="1507" y="322"/>
                  </a:lnTo>
                  <a:lnTo>
                    <a:pt x="1500" y="303"/>
                  </a:lnTo>
                  <a:lnTo>
                    <a:pt x="1491" y="285"/>
                  </a:lnTo>
                  <a:lnTo>
                    <a:pt x="1482" y="267"/>
                  </a:lnTo>
                  <a:lnTo>
                    <a:pt x="1469" y="249"/>
                  </a:lnTo>
                  <a:lnTo>
                    <a:pt x="1455" y="232"/>
                  </a:lnTo>
                  <a:lnTo>
                    <a:pt x="1441" y="215"/>
                  </a:lnTo>
                  <a:lnTo>
                    <a:pt x="1424" y="198"/>
                  </a:lnTo>
                  <a:lnTo>
                    <a:pt x="1406" y="183"/>
                  </a:lnTo>
                  <a:lnTo>
                    <a:pt x="1386" y="168"/>
                  </a:lnTo>
                  <a:lnTo>
                    <a:pt x="1365" y="153"/>
                  </a:lnTo>
                  <a:lnTo>
                    <a:pt x="1343" y="138"/>
                  </a:lnTo>
                  <a:lnTo>
                    <a:pt x="1319" y="124"/>
                  </a:lnTo>
                  <a:lnTo>
                    <a:pt x="1293" y="111"/>
                  </a:lnTo>
                  <a:lnTo>
                    <a:pt x="1267" y="99"/>
                  </a:lnTo>
                  <a:lnTo>
                    <a:pt x="1240" y="86"/>
                  </a:lnTo>
                  <a:lnTo>
                    <a:pt x="1211" y="76"/>
                  </a:lnTo>
                  <a:lnTo>
                    <a:pt x="1182" y="64"/>
                  </a:lnTo>
                  <a:lnTo>
                    <a:pt x="1150" y="55"/>
                  </a:lnTo>
                  <a:lnTo>
                    <a:pt x="1119" y="45"/>
                  </a:lnTo>
                  <a:lnTo>
                    <a:pt x="1086" y="37"/>
                  </a:lnTo>
                  <a:lnTo>
                    <a:pt x="1052" y="29"/>
                  </a:lnTo>
                  <a:lnTo>
                    <a:pt x="1019" y="23"/>
                  </a:lnTo>
                  <a:lnTo>
                    <a:pt x="983" y="17"/>
                  </a:lnTo>
                  <a:lnTo>
                    <a:pt x="947" y="11"/>
                  </a:lnTo>
                  <a:lnTo>
                    <a:pt x="910" y="7"/>
                  </a:lnTo>
                  <a:lnTo>
                    <a:pt x="873" y="4"/>
                  </a:lnTo>
                  <a:lnTo>
                    <a:pt x="836" y="2"/>
                  </a:lnTo>
                  <a:lnTo>
                    <a:pt x="797" y="0"/>
                  </a:lnTo>
                  <a:lnTo>
                    <a:pt x="758" y="0"/>
                  </a:lnTo>
                  <a:lnTo>
                    <a:pt x="758" y="0"/>
                  </a:lnTo>
                  <a:close/>
                  <a:moveTo>
                    <a:pt x="758" y="723"/>
                  </a:moveTo>
                  <a:lnTo>
                    <a:pt x="758" y="723"/>
                  </a:lnTo>
                  <a:lnTo>
                    <a:pt x="723" y="723"/>
                  </a:lnTo>
                  <a:lnTo>
                    <a:pt x="688" y="721"/>
                  </a:lnTo>
                  <a:lnTo>
                    <a:pt x="654" y="719"/>
                  </a:lnTo>
                  <a:lnTo>
                    <a:pt x="620" y="716"/>
                  </a:lnTo>
                  <a:lnTo>
                    <a:pt x="587" y="713"/>
                  </a:lnTo>
                  <a:lnTo>
                    <a:pt x="555" y="707"/>
                  </a:lnTo>
                  <a:lnTo>
                    <a:pt x="523" y="702"/>
                  </a:lnTo>
                  <a:lnTo>
                    <a:pt x="493" y="697"/>
                  </a:lnTo>
                  <a:lnTo>
                    <a:pt x="462" y="689"/>
                  </a:lnTo>
                  <a:lnTo>
                    <a:pt x="433" y="682"/>
                  </a:lnTo>
                  <a:lnTo>
                    <a:pt x="404" y="673"/>
                  </a:lnTo>
                  <a:lnTo>
                    <a:pt x="377" y="665"/>
                  </a:lnTo>
                  <a:lnTo>
                    <a:pt x="349" y="655"/>
                  </a:lnTo>
                  <a:lnTo>
                    <a:pt x="324" y="645"/>
                  </a:lnTo>
                  <a:lnTo>
                    <a:pt x="299" y="634"/>
                  </a:lnTo>
                  <a:lnTo>
                    <a:pt x="276" y="623"/>
                  </a:lnTo>
                  <a:lnTo>
                    <a:pt x="253" y="611"/>
                  </a:lnTo>
                  <a:lnTo>
                    <a:pt x="232" y="598"/>
                  </a:lnTo>
                  <a:lnTo>
                    <a:pt x="212" y="586"/>
                  </a:lnTo>
                  <a:lnTo>
                    <a:pt x="193" y="572"/>
                  </a:lnTo>
                  <a:lnTo>
                    <a:pt x="175" y="558"/>
                  </a:lnTo>
                  <a:lnTo>
                    <a:pt x="158" y="543"/>
                  </a:lnTo>
                  <a:lnTo>
                    <a:pt x="143" y="529"/>
                  </a:lnTo>
                  <a:lnTo>
                    <a:pt x="130" y="514"/>
                  </a:lnTo>
                  <a:lnTo>
                    <a:pt x="117" y="498"/>
                  </a:lnTo>
                  <a:lnTo>
                    <a:pt x="106" y="482"/>
                  </a:lnTo>
                  <a:lnTo>
                    <a:pt x="97" y="466"/>
                  </a:lnTo>
                  <a:lnTo>
                    <a:pt x="90" y="449"/>
                  </a:lnTo>
                  <a:lnTo>
                    <a:pt x="83" y="432"/>
                  </a:lnTo>
                  <a:lnTo>
                    <a:pt x="79" y="415"/>
                  </a:lnTo>
                  <a:lnTo>
                    <a:pt x="77" y="398"/>
                  </a:lnTo>
                  <a:lnTo>
                    <a:pt x="76" y="380"/>
                  </a:lnTo>
                  <a:lnTo>
                    <a:pt x="76" y="380"/>
                  </a:lnTo>
                  <a:lnTo>
                    <a:pt x="77" y="362"/>
                  </a:lnTo>
                  <a:lnTo>
                    <a:pt x="79" y="346"/>
                  </a:lnTo>
                  <a:lnTo>
                    <a:pt x="83" y="329"/>
                  </a:lnTo>
                  <a:lnTo>
                    <a:pt x="90" y="312"/>
                  </a:lnTo>
                  <a:lnTo>
                    <a:pt x="97" y="295"/>
                  </a:lnTo>
                  <a:lnTo>
                    <a:pt x="106" y="279"/>
                  </a:lnTo>
                  <a:lnTo>
                    <a:pt x="117" y="263"/>
                  </a:lnTo>
                  <a:lnTo>
                    <a:pt x="130" y="247"/>
                  </a:lnTo>
                  <a:lnTo>
                    <a:pt x="143" y="232"/>
                  </a:lnTo>
                  <a:lnTo>
                    <a:pt x="158" y="218"/>
                  </a:lnTo>
                  <a:lnTo>
                    <a:pt x="175" y="203"/>
                  </a:lnTo>
                  <a:lnTo>
                    <a:pt x="193" y="189"/>
                  </a:lnTo>
                  <a:lnTo>
                    <a:pt x="212" y="175"/>
                  </a:lnTo>
                  <a:lnTo>
                    <a:pt x="232" y="162"/>
                  </a:lnTo>
                  <a:lnTo>
                    <a:pt x="253" y="150"/>
                  </a:lnTo>
                  <a:lnTo>
                    <a:pt x="276" y="138"/>
                  </a:lnTo>
                  <a:lnTo>
                    <a:pt x="299" y="127"/>
                  </a:lnTo>
                  <a:lnTo>
                    <a:pt x="324" y="116"/>
                  </a:lnTo>
                  <a:lnTo>
                    <a:pt x="349" y="105"/>
                  </a:lnTo>
                  <a:lnTo>
                    <a:pt x="377" y="96"/>
                  </a:lnTo>
                  <a:lnTo>
                    <a:pt x="404" y="87"/>
                  </a:lnTo>
                  <a:lnTo>
                    <a:pt x="433" y="79"/>
                  </a:lnTo>
                  <a:lnTo>
                    <a:pt x="462" y="72"/>
                  </a:lnTo>
                  <a:lnTo>
                    <a:pt x="493" y="64"/>
                  </a:lnTo>
                  <a:lnTo>
                    <a:pt x="523" y="59"/>
                  </a:lnTo>
                  <a:lnTo>
                    <a:pt x="555" y="54"/>
                  </a:lnTo>
                  <a:lnTo>
                    <a:pt x="587" y="48"/>
                  </a:lnTo>
                  <a:lnTo>
                    <a:pt x="620" y="45"/>
                  </a:lnTo>
                  <a:lnTo>
                    <a:pt x="654" y="42"/>
                  </a:lnTo>
                  <a:lnTo>
                    <a:pt x="688" y="40"/>
                  </a:lnTo>
                  <a:lnTo>
                    <a:pt x="723" y="38"/>
                  </a:lnTo>
                  <a:lnTo>
                    <a:pt x="758" y="38"/>
                  </a:lnTo>
                  <a:lnTo>
                    <a:pt x="758" y="38"/>
                  </a:lnTo>
                  <a:lnTo>
                    <a:pt x="792" y="38"/>
                  </a:lnTo>
                  <a:lnTo>
                    <a:pt x="827" y="40"/>
                  </a:lnTo>
                  <a:lnTo>
                    <a:pt x="862" y="42"/>
                  </a:lnTo>
                  <a:lnTo>
                    <a:pt x="896" y="45"/>
                  </a:lnTo>
                  <a:lnTo>
                    <a:pt x="928" y="48"/>
                  </a:lnTo>
                  <a:lnTo>
                    <a:pt x="961" y="54"/>
                  </a:lnTo>
                  <a:lnTo>
                    <a:pt x="992" y="59"/>
                  </a:lnTo>
                  <a:lnTo>
                    <a:pt x="1023" y="64"/>
                  </a:lnTo>
                  <a:lnTo>
                    <a:pt x="1053" y="72"/>
                  </a:lnTo>
                  <a:lnTo>
                    <a:pt x="1083" y="79"/>
                  </a:lnTo>
                  <a:lnTo>
                    <a:pt x="1111" y="87"/>
                  </a:lnTo>
                  <a:lnTo>
                    <a:pt x="1139" y="96"/>
                  </a:lnTo>
                  <a:lnTo>
                    <a:pt x="1166" y="105"/>
                  </a:lnTo>
                  <a:lnTo>
                    <a:pt x="1191" y="116"/>
                  </a:lnTo>
                  <a:lnTo>
                    <a:pt x="1216" y="127"/>
                  </a:lnTo>
                  <a:lnTo>
                    <a:pt x="1240" y="138"/>
                  </a:lnTo>
                  <a:lnTo>
                    <a:pt x="1263" y="150"/>
                  </a:lnTo>
                  <a:lnTo>
                    <a:pt x="1284" y="162"/>
                  </a:lnTo>
                  <a:lnTo>
                    <a:pt x="1304" y="175"/>
                  </a:lnTo>
                  <a:lnTo>
                    <a:pt x="1323" y="189"/>
                  </a:lnTo>
                  <a:lnTo>
                    <a:pt x="1341" y="203"/>
                  </a:lnTo>
                  <a:lnTo>
                    <a:pt x="1358" y="218"/>
                  </a:lnTo>
                  <a:lnTo>
                    <a:pt x="1372" y="232"/>
                  </a:lnTo>
                  <a:lnTo>
                    <a:pt x="1386" y="247"/>
                  </a:lnTo>
                  <a:lnTo>
                    <a:pt x="1399" y="263"/>
                  </a:lnTo>
                  <a:lnTo>
                    <a:pt x="1409" y="279"/>
                  </a:lnTo>
                  <a:lnTo>
                    <a:pt x="1419" y="295"/>
                  </a:lnTo>
                  <a:lnTo>
                    <a:pt x="1426" y="312"/>
                  </a:lnTo>
                  <a:lnTo>
                    <a:pt x="1432" y="329"/>
                  </a:lnTo>
                  <a:lnTo>
                    <a:pt x="1436" y="346"/>
                  </a:lnTo>
                  <a:lnTo>
                    <a:pt x="1439" y="362"/>
                  </a:lnTo>
                  <a:lnTo>
                    <a:pt x="1440" y="380"/>
                  </a:lnTo>
                  <a:lnTo>
                    <a:pt x="1440" y="380"/>
                  </a:lnTo>
                  <a:lnTo>
                    <a:pt x="1439" y="398"/>
                  </a:lnTo>
                  <a:lnTo>
                    <a:pt x="1436" y="415"/>
                  </a:lnTo>
                  <a:lnTo>
                    <a:pt x="1432" y="432"/>
                  </a:lnTo>
                  <a:lnTo>
                    <a:pt x="1426" y="449"/>
                  </a:lnTo>
                  <a:lnTo>
                    <a:pt x="1419" y="466"/>
                  </a:lnTo>
                  <a:lnTo>
                    <a:pt x="1409" y="482"/>
                  </a:lnTo>
                  <a:lnTo>
                    <a:pt x="1399" y="498"/>
                  </a:lnTo>
                  <a:lnTo>
                    <a:pt x="1386" y="514"/>
                  </a:lnTo>
                  <a:lnTo>
                    <a:pt x="1372" y="529"/>
                  </a:lnTo>
                  <a:lnTo>
                    <a:pt x="1358" y="543"/>
                  </a:lnTo>
                  <a:lnTo>
                    <a:pt x="1341" y="558"/>
                  </a:lnTo>
                  <a:lnTo>
                    <a:pt x="1323" y="572"/>
                  </a:lnTo>
                  <a:lnTo>
                    <a:pt x="1304" y="586"/>
                  </a:lnTo>
                  <a:lnTo>
                    <a:pt x="1284" y="598"/>
                  </a:lnTo>
                  <a:lnTo>
                    <a:pt x="1263" y="611"/>
                  </a:lnTo>
                  <a:lnTo>
                    <a:pt x="1240" y="623"/>
                  </a:lnTo>
                  <a:lnTo>
                    <a:pt x="1216" y="634"/>
                  </a:lnTo>
                  <a:lnTo>
                    <a:pt x="1191" y="645"/>
                  </a:lnTo>
                  <a:lnTo>
                    <a:pt x="1166" y="655"/>
                  </a:lnTo>
                  <a:lnTo>
                    <a:pt x="1139" y="665"/>
                  </a:lnTo>
                  <a:lnTo>
                    <a:pt x="1111" y="673"/>
                  </a:lnTo>
                  <a:lnTo>
                    <a:pt x="1083" y="682"/>
                  </a:lnTo>
                  <a:lnTo>
                    <a:pt x="1053" y="689"/>
                  </a:lnTo>
                  <a:lnTo>
                    <a:pt x="1023" y="697"/>
                  </a:lnTo>
                  <a:lnTo>
                    <a:pt x="992" y="702"/>
                  </a:lnTo>
                  <a:lnTo>
                    <a:pt x="961" y="707"/>
                  </a:lnTo>
                  <a:lnTo>
                    <a:pt x="928" y="713"/>
                  </a:lnTo>
                  <a:lnTo>
                    <a:pt x="896" y="716"/>
                  </a:lnTo>
                  <a:lnTo>
                    <a:pt x="862" y="719"/>
                  </a:lnTo>
                  <a:lnTo>
                    <a:pt x="827" y="721"/>
                  </a:lnTo>
                  <a:lnTo>
                    <a:pt x="792" y="723"/>
                  </a:lnTo>
                  <a:lnTo>
                    <a:pt x="758" y="723"/>
                  </a:lnTo>
                  <a:lnTo>
                    <a:pt x="758" y="723"/>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6" name="Group 42"/>
          <p:cNvGrpSpPr/>
          <p:nvPr/>
        </p:nvGrpSpPr>
        <p:grpSpPr bwMode="auto">
          <a:xfrm>
            <a:off x="5038725" y="3072086"/>
            <a:ext cx="544513" cy="546100"/>
            <a:chOff x="4413" y="1610"/>
            <a:chExt cx="704" cy="707"/>
          </a:xfrm>
        </p:grpSpPr>
        <p:sp>
          <p:nvSpPr>
            <p:cNvPr id="17" name="Freeform 43"/>
            <p:cNvSpPr/>
            <p:nvPr/>
          </p:nvSpPr>
          <p:spPr bwMode="auto">
            <a:xfrm>
              <a:off x="4457" y="1631"/>
              <a:ext cx="616" cy="509"/>
            </a:xfrm>
            <a:custGeom>
              <a:avLst/>
              <a:gdLst>
                <a:gd name="T0" fmla="*/ 1060 w 1061"/>
                <a:gd name="T1" fmla="*/ 862 h 876"/>
                <a:gd name="T2" fmla="*/ 1050 w 1061"/>
                <a:gd name="T3" fmla="*/ 822 h 876"/>
                <a:gd name="T4" fmla="*/ 1028 w 1061"/>
                <a:gd name="T5" fmla="*/ 784 h 876"/>
                <a:gd name="T6" fmla="*/ 997 w 1061"/>
                <a:gd name="T7" fmla="*/ 749 h 876"/>
                <a:gd name="T8" fmla="*/ 956 w 1061"/>
                <a:gd name="T9" fmla="*/ 716 h 876"/>
                <a:gd name="T10" fmla="*/ 905 w 1061"/>
                <a:gd name="T11" fmla="*/ 688 h 876"/>
                <a:gd name="T12" fmla="*/ 848 w 1061"/>
                <a:gd name="T13" fmla="*/ 662 h 876"/>
                <a:gd name="T14" fmla="*/ 783 w 1061"/>
                <a:gd name="T15" fmla="*/ 641 h 876"/>
                <a:gd name="T16" fmla="*/ 713 w 1061"/>
                <a:gd name="T17" fmla="*/ 625 h 876"/>
                <a:gd name="T18" fmla="*/ 638 w 1061"/>
                <a:gd name="T19" fmla="*/ 615 h 876"/>
                <a:gd name="T20" fmla="*/ 558 w 1061"/>
                <a:gd name="T21" fmla="*/ 609 h 876"/>
                <a:gd name="T22" fmla="*/ 503 w 1061"/>
                <a:gd name="T23" fmla="*/ 609 h 876"/>
                <a:gd name="T24" fmla="*/ 423 w 1061"/>
                <a:gd name="T25" fmla="*/ 615 h 876"/>
                <a:gd name="T26" fmla="*/ 348 w 1061"/>
                <a:gd name="T27" fmla="*/ 625 h 876"/>
                <a:gd name="T28" fmla="*/ 278 w 1061"/>
                <a:gd name="T29" fmla="*/ 641 h 876"/>
                <a:gd name="T30" fmla="*/ 213 w 1061"/>
                <a:gd name="T31" fmla="*/ 662 h 876"/>
                <a:gd name="T32" fmla="*/ 156 w 1061"/>
                <a:gd name="T33" fmla="*/ 688 h 876"/>
                <a:gd name="T34" fmla="*/ 105 w 1061"/>
                <a:gd name="T35" fmla="*/ 716 h 876"/>
                <a:gd name="T36" fmla="*/ 64 w 1061"/>
                <a:gd name="T37" fmla="*/ 749 h 876"/>
                <a:gd name="T38" fmla="*/ 33 w 1061"/>
                <a:gd name="T39" fmla="*/ 784 h 876"/>
                <a:gd name="T40" fmla="*/ 11 w 1061"/>
                <a:gd name="T41" fmla="*/ 822 h 876"/>
                <a:gd name="T42" fmla="*/ 1 w 1061"/>
                <a:gd name="T43" fmla="*/ 862 h 876"/>
                <a:gd name="T44" fmla="*/ 0 w 1061"/>
                <a:gd name="T45" fmla="*/ 267 h 876"/>
                <a:gd name="T46" fmla="*/ 6 w 1061"/>
                <a:gd name="T47" fmla="*/ 227 h 876"/>
                <a:gd name="T48" fmla="*/ 24 w 1061"/>
                <a:gd name="T49" fmla="*/ 187 h 876"/>
                <a:gd name="T50" fmla="*/ 53 w 1061"/>
                <a:gd name="T51" fmla="*/ 151 h 876"/>
                <a:gd name="T52" fmla="*/ 91 w 1061"/>
                <a:gd name="T53" fmla="*/ 118 h 876"/>
                <a:gd name="T54" fmla="*/ 138 w 1061"/>
                <a:gd name="T55" fmla="*/ 88 h 876"/>
                <a:gd name="T56" fmla="*/ 193 w 1061"/>
                <a:gd name="T57" fmla="*/ 62 h 876"/>
                <a:gd name="T58" fmla="*/ 256 w 1061"/>
                <a:gd name="T59" fmla="*/ 38 h 876"/>
                <a:gd name="T60" fmla="*/ 324 w 1061"/>
                <a:gd name="T61" fmla="*/ 21 h 876"/>
                <a:gd name="T62" fmla="*/ 398 w 1061"/>
                <a:gd name="T63" fmla="*/ 9 h 876"/>
                <a:gd name="T64" fmla="*/ 476 w 1061"/>
                <a:gd name="T65" fmla="*/ 1 h 876"/>
                <a:gd name="T66" fmla="*/ 530 w 1061"/>
                <a:gd name="T67" fmla="*/ 0 h 876"/>
                <a:gd name="T68" fmla="*/ 611 w 1061"/>
                <a:gd name="T69" fmla="*/ 3 h 876"/>
                <a:gd name="T70" fmla="*/ 688 w 1061"/>
                <a:gd name="T71" fmla="*/ 12 h 876"/>
                <a:gd name="T72" fmla="*/ 761 w 1061"/>
                <a:gd name="T73" fmla="*/ 27 h 876"/>
                <a:gd name="T74" fmla="*/ 827 w 1061"/>
                <a:gd name="T75" fmla="*/ 46 h 876"/>
                <a:gd name="T76" fmla="*/ 887 w 1061"/>
                <a:gd name="T77" fmla="*/ 69 h 876"/>
                <a:gd name="T78" fmla="*/ 940 w 1061"/>
                <a:gd name="T79" fmla="*/ 98 h 876"/>
                <a:gd name="T80" fmla="*/ 984 w 1061"/>
                <a:gd name="T81" fmla="*/ 128 h 876"/>
                <a:gd name="T82" fmla="*/ 1019 w 1061"/>
                <a:gd name="T83" fmla="*/ 163 h 876"/>
                <a:gd name="T84" fmla="*/ 1044 w 1061"/>
                <a:gd name="T85" fmla="*/ 200 h 876"/>
                <a:gd name="T86" fmla="*/ 1058 w 1061"/>
                <a:gd name="T87" fmla="*/ 239 h 876"/>
                <a:gd name="T88" fmla="*/ 1061 w 1061"/>
                <a:gd name="T89" fmla="*/ 87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1" h="876">
                  <a:moveTo>
                    <a:pt x="1061" y="876"/>
                  </a:moveTo>
                  <a:lnTo>
                    <a:pt x="1061" y="876"/>
                  </a:lnTo>
                  <a:lnTo>
                    <a:pt x="1060" y="862"/>
                  </a:lnTo>
                  <a:lnTo>
                    <a:pt x="1058" y="849"/>
                  </a:lnTo>
                  <a:lnTo>
                    <a:pt x="1054" y="836"/>
                  </a:lnTo>
                  <a:lnTo>
                    <a:pt x="1050" y="822"/>
                  </a:lnTo>
                  <a:lnTo>
                    <a:pt x="1044" y="809"/>
                  </a:lnTo>
                  <a:lnTo>
                    <a:pt x="1037" y="797"/>
                  </a:lnTo>
                  <a:lnTo>
                    <a:pt x="1028" y="784"/>
                  </a:lnTo>
                  <a:lnTo>
                    <a:pt x="1019" y="772"/>
                  </a:lnTo>
                  <a:lnTo>
                    <a:pt x="1008" y="761"/>
                  </a:lnTo>
                  <a:lnTo>
                    <a:pt x="997" y="749"/>
                  </a:lnTo>
                  <a:lnTo>
                    <a:pt x="984" y="737"/>
                  </a:lnTo>
                  <a:lnTo>
                    <a:pt x="970" y="727"/>
                  </a:lnTo>
                  <a:lnTo>
                    <a:pt x="956" y="716"/>
                  </a:lnTo>
                  <a:lnTo>
                    <a:pt x="940" y="707"/>
                  </a:lnTo>
                  <a:lnTo>
                    <a:pt x="923" y="697"/>
                  </a:lnTo>
                  <a:lnTo>
                    <a:pt x="905" y="688"/>
                  </a:lnTo>
                  <a:lnTo>
                    <a:pt x="887" y="678"/>
                  </a:lnTo>
                  <a:lnTo>
                    <a:pt x="868" y="671"/>
                  </a:lnTo>
                  <a:lnTo>
                    <a:pt x="848" y="662"/>
                  </a:lnTo>
                  <a:lnTo>
                    <a:pt x="827" y="655"/>
                  </a:lnTo>
                  <a:lnTo>
                    <a:pt x="805" y="648"/>
                  </a:lnTo>
                  <a:lnTo>
                    <a:pt x="783" y="641"/>
                  </a:lnTo>
                  <a:lnTo>
                    <a:pt x="761" y="636"/>
                  </a:lnTo>
                  <a:lnTo>
                    <a:pt x="737" y="631"/>
                  </a:lnTo>
                  <a:lnTo>
                    <a:pt x="713" y="625"/>
                  </a:lnTo>
                  <a:lnTo>
                    <a:pt x="688" y="621"/>
                  </a:lnTo>
                  <a:lnTo>
                    <a:pt x="663" y="618"/>
                  </a:lnTo>
                  <a:lnTo>
                    <a:pt x="638" y="615"/>
                  </a:lnTo>
                  <a:lnTo>
                    <a:pt x="611" y="613"/>
                  </a:lnTo>
                  <a:lnTo>
                    <a:pt x="585" y="611"/>
                  </a:lnTo>
                  <a:lnTo>
                    <a:pt x="558" y="609"/>
                  </a:lnTo>
                  <a:lnTo>
                    <a:pt x="530" y="609"/>
                  </a:lnTo>
                  <a:lnTo>
                    <a:pt x="530" y="609"/>
                  </a:lnTo>
                  <a:lnTo>
                    <a:pt x="503" y="609"/>
                  </a:lnTo>
                  <a:lnTo>
                    <a:pt x="476" y="611"/>
                  </a:lnTo>
                  <a:lnTo>
                    <a:pt x="449" y="613"/>
                  </a:lnTo>
                  <a:lnTo>
                    <a:pt x="423" y="615"/>
                  </a:lnTo>
                  <a:lnTo>
                    <a:pt x="398" y="618"/>
                  </a:lnTo>
                  <a:lnTo>
                    <a:pt x="373" y="621"/>
                  </a:lnTo>
                  <a:lnTo>
                    <a:pt x="348" y="625"/>
                  </a:lnTo>
                  <a:lnTo>
                    <a:pt x="324" y="631"/>
                  </a:lnTo>
                  <a:lnTo>
                    <a:pt x="300" y="636"/>
                  </a:lnTo>
                  <a:lnTo>
                    <a:pt x="278" y="641"/>
                  </a:lnTo>
                  <a:lnTo>
                    <a:pt x="256" y="648"/>
                  </a:lnTo>
                  <a:lnTo>
                    <a:pt x="234" y="655"/>
                  </a:lnTo>
                  <a:lnTo>
                    <a:pt x="213" y="662"/>
                  </a:lnTo>
                  <a:lnTo>
                    <a:pt x="193" y="671"/>
                  </a:lnTo>
                  <a:lnTo>
                    <a:pt x="174" y="678"/>
                  </a:lnTo>
                  <a:lnTo>
                    <a:pt x="156" y="688"/>
                  </a:lnTo>
                  <a:lnTo>
                    <a:pt x="138" y="697"/>
                  </a:lnTo>
                  <a:lnTo>
                    <a:pt x="121" y="707"/>
                  </a:lnTo>
                  <a:lnTo>
                    <a:pt x="105" y="716"/>
                  </a:lnTo>
                  <a:lnTo>
                    <a:pt x="91" y="727"/>
                  </a:lnTo>
                  <a:lnTo>
                    <a:pt x="77" y="737"/>
                  </a:lnTo>
                  <a:lnTo>
                    <a:pt x="64" y="749"/>
                  </a:lnTo>
                  <a:lnTo>
                    <a:pt x="53" y="761"/>
                  </a:lnTo>
                  <a:lnTo>
                    <a:pt x="42" y="772"/>
                  </a:lnTo>
                  <a:lnTo>
                    <a:pt x="33" y="784"/>
                  </a:lnTo>
                  <a:lnTo>
                    <a:pt x="24" y="797"/>
                  </a:lnTo>
                  <a:lnTo>
                    <a:pt x="17" y="809"/>
                  </a:lnTo>
                  <a:lnTo>
                    <a:pt x="11" y="822"/>
                  </a:lnTo>
                  <a:lnTo>
                    <a:pt x="6" y="836"/>
                  </a:lnTo>
                  <a:lnTo>
                    <a:pt x="3" y="849"/>
                  </a:lnTo>
                  <a:lnTo>
                    <a:pt x="1" y="862"/>
                  </a:lnTo>
                  <a:lnTo>
                    <a:pt x="0" y="876"/>
                  </a:lnTo>
                  <a:lnTo>
                    <a:pt x="0" y="267"/>
                  </a:lnTo>
                  <a:lnTo>
                    <a:pt x="0" y="267"/>
                  </a:lnTo>
                  <a:lnTo>
                    <a:pt x="1" y="253"/>
                  </a:lnTo>
                  <a:lnTo>
                    <a:pt x="3" y="239"/>
                  </a:lnTo>
                  <a:lnTo>
                    <a:pt x="6" y="227"/>
                  </a:lnTo>
                  <a:lnTo>
                    <a:pt x="11" y="213"/>
                  </a:lnTo>
                  <a:lnTo>
                    <a:pt x="17" y="200"/>
                  </a:lnTo>
                  <a:lnTo>
                    <a:pt x="24" y="187"/>
                  </a:lnTo>
                  <a:lnTo>
                    <a:pt x="33" y="175"/>
                  </a:lnTo>
                  <a:lnTo>
                    <a:pt x="42" y="163"/>
                  </a:lnTo>
                  <a:lnTo>
                    <a:pt x="53" y="151"/>
                  </a:lnTo>
                  <a:lnTo>
                    <a:pt x="64" y="140"/>
                  </a:lnTo>
                  <a:lnTo>
                    <a:pt x="77" y="128"/>
                  </a:lnTo>
                  <a:lnTo>
                    <a:pt x="91" y="118"/>
                  </a:lnTo>
                  <a:lnTo>
                    <a:pt x="105" y="107"/>
                  </a:lnTo>
                  <a:lnTo>
                    <a:pt x="121" y="98"/>
                  </a:lnTo>
                  <a:lnTo>
                    <a:pt x="138" y="88"/>
                  </a:lnTo>
                  <a:lnTo>
                    <a:pt x="156" y="78"/>
                  </a:lnTo>
                  <a:lnTo>
                    <a:pt x="174" y="69"/>
                  </a:lnTo>
                  <a:lnTo>
                    <a:pt x="193" y="62"/>
                  </a:lnTo>
                  <a:lnTo>
                    <a:pt x="213" y="53"/>
                  </a:lnTo>
                  <a:lnTo>
                    <a:pt x="234" y="46"/>
                  </a:lnTo>
                  <a:lnTo>
                    <a:pt x="256" y="38"/>
                  </a:lnTo>
                  <a:lnTo>
                    <a:pt x="278" y="32"/>
                  </a:lnTo>
                  <a:lnTo>
                    <a:pt x="300" y="27"/>
                  </a:lnTo>
                  <a:lnTo>
                    <a:pt x="324" y="21"/>
                  </a:lnTo>
                  <a:lnTo>
                    <a:pt x="348" y="16"/>
                  </a:lnTo>
                  <a:lnTo>
                    <a:pt x="373" y="12"/>
                  </a:lnTo>
                  <a:lnTo>
                    <a:pt x="398" y="9"/>
                  </a:lnTo>
                  <a:lnTo>
                    <a:pt x="423" y="5"/>
                  </a:lnTo>
                  <a:lnTo>
                    <a:pt x="449" y="3"/>
                  </a:lnTo>
                  <a:lnTo>
                    <a:pt x="476" y="1"/>
                  </a:lnTo>
                  <a:lnTo>
                    <a:pt x="503" y="0"/>
                  </a:lnTo>
                  <a:lnTo>
                    <a:pt x="530" y="0"/>
                  </a:lnTo>
                  <a:lnTo>
                    <a:pt x="530" y="0"/>
                  </a:lnTo>
                  <a:lnTo>
                    <a:pt x="558" y="0"/>
                  </a:lnTo>
                  <a:lnTo>
                    <a:pt x="585" y="1"/>
                  </a:lnTo>
                  <a:lnTo>
                    <a:pt x="611" y="3"/>
                  </a:lnTo>
                  <a:lnTo>
                    <a:pt x="638" y="5"/>
                  </a:lnTo>
                  <a:lnTo>
                    <a:pt x="663" y="9"/>
                  </a:lnTo>
                  <a:lnTo>
                    <a:pt x="688" y="12"/>
                  </a:lnTo>
                  <a:lnTo>
                    <a:pt x="713" y="16"/>
                  </a:lnTo>
                  <a:lnTo>
                    <a:pt x="737" y="21"/>
                  </a:lnTo>
                  <a:lnTo>
                    <a:pt x="761" y="27"/>
                  </a:lnTo>
                  <a:lnTo>
                    <a:pt x="783" y="32"/>
                  </a:lnTo>
                  <a:lnTo>
                    <a:pt x="805" y="38"/>
                  </a:lnTo>
                  <a:lnTo>
                    <a:pt x="827" y="46"/>
                  </a:lnTo>
                  <a:lnTo>
                    <a:pt x="848" y="53"/>
                  </a:lnTo>
                  <a:lnTo>
                    <a:pt x="868" y="62"/>
                  </a:lnTo>
                  <a:lnTo>
                    <a:pt x="887" y="69"/>
                  </a:lnTo>
                  <a:lnTo>
                    <a:pt x="905" y="78"/>
                  </a:lnTo>
                  <a:lnTo>
                    <a:pt x="923" y="88"/>
                  </a:lnTo>
                  <a:lnTo>
                    <a:pt x="940" y="98"/>
                  </a:lnTo>
                  <a:lnTo>
                    <a:pt x="956" y="107"/>
                  </a:lnTo>
                  <a:lnTo>
                    <a:pt x="970" y="118"/>
                  </a:lnTo>
                  <a:lnTo>
                    <a:pt x="984" y="128"/>
                  </a:lnTo>
                  <a:lnTo>
                    <a:pt x="997" y="140"/>
                  </a:lnTo>
                  <a:lnTo>
                    <a:pt x="1008" y="151"/>
                  </a:lnTo>
                  <a:lnTo>
                    <a:pt x="1019" y="163"/>
                  </a:lnTo>
                  <a:lnTo>
                    <a:pt x="1028" y="175"/>
                  </a:lnTo>
                  <a:lnTo>
                    <a:pt x="1037" y="187"/>
                  </a:lnTo>
                  <a:lnTo>
                    <a:pt x="1044" y="200"/>
                  </a:lnTo>
                  <a:lnTo>
                    <a:pt x="1050" y="213"/>
                  </a:lnTo>
                  <a:lnTo>
                    <a:pt x="1054" y="227"/>
                  </a:lnTo>
                  <a:lnTo>
                    <a:pt x="1058" y="239"/>
                  </a:lnTo>
                  <a:lnTo>
                    <a:pt x="1060" y="253"/>
                  </a:lnTo>
                  <a:lnTo>
                    <a:pt x="1061" y="267"/>
                  </a:lnTo>
                  <a:lnTo>
                    <a:pt x="1061" y="876"/>
                  </a:lnTo>
                  <a:close/>
                </a:path>
              </a:pathLst>
            </a:custGeom>
            <a:solidFill>
              <a:srgbClr val="5F5F5F"/>
            </a:solidFill>
            <a:ln>
              <a:noFill/>
            </a:ln>
            <a:effectLst/>
            <a:extLst>
              <a:ext uri="{91240B29-F687-4F45-9708-019B960494DF}">
                <a14:hiddenLine xmlns:a14="http://schemas.microsoft.com/office/drawing/2010/main" w="8001">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8" name="Freeform 44"/>
            <p:cNvSpPr/>
            <p:nvPr/>
          </p:nvSpPr>
          <p:spPr bwMode="auto">
            <a:xfrm>
              <a:off x="4413" y="1787"/>
              <a:ext cx="704" cy="530"/>
            </a:xfrm>
            <a:custGeom>
              <a:avLst/>
              <a:gdLst>
                <a:gd name="T0" fmla="*/ 1212 w 1213"/>
                <a:gd name="T1" fmla="*/ 16 h 914"/>
                <a:gd name="T2" fmla="*/ 1200 w 1213"/>
                <a:gd name="T3" fmla="*/ 61 h 914"/>
                <a:gd name="T4" fmla="*/ 1176 w 1213"/>
                <a:gd name="T5" fmla="*/ 104 h 914"/>
                <a:gd name="T6" fmla="*/ 1139 w 1213"/>
                <a:gd name="T7" fmla="*/ 145 h 914"/>
                <a:gd name="T8" fmla="*/ 1093 w 1213"/>
                <a:gd name="T9" fmla="*/ 182 h 914"/>
                <a:gd name="T10" fmla="*/ 1035 w 1213"/>
                <a:gd name="T11" fmla="*/ 216 h 914"/>
                <a:gd name="T12" fmla="*/ 970 w 1213"/>
                <a:gd name="T13" fmla="*/ 244 h 914"/>
                <a:gd name="T14" fmla="*/ 896 w 1213"/>
                <a:gd name="T15" fmla="*/ 267 h 914"/>
                <a:gd name="T16" fmla="*/ 815 w 1213"/>
                <a:gd name="T17" fmla="*/ 286 h 914"/>
                <a:gd name="T18" fmla="*/ 729 w 1213"/>
                <a:gd name="T19" fmla="*/ 298 h 914"/>
                <a:gd name="T20" fmla="*/ 638 w 1213"/>
                <a:gd name="T21" fmla="*/ 304 h 914"/>
                <a:gd name="T22" fmla="*/ 575 w 1213"/>
                <a:gd name="T23" fmla="*/ 304 h 914"/>
                <a:gd name="T24" fmla="*/ 484 w 1213"/>
                <a:gd name="T25" fmla="*/ 298 h 914"/>
                <a:gd name="T26" fmla="*/ 398 w 1213"/>
                <a:gd name="T27" fmla="*/ 286 h 914"/>
                <a:gd name="T28" fmla="*/ 317 w 1213"/>
                <a:gd name="T29" fmla="*/ 267 h 914"/>
                <a:gd name="T30" fmla="*/ 243 w 1213"/>
                <a:gd name="T31" fmla="*/ 244 h 914"/>
                <a:gd name="T32" fmla="*/ 178 w 1213"/>
                <a:gd name="T33" fmla="*/ 216 h 914"/>
                <a:gd name="T34" fmla="*/ 120 w 1213"/>
                <a:gd name="T35" fmla="*/ 182 h 914"/>
                <a:gd name="T36" fmla="*/ 74 w 1213"/>
                <a:gd name="T37" fmla="*/ 145 h 914"/>
                <a:gd name="T38" fmla="*/ 37 w 1213"/>
                <a:gd name="T39" fmla="*/ 104 h 914"/>
                <a:gd name="T40" fmla="*/ 13 w 1213"/>
                <a:gd name="T41" fmla="*/ 61 h 914"/>
                <a:gd name="T42" fmla="*/ 1 w 1213"/>
                <a:gd name="T43" fmla="*/ 16 h 914"/>
                <a:gd name="T44" fmla="*/ 0 w 1213"/>
                <a:gd name="T45" fmla="*/ 609 h 914"/>
                <a:gd name="T46" fmla="*/ 8 w 1213"/>
                <a:gd name="T47" fmla="*/ 656 h 914"/>
                <a:gd name="T48" fmla="*/ 28 w 1213"/>
                <a:gd name="T49" fmla="*/ 700 h 914"/>
                <a:gd name="T50" fmla="*/ 60 w 1213"/>
                <a:gd name="T51" fmla="*/ 741 h 914"/>
                <a:gd name="T52" fmla="*/ 104 w 1213"/>
                <a:gd name="T53" fmla="*/ 779 h 914"/>
                <a:gd name="T54" fmla="*/ 158 w 1213"/>
                <a:gd name="T55" fmla="*/ 814 h 914"/>
                <a:gd name="T56" fmla="*/ 221 w 1213"/>
                <a:gd name="T57" fmla="*/ 844 h 914"/>
                <a:gd name="T58" fmla="*/ 292 w 1213"/>
                <a:gd name="T59" fmla="*/ 869 h 914"/>
                <a:gd name="T60" fmla="*/ 371 w 1213"/>
                <a:gd name="T61" fmla="*/ 889 h 914"/>
                <a:gd name="T62" fmla="*/ 455 w 1213"/>
                <a:gd name="T63" fmla="*/ 904 h 914"/>
                <a:gd name="T64" fmla="*/ 544 w 1213"/>
                <a:gd name="T65" fmla="*/ 913 h 914"/>
                <a:gd name="T66" fmla="*/ 606 w 1213"/>
                <a:gd name="T67" fmla="*/ 914 h 914"/>
                <a:gd name="T68" fmla="*/ 699 w 1213"/>
                <a:gd name="T69" fmla="*/ 911 h 914"/>
                <a:gd name="T70" fmla="*/ 786 w 1213"/>
                <a:gd name="T71" fmla="*/ 900 h 914"/>
                <a:gd name="T72" fmla="*/ 870 w 1213"/>
                <a:gd name="T73" fmla="*/ 884 h 914"/>
                <a:gd name="T74" fmla="*/ 945 w 1213"/>
                <a:gd name="T75" fmla="*/ 862 h 914"/>
                <a:gd name="T76" fmla="*/ 1014 w 1213"/>
                <a:gd name="T77" fmla="*/ 834 h 914"/>
                <a:gd name="T78" fmla="*/ 1074 w 1213"/>
                <a:gd name="T79" fmla="*/ 803 h 914"/>
                <a:gd name="T80" fmla="*/ 1125 w 1213"/>
                <a:gd name="T81" fmla="*/ 767 h 914"/>
                <a:gd name="T82" fmla="*/ 1165 w 1213"/>
                <a:gd name="T83" fmla="*/ 728 h 914"/>
                <a:gd name="T84" fmla="*/ 1194 w 1213"/>
                <a:gd name="T85" fmla="*/ 685 h 914"/>
                <a:gd name="T86" fmla="*/ 1209 w 1213"/>
                <a:gd name="T87" fmla="*/ 640 h 914"/>
                <a:gd name="T88" fmla="*/ 1213 w 1213"/>
                <a:gd name="T89" fmla="*/ 0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3" h="914">
                  <a:moveTo>
                    <a:pt x="1213" y="0"/>
                  </a:moveTo>
                  <a:lnTo>
                    <a:pt x="1213" y="0"/>
                  </a:lnTo>
                  <a:lnTo>
                    <a:pt x="1212" y="16"/>
                  </a:lnTo>
                  <a:lnTo>
                    <a:pt x="1209" y="30"/>
                  </a:lnTo>
                  <a:lnTo>
                    <a:pt x="1205" y="46"/>
                  </a:lnTo>
                  <a:lnTo>
                    <a:pt x="1200" y="61"/>
                  </a:lnTo>
                  <a:lnTo>
                    <a:pt x="1194" y="76"/>
                  </a:lnTo>
                  <a:lnTo>
                    <a:pt x="1185" y="91"/>
                  </a:lnTo>
                  <a:lnTo>
                    <a:pt x="1176" y="104"/>
                  </a:lnTo>
                  <a:lnTo>
                    <a:pt x="1165" y="118"/>
                  </a:lnTo>
                  <a:lnTo>
                    <a:pt x="1153" y="132"/>
                  </a:lnTo>
                  <a:lnTo>
                    <a:pt x="1139" y="145"/>
                  </a:lnTo>
                  <a:lnTo>
                    <a:pt x="1125" y="157"/>
                  </a:lnTo>
                  <a:lnTo>
                    <a:pt x="1109" y="170"/>
                  </a:lnTo>
                  <a:lnTo>
                    <a:pt x="1093" y="182"/>
                  </a:lnTo>
                  <a:lnTo>
                    <a:pt x="1074" y="193"/>
                  </a:lnTo>
                  <a:lnTo>
                    <a:pt x="1055" y="205"/>
                  </a:lnTo>
                  <a:lnTo>
                    <a:pt x="1035" y="216"/>
                  </a:lnTo>
                  <a:lnTo>
                    <a:pt x="1014" y="225"/>
                  </a:lnTo>
                  <a:lnTo>
                    <a:pt x="992" y="235"/>
                  </a:lnTo>
                  <a:lnTo>
                    <a:pt x="970" y="244"/>
                  </a:lnTo>
                  <a:lnTo>
                    <a:pt x="945" y="253"/>
                  </a:lnTo>
                  <a:lnTo>
                    <a:pt x="921" y="260"/>
                  </a:lnTo>
                  <a:lnTo>
                    <a:pt x="896" y="267"/>
                  </a:lnTo>
                  <a:lnTo>
                    <a:pt x="870" y="275"/>
                  </a:lnTo>
                  <a:lnTo>
                    <a:pt x="842" y="280"/>
                  </a:lnTo>
                  <a:lnTo>
                    <a:pt x="815" y="286"/>
                  </a:lnTo>
                  <a:lnTo>
                    <a:pt x="786" y="291"/>
                  </a:lnTo>
                  <a:lnTo>
                    <a:pt x="758" y="295"/>
                  </a:lnTo>
                  <a:lnTo>
                    <a:pt x="729" y="298"/>
                  </a:lnTo>
                  <a:lnTo>
                    <a:pt x="699" y="301"/>
                  </a:lnTo>
                  <a:lnTo>
                    <a:pt x="669" y="303"/>
                  </a:lnTo>
                  <a:lnTo>
                    <a:pt x="638" y="304"/>
                  </a:lnTo>
                  <a:lnTo>
                    <a:pt x="606" y="304"/>
                  </a:lnTo>
                  <a:lnTo>
                    <a:pt x="606" y="304"/>
                  </a:lnTo>
                  <a:lnTo>
                    <a:pt x="575" y="304"/>
                  </a:lnTo>
                  <a:lnTo>
                    <a:pt x="544" y="303"/>
                  </a:lnTo>
                  <a:lnTo>
                    <a:pt x="514" y="301"/>
                  </a:lnTo>
                  <a:lnTo>
                    <a:pt x="484" y="298"/>
                  </a:lnTo>
                  <a:lnTo>
                    <a:pt x="455" y="295"/>
                  </a:lnTo>
                  <a:lnTo>
                    <a:pt x="427" y="291"/>
                  </a:lnTo>
                  <a:lnTo>
                    <a:pt x="398" y="286"/>
                  </a:lnTo>
                  <a:lnTo>
                    <a:pt x="371" y="280"/>
                  </a:lnTo>
                  <a:lnTo>
                    <a:pt x="343" y="275"/>
                  </a:lnTo>
                  <a:lnTo>
                    <a:pt x="317" y="267"/>
                  </a:lnTo>
                  <a:lnTo>
                    <a:pt x="292" y="260"/>
                  </a:lnTo>
                  <a:lnTo>
                    <a:pt x="268" y="253"/>
                  </a:lnTo>
                  <a:lnTo>
                    <a:pt x="243" y="244"/>
                  </a:lnTo>
                  <a:lnTo>
                    <a:pt x="221" y="235"/>
                  </a:lnTo>
                  <a:lnTo>
                    <a:pt x="199" y="225"/>
                  </a:lnTo>
                  <a:lnTo>
                    <a:pt x="178" y="216"/>
                  </a:lnTo>
                  <a:lnTo>
                    <a:pt x="158" y="205"/>
                  </a:lnTo>
                  <a:lnTo>
                    <a:pt x="139" y="193"/>
                  </a:lnTo>
                  <a:lnTo>
                    <a:pt x="120" y="182"/>
                  </a:lnTo>
                  <a:lnTo>
                    <a:pt x="104" y="170"/>
                  </a:lnTo>
                  <a:lnTo>
                    <a:pt x="88" y="157"/>
                  </a:lnTo>
                  <a:lnTo>
                    <a:pt x="74" y="145"/>
                  </a:lnTo>
                  <a:lnTo>
                    <a:pt x="60" y="132"/>
                  </a:lnTo>
                  <a:lnTo>
                    <a:pt x="48" y="118"/>
                  </a:lnTo>
                  <a:lnTo>
                    <a:pt x="37" y="104"/>
                  </a:lnTo>
                  <a:lnTo>
                    <a:pt x="28" y="91"/>
                  </a:lnTo>
                  <a:lnTo>
                    <a:pt x="19" y="76"/>
                  </a:lnTo>
                  <a:lnTo>
                    <a:pt x="13" y="61"/>
                  </a:lnTo>
                  <a:lnTo>
                    <a:pt x="8" y="46"/>
                  </a:lnTo>
                  <a:lnTo>
                    <a:pt x="4" y="30"/>
                  </a:lnTo>
                  <a:lnTo>
                    <a:pt x="1" y="16"/>
                  </a:lnTo>
                  <a:lnTo>
                    <a:pt x="0" y="0"/>
                  </a:lnTo>
                  <a:lnTo>
                    <a:pt x="0" y="609"/>
                  </a:lnTo>
                  <a:lnTo>
                    <a:pt x="0" y="609"/>
                  </a:lnTo>
                  <a:lnTo>
                    <a:pt x="1" y="625"/>
                  </a:lnTo>
                  <a:lnTo>
                    <a:pt x="4" y="640"/>
                  </a:lnTo>
                  <a:lnTo>
                    <a:pt x="8" y="656"/>
                  </a:lnTo>
                  <a:lnTo>
                    <a:pt x="13" y="670"/>
                  </a:lnTo>
                  <a:lnTo>
                    <a:pt x="19" y="685"/>
                  </a:lnTo>
                  <a:lnTo>
                    <a:pt x="28" y="700"/>
                  </a:lnTo>
                  <a:lnTo>
                    <a:pt x="37" y="714"/>
                  </a:lnTo>
                  <a:lnTo>
                    <a:pt x="48" y="728"/>
                  </a:lnTo>
                  <a:lnTo>
                    <a:pt x="60" y="741"/>
                  </a:lnTo>
                  <a:lnTo>
                    <a:pt x="74" y="754"/>
                  </a:lnTo>
                  <a:lnTo>
                    <a:pt x="88" y="767"/>
                  </a:lnTo>
                  <a:lnTo>
                    <a:pt x="104" y="779"/>
                  </a:lnTo>
                  <a:lnTo>
                    <a:pt x="120" y="791"/>
                  </a:lnTo>
                  <a:lnTo>
                    <a:pt x="139" y="803"/>
                  </a:lnTo>
                  <a:lnTo>
                    <a:pt x="158" y="814"/>
                  </a:lnTo>
                  <a:lnTo>
                    <a:pt x="178" y="825"/>
                  </a:lnTo>
                  <a:lnTo>
                    <a:pt x="199" y="834"/>
                  </a:lnTo>
                  <a:lnTo>
                    <a:pt x="221" y="844"/>
                  </a:lnTo>
                  <a:lnTo>
                    <a:pt x="243" y="853"/>
                  </a:lnTo>
                  <a:lnTo>
                    <a:pt x="268" y="862"/>
                  </a:lnTo>
                  <a:lnTo>
                    <a:pt x="292" y="869"/>
                  </a:lnTo>
                  <a:lnTo>
                    <a:pt x="317" y="877"/>
                  </a:lnTo>
                  <a:lnTo>
                    <a:pt x="343" y="884"/>
                  </a:lnTo>
                  <a:lnTo>
                    <a:pt x="371" y="889"/>
                  </a:lnTo>
                  <a:lnTo>
                    <a:pt x="398" y="896"/>
                  </a:lnTo>
                  <a:lnTo>
                    <a:pt x="427" y="900"/>
                  </a:lnTo>
                  <a:lnTo>
                    <a:pt x="455" y="904"/>
                  </a:lnTo>
                  <a:lnTo>
                    <a:pt x="484" y="907"/>
                  </a:lnTo>
                  <a:lnTo>
                    <a:pt x="514" y="911"/>
                  </a:lnTo>
                  <a:lnTo>
                    <a:pt x="544" y="913"/>
                  </a:lnTo>
                  <a:lnTo>
                    <a:pt x="575" y="914"/>
                  </a:lnTo>
                  <a:lnTo>
                    <a:pt x="606" y="914"/>
                  </a:lnTo>
                  <a:lnTo>
                    <a:pt x="606" y="914"/>
                  </a:lnTo>
                  <a:lnTo>
                    <a:pt x="638" y="914"/>
                  </a:lnTo>
                  <a:lnTo>
                    <a:pt x="669" y="913"/>
                  </a:lnTo>
                  <a:lnTo>
                    <a:pt x="699" y="911"/>
                  </a:lnTo>
                  <a:lnTo>
                    <a:pt x="729" y="907"/>
                  </a:lnTo>
                  <a:lnTo>
                    <a:pt x="758" y="904"/>
                  </a:lnTo>
                  <a:lnTo>
                    <a:pt x="786" y="900"/>
                  </a:lnTo>
                  <a:lnTo>
                    <a:pt x="815" y="896"/>
                  </a:lnTo>
                  <a:lnTo>
                    <a:pt x="842" y="889"/>
                  </a:lnTo>
                  <a:lnTo>
                    <a:pt x="870" y="884"/>
                  </a:lnTo>
                  <a:lnTo>
                    <a:pt x="896" y="877"/>
                  </a:lnTo>
                  <a:lnTo>
                    <a:pt x="921" y="869"/>
                  </a:lnTo>
                  <a:lnTo>
                    <a:pt x="945" y="862"/>
                  </a:lnTo>
                  <a:lnTo>
                    <a:pt x="970" y="853"/>
                  </a:lnTo>
                  <a:lnTo>
                    <a:pt x="992" y="844"/>
                  </a:lnTo>
                  <a:lnTo>
                    <a:pt x="1014" y="834"/>
                  </a:lnTo>
                  <a:lnTo>
                    <a:pt x="1035" y="825"/>
                  </a:lnTo>
                  <a:lnTo>
                    <a:pt x="1055" y="814"/>
                  </a:lnTo>
                  <a:lnTo>
                    <a:pt x="1074" y="803"/>
                  </a:lnTo>
                  <a:lnTo>
                    <a:pt x="1093" y="791"/>
                  </a:lnTo>
                  <a:lnTo>
                    <a:pt x="1109" y="779"/>
                  </a:lnTo>
                  <a:lnTo>
                    <a:pt x="1125" y="767"/>
                  </a:lnTo>
                  <a:lnTo>
                    <a:pt x="1139" y="754"/>
                  </a:lnTo>
                  <a:lnTo>
                    <a:pt x="1153" y="741"/>
                  </a:lnTo>
                  <a:lnTo>
                    <a:pt x="1165" y="728"/>
                  </a:lnTo>
                  <a:lnTo>
                    <a:pt x="1176" y="714"/>
                  </a:lnTo>
                  <a:lnTo>
                    <a:pt x="1185" y="700"/>
                  </a:lnTo>
                  <a:lnTo>
                    <a:pt x="1194" y="685"/>
                  </a:lnTo>
                  <a:lnTo>
                    <a:pt x="1200" y="670"/>
                  </a:lnTo>
                  <a:lnTo>
                    <a:pt x="1205" y="656"/>
                  </a:lnTo>
                  <a:lnTo>
                    <a:pt x="1209" y="640"/>
                  </a:lnTo>
                  <a:lnTo>
                    <a:pt x="1212" y="625"/>
                  </a:lnTo>
                  <a:lnTo>
                    <a:pt x="1213" y="609"/>
                  </a:lnTo>
                  <a:lnTo>
                    <a:pt x="1213" y="0"/>
                  </a:lnTo>
                  <a:close/>
                </a:path>
              </a:pathLst>
            </a:custGeom>
            <a:gradFill rotWithShape="1">
              <a:gsLst>
                <a:gs pos="0">
                  <a:srgbClr val="969696"/>
                </a:gs>
                <a:gs pos="50000">
                  <a:srgbClr val="969696">
                    <a:gamma/>
                    <a:tint val="60784"/>
                    <a:invGamma/>
                  </a:srgbClr>
                </a:gs>
                <a:gs pos="100000">
                  <a:srgbClr val="969696"/>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9" name="Freeform 45"/>
            <p:cNvSpPr>
              <a:spLocks noEditPoints="1"/>
            </p:cNvSpPr>
            <p:nvPr/>
          </p:nvSpPr>
          <p:spPr bwMode="auto">
            <a:xfrm>
              <a:off x="4413" y="1610"/>
              <a:ext cx="704" cy="353"/>
            </a:xfrm>
            <a:custGeom>
              <a:avLst/>
              <a:gdLst>
                <a:gd name="T0" fmla="*/ 514 w 1213"/>
                <a:gd name="T1" fmla="*/ 3 h 609"/>
                <a:gd name="T2" fmla="*/ 371 w 1213"/>
                <a:gd name="T3" fmla="*/ 24 h 609"/>
                <a:gd name="T4" fmla="*/ 243 w 1213"/>
                <a:gd name="T5" fmla="*/ 60 h 609"/>
                <a:gd name="T6" fmla="*/ 139 w 1213"/>
                <a:gd name="T7" fmla="*/ 111 h 609"/>
                <a:gd name="T8" fmla="*/ 60 w 1213"/>
                <a:gd name="T9" fmla="*/ 173 h 609"/>
                <a:gd name="T10" fmla="*/ 13 w 1213"/>
                <a:gd name="T11" fmla="*/ 243 h 609"/>
                <a:gd name="T12" fmla="*/ 0 w 1213"/>
                <a:gd name="T13" fmla="*/ 305 h 609"/>
                <a:gd name="T14" fmla="*/ 19 w 1213"/>
                <a:gd name="T15" fmla="*/ 381 h 609"/>
                <a:gd name="T16" fmla="*/ 74 w 1213"/>
                <a:gd name="T17" fmla="*/ 450 h 609"/>
                <a:gd name="T18" fmla="*/ 158 w 1213"/>
                <a:gd name="T19" fmla="*/ 510 h 609"/>
                <a:gd name="T20" fmla="*/ 268 w 1213"/>
                <a:gd name="T21" fmla="*/ 558 h 609"/>
                <a:gd name="T22" fmla="*/ 398 w 1213"/>
                <a:gd name="T23" fmla="*/ 591 h 609"/>
                <a:gd name="T24" fmla="*/ 544 w 1213"/>
                <a:gd name="T25" fmla="*/ 608 h 609"/>
                <a:gd name="T26" fmla="*/ 669 w 1213"/>
                <a:gd name="T27" fmla="*/ 608 h 609"/>
                <a:gd name="T28" fmla="*/ 815 w 1213"/>
                <a:gd name="T29" fmla="*/ 591 h 609"/>
                <a:gd name="T30" fmla="*/ 945 w 1213"/>
                <a:gd name="T31" fmla="*/ 558 h 609"/>
                <a:gd name="T32" fmla="*/ 1055 w 1213"/>
                <a:gd name="T33" fmla="*/ 510 h 609"/>
                <a:gd name="T34" fmla="*/ 1139 w 1213"/>
                <a:gd name="T35" fmla="*/ 450 h 609"/>
                <a:gd name="T36" fmla="*/ 1194 w 1213"/>
                <a:gd name="T37" fmla="*/ 381 h 609"/>
                <a:gd name="T38" fmla="*/ 1213 w 1213"/>
                <a:gd name="T39" fmla="*/ 305 h 609"/>
                <a:gd name="T40" fmla="*/ 1200 w 1213"/>
                <a:gd name="T41" fmla="*/ 243 h 609"/>
                <a:gd name="T42" fmla="*/ 1153 w 1213"/>
                <a:gd name="T43" fmla="*/ 173 h 609"/>
                <a:gd name="T44" fmla="*/ 1074 w 1213"/>
                <a:gd name="T45" fmla="*/ 111 h 609"/>
                <a:gd name="T46" fmla="*/ 970 w 1213"/>
                <a:gd name="T47" fmla="*/ 60 h 609"/>
                <a:gd name="T48" fmla="*/ 842 w 1213"/>
                <a:gd name="T49" fmla="*/ 24 h 609"/>
                <a:gd name="T50" fmla="*/ 699 w 1213"/>
                <a:gd name="T51" fmla="*/ 3 h 609"/>
                <a:gd name="T52" fmla="*/ 606 w 1213"/>
                <a:gd name="T53" fmla="*/ 571 h 609"/>
                <a:gd name="T54" fmla="*/ 499 w 1213"/>
                <a:gd name="T55" fmla="*/ 566 h 609"/>
                <a:gd name="T56" fmla="*/ 376 w 1213"/>
                <a:gd name="T57" fmla="*/ 545 h 609"/>
                <a:gd name="T58" fmla="*/ 269 w 1213"/>
                <a:gd name="T59" fmla="*/ 510 h 609"/>
                <a:gd name="T60" fmla="*/ 181 w 1213"/>
                <a:gd name="T61" fmla="*/ 464 h 609"/>
                <a:gd name="T62" fmla="*/ 118 w 1213"/>
                <a:gd name="T63" fmla="*/ 408 h 609"/>
                <a:gd name="T64" fmla="*/ 82 w 1213"/>
                <a:gd name="T65" fmla="*/ 345 h 609"/>
                <a:gd name="T66" fmla="*/ 77 w 1213"/>
                <a:gd name="T67" fmla="*/ 291 h 609"/>
                <a:gd name="T68" fmla="*/ 100 w 1213"/>
                <a:gd name="T69" fmla="*/ 225 h 609"/>
                <a:gd name="T70" fmla="*/ 153 w 1213"/>
                <a:gd name="T71" fmla="*/ 166 h 609"/>
                <a:gd name="T72" fmla="*/ 232 w 1213"/>
                <a:gd name="T73" fmla="*/ 116 h 609"/>
                <a:gd name="T74" fmla="*/ 332 w 1213"/>
                <a:gd name="T75" fmla="*/ 76 h 609"/>
                <a:gd name="T76" fmla="*/ 449 w 1213"/>
                <a:gd name="T77" fmla="*/ 50 h 609"/>
                <a:gd name="T78" fmla="*/ 579 w 1213"/>
                <a:gd name="T79" fmla="*/ 38 h 609"/>
                <a:gd name="T80" fmla="*/ 687 w 1213"/>
                <a:gd name="T81" fmla="*/ 41 h 609"/>
                <a:gd name="T82" fmla="*/ 813 w 1213"/>
                <a:gd name="T83" fmla="*/ 59 h 609"/>
                <a:gd name="T84" fmla="*/ 924 w 1213"/>
                <a:gd name="T85" fmla="*/ 91 h 609"/>
                <a:gd name="T86" fmla="*/ 1016 w 1213"/>
                <a:gd name="T87" fmla="*/ 136 h 609"/>
                <a:gd name="T88" fmla="*/ 1084 w 1213"/>
                <a:gd name="T89" fmla="*/ 189 h 609"/>
                <a:gd name="T90" fmla="*/ 1126 w 1213"/>
                <a:gd name="T91" fmla="*/ 251 h 609"/>
                <a:gd name="T92" fmla="*/ 1137 w 1213"/>
                <a:gd name="T93" fmla="*/ 305 h 609"/>
                <a:gd name="T94" fmla="*/ 1120 w 1213"/>
                <a:gd name="T95" fmla="*/ 371 h 609"/>
                <a:gd name="T96" fmla="*/ 1073 w 1213"/>
                <a:gd name="T97" fmla="*/ 432 h 609"/>
                <a:gd name="T98" fmla="*/ 999 w 1213"/>
                <a:gd name="T99" fmla="*/ 484 h 609"/>
                <a:gd name="T100" fmla="*/ 903 w 1213"/>
                <a:gd name="T101" fmla="*/ 526 h 609"/>
                <a:gd name="T102" fmla="*/ 789 w 1213"/>
                <a:gd name="T103" fmla="*/ 555 h 609"/>
                <a:gd name="T104" fmla="*/ 661 w 1213"/>
                <a:gd name="T105" fmla="*/ 57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3" h="609">
                  <a:moveTo>
                    <a:pt x="606" y="0"/>
                  </a:moveTo>
                  <a:lnTo>
                    <a:pt x="606" y="0"/>
                  </a:lnTo>
                  <a:lnTo>
                    <a:pt x="575" y="0"/>
                  </a:lnTo>
                  <a:lnTo>
                    <a:pt x="544" y="1"/>
                  </a:lnTo>
                  <a:lnTo>
                    <a:pt x="514" y="3"/>
                  </a:lnTo>
                  <a:lnTo>
                    <a:pt x="484" y="6"/>
                  </a:lnTo>
                  <a:lnTo>
                    <a:pt x="455" y="10"/>
                  </a:lnTo>
                  <a:lnTo>
                    <a:pt x="427" y="14"/>
                  </a:lnTo>
                  <a:lnTo>
                    <a:pt x="398" y="18"/>
                  </a:lnTo>
                  <a:lnTo>
                    <a:pt x="371" y="24"/>
                  </a:lnTo>
                  <a:lnTo>
                    <a:pt x="343" y="30"/>
                  </a:lnTo>
                  <a:lnTo>
                    <a:pt x="317" y="37"/>
                  </a:lnTo>
                  <a:lnTo>
                    <a:pt x="292" y="45"/>
                  </a:lnTo>
                  <a:lnTo>
                    <a:pt x="268" y="52"/>
                  </a:lnTo>
                  <a:lnTo>
                    <a:pt x="243" y="60"/>
                  </a:lnTo>
                  <a:lnTo>
                    <a:pt x="221" y="70"/>
                  </a:lnTo>
                  <a:lnTo>
                    <a:pt x="199" y="79"/>
                  </a:lnTo>
                  <a:lnTo>
                    <a:pt x="178" y="89"/>
                  </a:lnTo>
                  <a:lnTo>
                    <a:pt x="158" y="100"/>
                  </a:lnTo>
                  <a:lnTo>
                    <a:pt x="139" y="111"/>
                  </a:lnTo>
                  <a:lnTo>
                    <a:pt x="120" y="123"/>
                  </a:lnTo>
                  <a:lnTo>
                    <a:pt x="104" y="134"/>
                  </a:lnTo>
                  <a:lnTo>
                    <a:pt x="88" y="147"/>
                  </a:lnTo>
                  <a:lnTo>
                    <a:pt x="74" y="160"/>
                  </a:lnTo>
                  <a:lnTo>
                    <a:pt x="60" y="173"/>
                  </a:lnTo>
                  <a:lnTo>
                    <a:pt x="48" y="186"/>
                  </a:lnTo>
                  <a:lnTo>
                    <a:pt x="37" y="200"/>
                  </a:lnTo>
                  <a:lnTo>
                    <a:pt x="28" y="214"/>
                  </a:lnTo>
                  <a:lnTo>
                    <a:pt x="19" y="229"/>
                  </a:lnTo>
                  <a:lnTo>
                    <a:pt x="13" y="243"/>
                  </a:lnTo>
                  <a:lnTo>
                    <a:pt x="8" y="258"/>
                  </a:lnTo>
                  <a:lnTo>
                    <a:pt x="4" y="274"/>
                  </a:lnTo>
                  <a:lnTo>
                    <a:pt x="1" y="289"/>
                  </a:lnTo>
                  <a:lnTo>
                    <a:pt x="0" y="305"/>
                  </a:lnTo>
                  <a:lnTo>
                    <a:pt x="0" y="305"/>
                  </a:lnTo>
                  <a:lnTo>
                    <a:pt x="1" y="321"/>
                  </a:lnTo>
                  <a:lnTo>
                    <a:pt x="4" y="335"/>
                  </a:lnTo>
                  <a:lnTo>
                    <a:pt x="8" y="351"/>
                  </a:lnTo>
                  <a:lnTo>
                    <a:pt x="13" y="366"/>
                  </a:lnTo>
                  <a:lnTo>
                    <a:pt x="19" y="381"/>
                  </a:lnTo>
                  <a:lnTo>
                    <a:pt x="28" y="396"/>
                  </a:lnTo>
                  <a:lnTo>
                    <a:pt x="37" y="409"/>
                  </a:lnTo>
                  <a:lnTo>
                    <a:pt x="48" y="423"/>
                  </a:lnTo>
                  <a:lnTo>
                    <a:pt x="60" y="437"/>
                  </a:lnTo>
                  <a:lnTo>
                    <a:pt x="74" y="450"/>
                  </a:lnTo>
                  <a:lnTo>
                    <a:pt x="88" y="462"/>
                  </a:lnTo>
                  <a:lnTo>
                    <a:pt x="104" y="475"/>
                  </a:lnTo>
                  <a:lnTo>
                    <a:pt x="120" y="487"/>
                  </a:lnTo>
                  <a:lnTo>
                    <a:pt x="139" y="498"/>
                  </a:lnTo>
                  <a:lnTo>
                    <a:pt x="158" y="510"/>
                  </a:lnTo>
                  <a:lnTo>
                    <a:pt x="178" y="521"/>
                  </a:lnTo>
                  <a:lnTo>
                    <a:pt x="199" y="530"/>
                  </a:lnTo>
                  <a:lnTo>
                    <a:pt x="221" y="540"/>
                  </a:lnTo>
                  <a:lnTo>
                    <a:pt x="243" y="549"/>
                  </a:lnTo>
                  <a:lnTo>
                    <a:pt x="268" y="558"/>
                  </a:lnTo>
                  <a:lnTo>
                    <a:pt x="292" y="565"/>
                  </a:lnTo>
                  <a:lnTo>
                    <a:pt x="317" y="572"/>
                  </a:lnTo>
                  <a:lnTo>
                    <a:pt x="343" y="580"/>
                  </a:lnTo>
                  <a:lnTo>
                    <a:pt x="371" y="585"/>
                  </a:lnTo>
                  <a:lnTo>
                    <a:pt x="398" y="591"/>
                  </a:lnTo>
                  <a:lnTo>
                    <a:pt x="427" y="596"/>
                  </a:lnTo>
                  <a:lnTo>
                    <a:pt x="455" y="600"/>
                  </a:lnTo>
                  <a:lnTo>
                    <a:pt x="484" y="603"/>
                  </a:lnTo>
                  <a:lnTo>
                    <a:pt x="514" y="606"/>
                  </a:lnTo>
                  <a:lnTo>
                    <a:pt x="544" y="608"/>
                  </a:lnTo>
                  <a:lnTo>
                    <a:pt x="575" y="609"/>
                  </a:lnTo>
                  <a:lnTo>
                    <a:pt x="606" y="609"/>
                  </a:lnTo>
                  <a:lnTo>
                    <a:pt x="606" y="609"/>
                  </a:lnTo>
                  <a:lnTo>
                    <a:pt x="638" y="609"/>
                  </a:lnTo>
                  <a:lnTo>
                    <a:pt x="669" y="608"/>
                  </a:lnTo>
                  <a:lnTo>
                    <a:pt x="699" y="606"/>
                  </a:lnTo>
                  <a:lnTo>
                    <a:pt x="729" y="603"/>
                  </a:lnTo>
                  <a:lnTo>
                    <a:pt x="758" y="600"/>
                  </a:lnTo>
                  <a:lnTo>
                    <a:pt x="786" y="596"/>
                  </a:lnTo>
                  <a:lnTo>
                    <a:pt x="815" y="591"/>
                  </a:lnTo>
                  <a:lnTo>
                    <a:pt x="842" y="585"/>
                  </a:lnTo>
                  <a:lnTo>
                    <a:pt x="870" y="580"/>
                  </a:lnTo>
                  <a:lnTo>
                    <a:pt x="896" y="572"/>
                  </a:lnTo>
                  <a:lnTo>
                    <a:pt x="921" y="565"/>
                  </a:lnTo>
                  <a:lnTo>
                    <a:pt x="945" y="558"/>
                  </a:lnTo>
                  <a:lnTo>
                    <a:pt x="970" y="549"/>
                  </a:lnTo>
                  <a:lnTo>
                    <a:pt x="992" y="540"/>
                  </a:lnTo>
                  <a:lnTo>
                    <a:pt x="1014" y="530"/>
                  </a:lnTo>
                  <a:lnTo>
                    <a:pt x="1035" y="521"/>
                  </a:lnTo>
                  <a:lnTo>
                    <a:pt x="1055" y="510"/>
                  </a:lnTo>
                  <a:lnTo>
                    <a:pt x="1074" y="498"/>
                  </a:lnTo>
                  <a:lnTo>
                    <a:pt x="1093" y="487"/>
                  </a:lnTo>
                  <a:lnTo>
                    <a:pt x="1109" y="475"/>
                  </a:lnTo>
                  <a:lnTo>
                    <a:pt x="1125" y="462"/>
                  </a:lnTo>
                  <a:lnTo>
                    <a:pt x="1139" y="450"/>
                  </a:lnTo>
                  <a:lnTo>
                    <a:pt x="1153" y="437"/>
                  </a:lnTo>
                  <a:lnTo>
                    <a:pt x="1165" y="423"/>
                  </a:lnTo>
                  <a:lnTo>
                    <a:pt x="1176" y="409"/>
                  </a:lnTo>
                  <a:lnTo>
                    <a:pt x="1185" y="396"/>
                  </a:lnTo>
                  <a:lnTo>
                    <a:pt x="1194" y="381"/>
                  </a:lnTo>
                  <a:lnTo>
                    <a:pt x="1200" y="366"/>
                  </a:lnTo>
                  <a:lnTo>
                    <a:pt x="1205" y="351"/>
                  </a:lnTo>
                  <a:lnTo>
                    <a:pt x="1209" y="335"/>
                  </a:lnTo>
                  <a:lnTo>
                    <a:pt x="1212" y="321"/>
                  </a:lnTo>
                  <a:lnTo>
                    <a:pt x="1213" y="305"/>
                  </a:lnTo>
                  <a:lnTo>
                    <a:pt x="1213" y="305"/>
                  </a:lnTo>
                  <a:lnTo>
                    <a:pt x="1212" y="289"/>
                  </a:lnTo>
                  <a:lnTo>
                    <a:pt x="1209" y="274"/>
                  </a:lnTo>
                  <a:lnTo>
                    <a:pt x="1205" y="258"/>
                  </a:lnTo>
                  <a:lnTo>
                    <a:pt x="1200" y="243"/>
                  </a:lnTo>
                  <a:lnTo>
                    <a:pt x="1194" y="229"/>
                  </a:lnTo>
                  <a:lnTo>
                    <a:pt x="1185" y="214"/>
                  </a:lnTo>
                  <a:lnTo>
                    <a:pt x="1176" y="200"/>
                  </a:lnTo>
                  <a:lnTo>
                    <a:pt x="1165" y="186"/>
                  </a:lnTo>
                  <a:lnTo>
                    <a:pt x="1153" y="173"/>
                  </a:lnTo>
                  <a:lnTo>
                    <a:pt x="1139" y="160"/>
                  </a:lnTo>
                  <a:lnTo>
                    <a:pt x="1125" y="147"/>
                  </a:lnTo>
                  <a:lnTo>
                    <a:pt x="1109" y="134"/>
                  </a:lnTo>
                  <a:lnTo>
                    <a:pt x="1093" y="123"/>
                  </a:lnTo>
                  <a:lnTo>
                    <a:pt x="1074" y="111"/>
                  </a:lnTo>
                  <a:lnTo>
                    <a:pt x="1055" y="100"/>
                  </a:lnTo>
                  <a:lnTo>
                    <a:pt x="1035" y="89"/>
                  </a:lnTo>
                  <a:lnTo>
                    <a:pt x="1014" y="79"/>
                  </a:lnTo>
                  <a:lnTo>
                    <a:pt x="992" y="70"/>
                  </a:lnTo>
                  <a:lnTo>
                    <a:pt x="970" y="60"/>
                  </a:lnTo>
                  <a:lnTo>
                    <a:pt x="945" y="52"/>
                  </a:lnTo>
                  <a:lnTo>
                    <a:pt x="921" y="45"/>
                  </a:lnTo>
                  <a:lnTo>
                    <a:pt x="896" y="37"/>
                  </a:lnTo>
                  <a:lnTo>
                    <a:pt x="870" y="30"/>
                  </a:lnTo>
                  <a:lnTo>
                    <a:pt x="842" y="24"/>
                  </a:lnTo>
                  <a:lnTo>
                    <a:pt x="815" y="18"/>
                  </a:lnTo>
                  <a:lnTo>
                    <a:pt x="786" y="14"/>
                  </a:lnTo>
                  <a:lnTo>
                    <a:pt x="758" y="10"/>
                  </a:lnTo>
                  <a:lnTo>
                    <a:pt x="729" y="6"/>
                  </a:lnTo>
                  <a:lnTo>
                    <a:pt x="699" y="3"/>
                  </a:lnTo>
                  <a:lnTo>
                    <a:pt x="669" y="1"/>
                  </a:lnTo>
                  <a:lnTo>
                    <a:pt x="638" y="0"/>
                  </a:lnTo>
                  <a:lnTo>
                    <a:pt x="606" y="0"/>
                  </a:lnTo>
                  <a:lnTo>
                    <a:pt x="606" y="0"/>
                  </a:lnTo>
                  <a:close/>
                  <a:moveTo>
                    <a:pt x="606" y="571"/>
                  </a:moveTo>
                  <a:lnTo>
                    <a:pt x="606" y="571"/>
                  </a:lnTo>
                  <a:lnTo>
                    <a:pt x="579" y="571"/>
                  </a:lnTo>
                  <a:lnTo>
                    <a:pt x="552" y="570"/>
                  </a:lnTo>
                  <a:lnTo>
                    <a:pt x="525" y="568"/>
                  </a:lnTo>
                  <a:lnTo>
                    <a:pt x="499" y="566"/>
                  </a:lnTo>
                  <a:lnTo>
                    <a:pt x="474" y="563"/>
                  </a:lnTo>
                  <a:lnTo>
                    <a:pt x="449" y="560"/>
                  </a:lnTo>
                  <a:lnTo>
                    <a:pt x="424" y="555"/>
                  </a:lnTo>
                  <a:lnTo>
                    <a:pt x="400" y="550"/>
                  </a:lnTo>
                  <a:lnTo>
                    <a:pt x="376" y="545"/>
                  </a:lnTo>
                  <a:lnTo>
                    <a:pt x="354" y="540"/>
                  </a:lnTo>
                  <a:lnTo>
                    <a:pt x="332" y="533"/>
                  </a:lnTo>
                  <a:lnTo>
                    <a:pt x="310" y="526"/>
                  </a:lnTo>
                  <a:lnTo>
                    <a:pt x="289" y="518"/>
                  </a:lnTo>
                  <a:lnTo>
                    <a:pt x="269" y="510"/>
                  </a:lnTo>
                  <a:lnTo>
                    <a:pt x="250" y="503"/>
                  </a:lnTo>
                  <a:lnTo>
                    <a:pt x="232" y="493"/>
                  </a:lnTo>
                  <a:lnTo>
                    <a:pt x="214" y="484"/>
                  </a:lnTo>
                  <a:lnTo>
                    <a:pt x="197" y="474"/>
                  </a:lnTo>
                  <a:lnTo>
                    <a:pt x="181" y="464"/>
                  </a:lnTo>
                  <a:lnTo>
                    <a:pt x="167" y="454"/>
                  </a:lnTo>
                  <a:lnTo>
                    <a:pt x="153" y="443"/>
                  </a:lnTo>
                  <a:lnTo>
                    <a:pt x="140" y="432"/>
                  </a:lnTo>
                  <a:lnTo>
                    <a:pt x="129" y="420"/>
                  </a:lnTo>
                  <a:lnTo>
                    <a:pt x="118" y="408"/>
                  </a:lnTo>
                  <a:lnTo>
                    <a:pt x="109" y="397"/>
                  </a:lnTo>
                  <a:lnTo>
                    <a:pt x="100" y="384"/>
                  </a:lnTo>
                  <a:lnTo>
                    <a:pt x="93" y="371"/>
                  </a:lnTo>
                  <a:lnTo>
                    <a:pt x="87" y="359"/>
                  </a:lnTo>
                  <a:lnTo>
                    <a:pt x="82" y="345"/>
                  </a:lnTo>
                  <a:lnTo>
                    <a:pt x="79" y="332"/>
                  </a:lnTo>
                  <a:lnTo>
                    <a:pt x="77" y="319"/>
                  </a:lnTo>
                  <a:lnTo>
                    <a:pt x="76" y="305"/>
                  </a:lnTo>
                  <a:lnTo>
                    <a:pt x="76" y="305"/>
                  </a:lnTo>
                  <a:lnTo>
                    <a:pt x="77" y="291"/>
                  </a:lnTo>
                  <a:lnTo>
                    <a:pt x="79" y="277"/>
                  </a:lnTo>
                  <a:lnTo>
                    <a:pt x="82" y="265"/>
                  </a:lnTo>
                  <a:lnTo>
                    <a:pt x="87" y="251"/>
                  </a:lnTo>
                  <a:lnTo>
                    <a:pt x="93" y="238"/>
                  </a:lnTo>
                  <a:lnTo>
                    <a:pt x="100" y="225"/>
                  </a:lnTo>
                  <a:lnTo>
                    <a:pt x="109" y="213"/>
                  </a:lnTo>
                  <a:lnTo>
                    <a:pt x="118" y="201"/>
                  </a:lnTo>
                  <a:lnTo>
                    <a:pt x="129" y="189"/>
                  </a:lnTo>
                  <a:lnTo>
                    <a:pt x="140" y="178"/>
                  </a:lnTo>
                  <a:lnTo>
                    <a:pt x="153" y="166"/>
                  </a:lnTo>
                  <a:lnTo>
                    <a:pt x="167" y="156"/>
                  </a:lnTo>
                  <a:lnTo>
                    <a:pt x="181" y="145"/>
                  </a:lnTo>
                  <a:lnTo>
                    <a:pt x="197" y="136"/>
                  </a:lnTo>
                  <a:lnTo>
                    <a:pt x="214" y="126"/>
                  </a:lnTo>
                  <a:lnTo>
                    <a:pt x="232" y="116"/>
                  </a:lnTo>
                  <a:lnTo>
                    <a:pt x="250" y="107"/>
                  </a:lnTo>
                  <a:lnTo>
                    <a:pt x="269" y="100"/>
                  </a:lnTo>
                  <a:lnTo>
                    <a:pt x="289" y="91"/>
                  </a:lnTo>
                  <a:lnTo>
                    <a:pt x="310" y="84"/>
                  </a:lnTo>
                  <a:lnTo>
                    <a:pt x="332" y="76"/>
                  </a:lnTo>
                  <a:lnTo>
                    <a:pt x="354" y="70"/>
                  </a:lnTo>
                  <a:lnTo>
                    <a:pt x="376" y="65"/>
                  </a:lnTo>
                  <a:lnTo>
                    <a:pt x="400" y="59"/>
                  </a:lnTo>
                  <a:lnTo>
                    <a:pt x="424" y="54"/>
                  </a:lnTo>
                  <a:lnTo>
                    <a:pt x="449" y="50"/>
                  </a:lnTo>
                  <a:lnTo>
                    <a:pt x="474" y="47"/>
                  </a:lnTo>
                  <a:lnTo>
                    <a:pt x="499" y="43"/>
                  </a:lnTo>
                  <a:lnTo>
                    <a:pt x="525" y="41"/>
                  </a:lnTo>
                  <a:lnTo>
                    <a:pt x="552" y="39"/>
                  </a:lnTo>
                  <a:lnTo>
                    <a:pt x="579" y="38"/>
                  </a:lnTo>
                  <a:lnTo>
                    <a:pt x="606" y="38"/>
                  </a:lnTo>
                  <a:lnTo>
                    <a:pt x="606" y="38"/>
                  </a:lnTo>
                  <a:lnTo>
                    <a:pt x="634" y="38"/>
                  </a:lnTo>
                  <a:lnTo>
                    <a:pt x="661" y="39"/>
                  </a:lnTo>
                  <a:lnTo>
                    <a:pt x="687" y="41"/>
                  </a:lnTo>
                  <a:lnTo>
                    <a:pt x="714" y="43"/>
                  </a:lnTo>
                  <a:lnTo>
                    <a:pt x="739" y="47"/>
                  </a:lnTo>
                  <a:lnTo>
                    <a:pt x="764" y="50"/>
                  </a:lnTo>
                  <a:lnTo>
                    <a:pt x="789" y="54"/>
                  </a:lnTo>
                  <a:lnTo>
                    <a:pt x="813" y="59"/>
                  </a:lnTo>
                  <a:lnTo>
                    <a:pt x="837" y="65"/>
                  </a:lnTo>
                  <a:lnTo>
                    <a:pt x="859" y="70"/>
                  </a:lnTo>
                  <a:lnTo>
                    <a:pt x="881" y="76"/>
                  </a:lnTo>
                  <a:lnTo>
                    <a:pt x="903" y="84"/>
                  </a:lnTo>
                  <a:lnTo>
                    <a:pt x="924" y="91"/>
                  </a:lnTo>
                  <a:lnTo>
                    <a:pt x="944" y="100"/>
                  </a:lnTo>
                  <a:lnTo>
                    <a:pt x="963" y="107"/>
                  </a:lnTo>
                  <a:lnTo>
                    <a:pt x="981" y="116"/>
                  </a:lnTo>
                  <a:lnTo>
                    <a:pt x="999" y="126"/>
                  </a:lnTo>
                  <a:lnTo>
                    <a:pt x="1016" y="136"/>
                  </a:lnTo>
                  <a:lnTo>
                    <a:pt x="1032" y="145"/>
                  </a:lnTo>
                  <a:lnTo>
                    <a:pt x="1046" y="156"/>
                  </a:lnTo>
                  <a:lnTo>
                    <a:pt x="1060" y="166"/>
                  </a:lnTo>
                  <a:lnTo>
                    <a:pt x="1073" y="178"/>
                  </a:lnTo>
                  <a:lnTo>
                    <a:pt x="1084" y="189"/>
                  </a:lnTo>
                  <a:lnTo>
                    <a:pt x="1095" y="201"/>
                  </a:lnTo>
                  <a:lnTo>
                    <a:pt x="1104" y="213"/>
                  </a:lnTo>
                  <a:lnTo>
                    <a:pt x="1113" y="225"/>
                  </a:lnTo>
                  <a:lnTo>
                    <a:pt x="1120" y="238"/>
                  </a:lnTo>
                  <a:lnTo>
                    <a:pt x="1126" y="251"/>
                  </a:lnTo>
                  <a:lnTo>
                    <a:pt x="1130" y="265"/>
                  </a:lnTo>
                  <a:lnTo>
                    <a:pt x="1134" y="277"/>
                  </a:lnTo>
                  <a:lnTo>
                    <a:pt x="1136" y="291"/>
                  </a:lnTo>
                  <a:lnTo>
                    <a:pt x="1137" y="305"/>
                  </a:lnTo>
                  <a:lnTo>
                    <a:pt x="1137" y="305"/>
                  </a:lnTo>
                  <a:lnTo>
                    <a:pt x="1136" y="319"/>
                  </a:lnTo>
                  <a:lnTo>
                    <a:pt x="1134" y="332"/>
                  </a:lnTo>
                  <a:lnTo>
                    <a:pt x="1130" y="345"/>
                  </a:lnTo>
                  <a:lnTo>
                    <a:pt x="1126" y="359"/>
                  </a:lnTo>
                  <a:lnTo>
                    <a:pt x="1120" y="371"/>
                  </a:lnTo>
                  <a:lnTo>
                    <a:pt x="1113" y="384"/>
                  </a:lnTo>
                  <a:lnTo>
                    <a:pt x="1104" y="397"/>
                  </a:lnTo>
                  <a:lnTo>
                    <a:pt x="1095" y="408"/>
                  </a:lnTo>
                  <a:lnTo>
                    <a:pt x="1084" y="420"/>
                  </a:lnTo>
                  <a:lnTo>
                    <a:pt x="1073" y="432"/>
                  </a:lnTo>
                  <a:lnTo>
                    <a:pt x="1060" y="443"/>
                  </a:lnTo>
                  <a:lnTo>
                    <a:pt x="1046" y="454"/>
                  </a:lnTo>
                  <a:lnTo>
                    <a:pt x="1032" y="464"/>
                  </a:lnTo>
                  <a:lnTo>
                    <a:pt x="1016" y="474"/>
                  </a:lnTo>
                  <a:lnTo>
                    <a:pt x="999" y="484"/>
                  </a:lnTo>
                  <a:lnTo>
                    <a:pt x="981" y="493"/>
                  </a:lnTo>
                  <a:lnTo>
                    <a:pt x="963" y="503"/>
                  </a:lnTo>
                  <a:lnTo>
                    <a:pt x="944" y="510"/>
                  </a:lnTo>
                  <a:lnTo>
                    <a:pt x="924" y="518"/>
                  </a:lnTo>
                  <a:lnTo>
                    <a:pt x="903" y="526"/>
                  </a:lnTo>
                  <a:lnTo>
                    <a:pt x="881" y="533"/>
                  </a:lnTo>
                  <a:lnTo>
                    <a:pt x="859" y="540"/>
                  </a:lnTo>
                  <a:lnTo>
                    <a:pt x="837" y="545"/>
                  </a:lnTo>
                  <a:lnTo>
                    <a:pt x="813" y="550"/>
                  </a:lnTo>
                  <a:lnTo>
                    <a:pt x="789" y="555"/>
                  </a:lnTo>
                  <a:lnTo>
                    <a:pt x="764" y="560"/>
                  </a:lnTo>
                  <a:lnTo>
                    <a:pt x="739" y="563"/>
                  </a:lnTo>
                  <a:lnTo>
                    <a:pt x="714" y="566"/>
                  </a:lnTo>
                  <a:lnTo>
                    <a:pt x="687" y="568"/>
                  </a:lnTo>
                  <a:lnTo>
                    <a:pt x="661" y="570"/>
                  </a:lnTo>
                  <a:lnTo>
                    <a:pt x="634" y="571"/>
                  </a:lnTo>
                  <a:lnTo>
                    <a:pt x="606" y="571"/>
                  </a:lnTo>
                  <a:lnTo>
                    <a:pt x="606" y="571"/>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7" name="Group 46"/>
          <p:cNvGrpSpPr/>
          <p:nvPr/>
        </p:nvGrpSpPr>
        <p:grpSpPr bwMode="auto">
          <a:xfrm>
            <a:off x="5111750" y="2171973"/>
            <a:ext cx="407988" cy="614363"/>
            <a:chOff x="5294" y="1478"/>
            <a:chExt cx="528" cy="795"/>
          </a:xfrm>
        </p:grpSpPr>
        <p:sp>
          <p:nvSpPr>
            <p:cNvPr id="12" name="Line 47"/>
            <p:cNvSpPr>
              <a:spLocks noChangeShapeType="1"/>
            </p:cNvSpPr>
            <p:nvPr/>
          </p:nvSpPr>
          <p:spPr bwMode="auto">
            <a:xfrm>
              <a:off x="5294" y="161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3" name="Line 48"/>
            <p:cNvSpPr>
              <a:spLocks noChangeShapeType="1"/>
            </p:cNvSpPr>
            <p:nvPr/>
          </p:nvSpPr>
          <p:spPr bwMode="auto">
            <a:xfrm>
              <a:off x="5294" y="1610"/>
              <a:ext cx="0" cy="0"/>
            </a:xfrm>
            <a:prstGeom prst="line">
              <a:avLst/>
            </a:prstGeom>
            <a:noFill/>
            <a:ln w="1588">
              <a:solidFill>
                <a:srgbClr val="000000"/>
              </a:solidFill>
              <a:round/>
            </a:ln>
            <a:extLst>
              <a:ext uri="{909E8E84-426E-40DD-AFC4-6F175D3DCCD1}">
                <a14:hiddenFill xmlns:a14="http://schemas.microsoft.com/office/drawing/2010/main">
                  <a:noFill/>
                </a14:hiddenFill>
              </a:ext>
            </a:extLst>
          </p:spPr>
          <p:txBody>
            <a:bodyPr/>
            <a:lstStyle/>
            <a:p>
              <a:endParaRPr lang="zh-CN" altLang="en-US"/>
            </a:p>
          </p:txBody>
        </p:sp>
        <p:sp>
          <p:nvSpPr>
            <p:cNvPr id="14" name="Freeform 49"/>
            <p:cNvSpPr/>
            <p:nvPr/>
          </p:nvSpPr>
          <p:spPr bwMode="auto">
            <a:xfrm>
              <a:off x="5338" y="1498"/>
              <a:ext cx="440" cy="642"/>
            </a:xfrm>
            <a:custGeom>
              <a:avLst/>
              <a:gdLst>
                <a:gd name="T0" fmla="*/ 758 w 758"/>
                <a:gd name="T1" fmla="*/ 190 h 1104"/>
                <a:gd name="T2" fmla="*/ 756 w 758"/>
                <a:gd name="T3" fmla="*/ 171 h 1104"/>
                <a:gd name="T4" fmla="*/ 751 w 758"/>
                <a:gd name="T5" fmla="*/ 152 h 1104"/>
                <a:gd name="T6" fmla="*/ 741 w 758"/>
                <a:gd name="T7" fmla="*/ 133 h 1104"/>
                <a:gd name="T8" fmla="*/ 729 w 758"/>
                <a:gd name="T9" fmla="*/ 116 h 1104"/>
                <a:gd name="T10" fmla="*/ 713 w 758"/>
                <a:gd name="T11" fmla="*/ 99 h 1104"/>
                <a:gd name="T12" fmla="*/ 694 w 758"/>
                <a:gd name="T13" fmla="*/ 83 h 1104"/>
                <a:gd name="T14" fmla="*/ 648 w 758"/>
                <a:gd name="T15" fmla="*/ 56 h 1104"/>
                <a:gd name="T16" fmla="*/ 591 w 758"/>
                <a:gd name="T17" fmla="*/ 32 h 1104"/>
                <a:gd name="T18" fmla="*/ 527 w 758"/>
                <a:gd name="T19" fmla="*/ 14 h 1104"/>
                <a:gd name="T20" fmla="*/ 456 w 758"/>
                <a:gd name="T21" fmla="*/ 4 h 1104"/>
                <a:gd name="T22" fmla="*/ 379 w 758"/>
                <a:gd name="T23" fmla="*/ 0 h 1104"/>
                <a:gd name="T24" fmla="*/ 340 w 758"/>
                <a:gd name="T25" fmla="*/ 1 h 1104"/>
                <a:gd name="T26" fmla="*/ 267 w 758"/>
                <a:gd name="T27" fmla="*/ 8 h 1104"/>
                <a:gd name="T28" fmla="*/ 198 w 758"/>
                <a:gd name="T29" fmla="*/ 23 h 1104"/>
                <a:gd name="T30" fmla="*/ 138 w 758"/>
                <a:gd name="T31" fmla="*/ 43 h 1104"/>
                <a:gd name="T32" fmla="*/ 87 w 758"/>
                <a:gd name="T33" fmla="*/ 70 h 1104"/>
                <a:gd name="T34" fmla="*/ 55 w 758"/>
                <a:gd name="T35" fmla="*/ 92 h 1104"/>
                <a:gd name="T36" fmla="*/ 38 w 758"/>
                <a:gd name="T37" fmla="*/ 108 h 1104"/>
                <a:gd name="T38" fmla="*/ 24 w 758"/>
                <a:gd name="T39" fmla="*/ 125 h 1104"/>
                <a:gd name="T40" fmla="*/ 12 w 758"/>
                <a:gd name="T41" fmla="*/ 142 h 1104"/>
                <a:gd name="T42" fmla="*/ 5 w 758"/>
                <a:gd name="T43" fmla="*/ 162 h 1104"/>
                <a:gd name="T44" fmla="*/ 0 w 758"/>
                <a:gd name="T45" fmla="*/ 181 h 1104"/>
                <a:gd name="T46" fmla="*/ 0 w 758"/>
                <a:gd name="T47" fmla="*/ 1104 h 1104"/>
                <a:gd name="T48" fmla="*/ 0 w 758"/>
                <a:gd name="T49" fmla="*/ 1095 h 1104"/>
                <a:gd name="T50" fmla="*/ 5 w 758"/>
                <a:gd name="T51" fmla="*/ 1076 h 1104"/>
                <a:gd name="T52" fmla="*/ 12 w 758"/>
                <a:gd name="T53" fmla="*/ 1056 h 1104"/>
                <a:gd name="T54" fmla="*/ 24 w 758"/>
                <a:gd name="T55" fmla="*/ 1038 h 1104"/>
                <a:gd name="T56" fmla="*/ 38 w 758"/>
                <a:gd name="T57" fmla="*/ 1022 h 1104"/>
                <a:gd name="T58" fmla="*/ 55 w 758"/>
                <a:gd name="T59" fmla="*/ 1006 h 1104"/>
                <a:gd name="T60" fmla="*/ 87 w 758"/>
                <a:gd name="T61" fmla="*/ 983 h 1104"/>
                <a:gd name="T62" fmla="*/ 138 w 758"/>
                <a:gd name="T63" fmla="*/ 957 h 1104"/>
                <a:gd name="T64" fmla="*/ 198 w 758"/>
                <a:gd name="T65" fmla="*/ 937 h 1104"/>
                <a:gd name="T66" fmla="*/ 267 w 758"/>
                <a:gd name="T67" fmla="*/ 922 h 1104"/>
                <a:gd name="T68" fmla="*/ 340 w 758"/>
                <a:gd name="T69" fmla="*/ 915 h 1104"/>
                <a:gd name="T70" fmla="*/ 379 w 758"/>
                <a:gd name="T71" fmla="*/ 914 h 1104"/>
                <a:gd name="T72" fmla="*/ 456 w 758"/>
                <a:gd name="T73" fmla="*/ 918 h 1104"/>
                <a:gd name="T74" fmla="*/ 527 w 758"/>
                <a:gd name="T75" fmla="*/ 928 h 1104"/>
                <a:gd name="T76" fmla="*/ 591 w 758"/>
                <a:gd name="T77" fmla="*/ 946 h 1104"/>
                <a:gd name="T78" fmla="*/ 648 w 758"/>
                <a:gd name="T79" fmla="*/ 970 h 1104"/>
                <a:gd name="T80" fmla="*/ 694 w 758"/>
                <a:gd name="T81" fmla="*/ 997 h 1104"/>
                <a:gd name="T82" fmla="*/ 713 w 758"/>
                <a:gd name="T83" fmla="*/ 1013 h 1104"/>
                <a:gd name="T84" fmla="*/ 729 w 758"/>
                <a:gd name="T85" fmla="*/ 1030 h 1104"/>
                <a:gd name="T86" fmla="*/ 741 w 758"/>
                <a:gd name="T87" fmla="*/ 1047 h 1104"/>
                <a:gd name="T88" fmla="*/ 751 w 758"/>
                <a:gd name="T89" fmla="*/ 1066 h 1104"/>
                <a:gd name="T90" fmla="*/ 756 w 758"/>
                <a:gd name="T91" fmla="*/ 1085 h 1104"/>
                <a:gd name="T92" fmla="*/ 758 w 758"/>
                <a:gd name="T93" fmla="*/ 110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8" h="1104">
                  <a:moveTo>
                    <a:pt x="758" y="190"/>
                  </a:moveTo>
                  <a:lnTo>
                    <a:pt x="758" y="190"/>
                  </a:lnTo>
                  <a:lnTo>
                    <a:pt x="758" y="181"/>
                  </a:lnTo>
                  <a:lnTo>
                    <a:pt x="756" y="171"/>
                  </a:lnTo>
                  <a:lnTo>
                    <a:pt x="754" y="162"/>
                  </a:lnTo>
                  <a:lnTo>
                    <a:pt x="751" y="152"/>
                  </a:lnTo>
                  <a:lnTo>
                    <a:pt x="746" y="142"/>
                  </a:lnTo>
                  <a:lnTo>
                    <a:pt x="741" y="133"/>
                  </a:lnTo>
                  <a:lnTo>
                    <a:pt x="735" y="125"/>
                  </a:lnTo>
                  <a:lnTo>
                    <a:pt x="729" y="116"/>
                  </a:lnTo>
                  <a:lnTo>
                    <a:pt x="720" y="108"/>
                  </a:lnTo>
                  <a:lnTo>
                    <a:pt x="713" y="99"/>
                  </a:lnTo>
                  <a:lnTo>
                    <a:pt x="703" y="92"/>
                  </a:lnTo>
                  <a:lnTo>
                    <a:pt x="694" y="83"/>
                  </a:lnTo>
                  <a:lnTo>
                    <a:pt x="672" y="70"/>
                  </a:lnTo>
                  <a:lnTo>
                    <a:pt x="648" y="56"/>
                  </a:lnTo>
                  <a:lnTo>
                    <a:pt x="620" y="43"/>
                  </a:lnTo>
                  <a:lnTo>
                    <a:pt x="591" y="32"/>
                  </a:lnTo>
                  <a:lnTo>
                    <a:pt x="560" y="23"/>
                  </a:lnTo>
                  <a:lnTo>
                    <a:pt x="527" y="14"/>
                  </a:lnTo>
                  <a:lnTo>
                    <a:pt x="492" y="8"/>
                  </a:lnTo>
                  <a:lnTo>
                    <a:pt x="456" y="4"/>
                  </a:lnTo>
                  <a:lnTo>
                    <a:pt x="418" y="1"/>
                  </a:lnTo>
                  <a:lnTo>
                    <a:pt x="379" y="0"/>
                  </a:lnTo>
                  <a:lnTo>
                    <a:pt x="379" y="0"/>
                  </a:lnTo>
                  <a:lnTo>
                    <a:pt x="340" y="1"/>
                  </a:lnTo>
                  <a:lnTo>
                    <a:pt x="302" y="4"/>
                  </a:lnTo>
                  <a:lnTo>
                    <a:pt x="267" y="8"/>
                  </a:lnTo>
                  <a:lnTo>
                    <a:pt x="232" y="14"/>
                  </a:lnTo>
                  <a:lnTo>
                    <a:pt x="198" y="23"/>
                  </a:lnTo>
                  <a:lnTo>
                    <a:pt x="168" y="32"/>
                  </a:lnTo>
                  <a:lnTo>
                    <a:pt x="138" y="43"/>
                  </a:lnTo>
                  <a:lnTo>
                    <a:pt x="111" y="56"/>
                  </a:lnTo>
                  <a:lnTo>
                    <a:pt x="87" y="70"/>
                  </a:lnTo>
                  <a:lnTo>
                    <a:pt x="65" y="83"/>
                  </a:lnTo>
                  <a:lnTo>
                    <a:pt x="55" y="92"/>
                  </a:lnTo>
                  <a:lnTo>
                    <a:pt x="46" y="99"/>
                  </a:lnTo>
                  <a:lnTo>
                    <a:pt x="38" y="108"/>
                  </a:lnTo>
                  <a:lnTo>
                    <a:pt x="30" y="116"/>
                  </a:lnTo>
                  <a:lnTo>
                    <a:pt x="24" y="125"/>
                  </a:lnTo>
                  <a:lnTo>
                    <a:pt x="17" y="133"/>
                  </a:lnTo>
                  <a:lnTo>
                    <a:pt x="12" y="142"/>
                  </a:lnTo>
                  <a:lnTo>
                    <a:pt x="8" y="152"/>
                  </a:lnTo>
                  <a:lnTo>
                    <a:pt x="5" y="162"/>
                  </a:lnTo>
                  <a:lnTo>
                    <a:pt x="2" y="171"/>
                  </a:lnTo>
                  <a:lnTo>
                    <a:pt x="0" y="181"/>
                  </a:lnTo>
                  <a:lnTo>
                    <a:pt x="0" y="190"/>
                  </a:lnTo>
                  <a:lnTo>
                    <a:pt x="0" y="1104"/>
                  </a:lnTo>
                  <a:lnTo>
                    <a:pt x="0" y="1104"/>
                  </a:lnTo>
                  <a:lnTo>
                    <a:pt x="0" y="1095"/>
                  </a:lnTo>
                  <a:lnTo>
                    <a:pt x="2" y="1085"/>
                  </a:lnTo>
                  <a:lnTo>
                    <a:pt x="5" y="1076"/>
                  </a:lnTo>
                  <a:lnTo>
                    <a:pt x="8" y="1066"/>
                  </a:lnTo>
                  <a:lnTo>
                    <a:pt x="12" y="1056"/>
                  </a:lnTo>
                  <a:lnTo>
                    <a:pt x="17" y="1047"/>
                  </a:lnTo>
                  <a:lnTo>
                    <a:pt x="24" y="1038"/>
                  </a:lnTo>
                  <a:lnTo>
                    <a:pt x="30" y="1030"/>
                  </a:lnTo>
                  <a:lnTo>
                    <a:pt x="38" y="1022"/>
                  </a:lnTo>
                  <a:lnTo>
                    <a:pt x="46" y="1013"/>
                  </a:lnTo>
                  <a:lnTo>
                    <a:pt x="55" y="1006"/>
                  </a:lnTo>
                  <a:lnTo>
                    <a:pt x="65" y="997"/>
                  </a:lnTo>
                  <a:lnTo>
                    <a:pt x="87" y="983"/>
                  </a:lnTo>
                  <a:lnTo>
                    <a:pt x="111" y="970"/>
                  </a:lnTo>
                  <a:lnTo>
                    <a:pt x="138" y="957"/>
                  </a:lnTo>
                  <a:lnTo>
                    <a:pt x="168" y="946"/>
                  </a:lnTo>
                  <a:lnTo>
                    <a:pt x="198" y="937"/>
                  </a:lnTo>
                  <a:lnTo>
                    <a:pt x="232" y="928"/>
                  </a:lnTo>
                  <a:lnTo>
                    <a:pt x="267" y="922"/>
                  </a:lnTo>
                  <a:lnTo>
                    <a:pt x="302" y="918"/>
                  </a:lnTo>
                  <a:lnTo>
                    <a:pt x="340" y="915"/>
                  </a:lnTo>
                  <a:lnTo>
                    <a:pt x="379" y="914"/>
                  </a:lnTo>
                  <a:lnTo>
                    <a:pt x="379" y="914"/>
                  </a:lnTo>
                  <a:lnTo>
                    <a:pt x="418" y="915"/>
                  </a:lnTo>
                  <a:lnTo>
                    <a:pt x="456" y="918"/>
                  </a:lnTo>
                  <a:lnTo>
                    <a:pt x="492" y="922"/>
                  </a:lnTo>
                  <a:lnTo>
                    <a:pt x="527" y="928"/>
                  </a:lnTo>
                  <a:lnTo>
                    <a:pt x="560" y="937"/>
                  </a:lnTo>
                  <a:lnTo>
                    <a:pt x="591" y="946"/>
                  </a:lnTo>
                  <a:lnTo>
                    <a:pt x="620" y="957"/>
                  </a:lnTo>
                  <a:lnTo>
                    <a:pt x="648" y="970"/>
                  </a:lnTo>
                  <a:lnTo>
                    <a:pt x="672" y="983"/>
                  </a:lnTo>
                  <a:lnTo>
                    <a:pt x="694" y="997"/>
                  </a:lnTo>
                  <a:lnTo>
                    <a:pt x="703" y="1006"/>
                  </a:lnTo>
                  <a:lnTo>
                    <a:pt x="713" y="1013"/>
                  </a:lnTo>
                  <a:lnTo>
                    <a:pt x="720" y="1022"/>
                  </a:lnTo>
                  <a:lnTo>
                    <a:pt x="729" y="1030"/>
                  </a:lnTo>
                  <a:lnTo>
                    <a:pt x="735" y="1038"/>
                  </a:lnTo>
                  <a:lnTo>
                    <a:pt x="741" y="1047"/>
                  </a:lnTo>
                  <a:lnTo>
                    <a:pt x="746" y="1056"/>
                  </a:lnTo>
                  <a:lnTo>
                    <a:pt x="751" y="1066"/>
                  </a:lnTo>
                  <a:lnTo>
                    <a:pt x="754" y="1076"/>
                  </a:lnTo>
                  <a:lnTo>
                    <a:pt x="756" y="1085"/>
                  </a:lnTo>
                  <a:lnTo>
                    <a:pt x="758" y="1095"/>
                  </a:lnTo>
                  <a:lnTo>
                    <a:pt x="758" y="1104"/>
                  </a:lnTo>
                  <a:lnTo>
                    <a:pt x="758" y="190"/>
                  </a:lnTo>
                  <a:close/>
                </a:path>
              </a:pathLst>
            </a:custGeom>
            <a:solidFill>
              <a:schemeClr val="tx2">
                <a:lumMod val="75000"/>
              </a:schemeClr>
            </a:solidFill>
            <a:ln>
              <a:noFill/>
            </a:ln>
            <a:effectLst/>
            <a:extLst>
              <a:ext uri="{91240B29-F687-4F45-9708-019B960494DF}">
                <a14:hiddenLine xmlns:a14="http://schemas.microsoft.com/office/drawing/2010/main" w="8001">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5" name="Freeform 50"/>
            <p:cNvSpPr/>
            <p:nvPr/>
          </p:nvSpPr>
          <p:spPr bwMode="auto">
            <a:xfrm>
              <a:off x="5294" y="1610"/>
              <a:ext cx="528" cy="663"/>
            </a:xfrm>
            <a:custGeom>
              <a:avLst/>
              <a:gdLst>
                <a:gd name="T0" fmla="*/ 909 w 909"/>
                <a:gd name="T1" fmla="*/ 0 h 1143"/>
                <a:gd name="T2" fmla="*/ 907 w 909"/>
                <a:gd name="T3" fmla="*/ 23 h 1143"/>
                <a:gd name="T4" fmla="*/ 899 w 909"/>
                <a:gd name="T5" fmla="*/ 47 h 1143"/>
                <a:gd name="T6" fmla="*/ 889 w 909"/>
                <a:gd name="T7" fmla="*/ 68 h 1143"/>
                <a:gd name="T8" fmla="*/ 873 w 909"/>
                <a:gd name="T9" fmla="*/ 89 h 1143"/>
                <a:gd name="T10" fmla="*/ 854 w 909"/>
                <a:gd name="T11" fmla="*/ 109 h 1143"/>
                <a:gd name="T12" fmla="*/ 831 w 909"/>
                <a:gd name="T13" fmla="*/ 128 h 1143"/>
                <a:gd name="T14" fmla="*/ 805 w 909"/>
                <a:gd name="T15" fmla="*/ 145 h 1143"/>
                <a:gd name="T16" fmla="*/ 775 w 909"/>
                <a:gd name="T17" fmla="*/ 162 h 1143"/>
                <a:gd name="T18" fmla="*/ 744 w 909"/>
                <a:gd name="T19" fmla="*/ 177 h 1143"/>
                <a:gd name="T20" fmla="*/ 671 w 909"/>
                <a:gd name="T21" fmla="*/ 201 h 1143"/>
                <a:gd name="T22" fmla="*/ 589 w 909"/>
                <a:gd name="T23" fmla="*/ 218 h 1143"/>
                <a:gd name="T24" fmla="*/ 500 w 909"/>
                <a:gd name="T25" fmla="*/ 228 h 1143"/>
                <a:gd name="T26" fmla="*/ 454 w 909"/>
                <a:gd name="T27" fmla="*/ 229 h 1143"/>
                <a:gd name="T28" fmla="*/ 363 w 909"/>
                <a:gd name="T29" fmla="*/ 224 h 1143"/>
                <a:gd name="T30" fmla="*/ 277 w 909"/>
                <a:gd name="T31" fmla="*/ 211 h 1143"/>
                <a:gd name="T32" fmla="*/ 200 w 909"/>
                <a:gd name="T33" fmla="*/ 189 h 1143"/>
                <a:gd name="T34" fmla="*/ 149 w 909"/>
                <a:gd name="T35" fmla="*/ 169 h 1143"/>
                <a:gd name="T36" fmla="*/ 117 w 909"/>
                <a:gd name="T37" fmla="*/ 153 h 1143"/>
                <a:gd name="T38" fmla="*/ 90 w 909"/>
                <a:gd name="T39" fmla="*/ 137 h 1143"/>
                <a:gd name="T40" fmla="*/ 66 w 909"/>
                <a:gd name="T41" fmla="*/ 119 h 1143"/>
                <a:gd name="T42" fmla="*/ 45 w 909"/>
                <a:gd name="T43" fmla="*/ 100 h 1143"/>
                <a:gd name="T44" fmla="*/ 27 w 909"/>
                <a:gd name="T45" fmla="*/ 78 h 1143"/>
                <a:gd name="T46" fmla="*/ 14 w 909"/>
                <a:gd name="T47" fmla="*/ 57 h 1143"/>
                <a:gd name="T48" fmla="*/ 5 w 909"/>
                <a:gd name="T49" fmla="*/ 35 h 1143"/>
                <a:gd name="T50" fmla="*/ 1 w 909"/>
                <a:gd name="T51" fmla="*/ 12 h 1143"/>
                <a:gd name="T52" fmla="*/ 0 w 909"/>
                <a:gd name="T53" fmla="*/ 914 h 1143"/>
                <a:gd name="T54" fmla="*/ 1 w 909"/>
                <a:gd name="T55" fmla="*/ 926 h 1143"/>
                <a:gd name="T56" fmla="*/ 5 w 909"/>
                <a:gd name="T57" fmla="*/ 949 h 1143"/>
                <a:gd name="T58" fmla="*/ 14 w 909"/>
                <a:gd name="T59" fmla="*/ 971 h 1143"/>
                <a:gd name="T60" fmla="*/ 27 w 909"/>
                <a:gd name="T61" fmla="*/ 992 h 1143"/>
                <a:gd name="T62" fmla="*/ 45 w 909"/>
                <a:gd name="T63" fmla="*/ 1014 h 1143"/>
                <a:gd name="T64" fmla="*/ 66 w 909"/>
                <a:gd name="T65" fmla="*/ 1033 h 1143"/>
                <a:gd name="T66" fmla="*/ 90 w 909"/>
                <a:gd name="T67" fmla="*/ 1051 h 1143"/>
                <a:gd name="T68" fmla="*/ 117 w 909"/>
                <a:gd name="T69" fmla="*/ 1067 h 1143"/>
                <a:gd name="T70" fmla="*/ 149 w 909"/>
                <a:gd name="T71" fmla="*/ 1083 h 1143"/>
                <a:gd name="T72" fmla="*/ 200 w 909"/>
                <a:gd name="T73" fmla="*/ 1103 h 1143"/>
                <a:gd name="T74" fmla="*/ 277 w 909"/>
                <a:gd name="T75" fmla="*/ 1125 h 1143"/>
                <a:gd name="T76" fmla="*/ 363 w 909"/>
                <a:gd name="T77" fmla="*/ 1138 h 1143"/>
                <a:gd name="T78" fmla="*/ 454 w 909"/>
                <a:gd name="T79" fmla="*/ 1143 h 1143"/>
                <a:gd name="T80" fmla="*/ 500 w 909"/>
                <a:gd name="T81" fmla="*/ 1141 h 1143"/>
                <a:gd name="T82" fmla="*/ 589 w 909"/>
                <a:gd name="T83" fmla="*/ 1132 h 1143"/>
                <a:gd name="T84" fmla="*/ 671 w 909"/>
                <a:gd name="T85" fmla="*/ 1115 h 1143"/>
                <a:gd name="T86" fmla="*/ 744 w 909"/>
                <a:gd name="T87" fmla="*/ 1091 h 1143"/>
                <a:gd name="T88" fmla="*/ 775 w 909"/>
                <a:gd name="T89" fmla="*/ 1076 h 1143"/>
                <a:gd name="T90" fmla="*/ 805 w 909"/>
                <a:gd name="T91" fmla="*/ 1059 h 1143"/>
                <a:gd name="T92" fmla="*/ 831 w 909"/>
                <a:gd name="T93" fmla="*/ 1042 h 1143"/>
                <a:gd name="T94" fmla="*/ 854 w 909"/>
                <a:gd name="T95" fmla="*/ 1023 h 1143"/>
                <a:gd name="T96" fmla="*/ 873 w 909"/>
                <a:gd name="T97" fmla="*/ 1003 h 1143"/>
                <a:gd name="T98" fmla="*/ 889 w 909"/>
                <a:gd name="T99" fmla="*/ 982 h 1143"/>
                <a:gd name="T100" fmla="*/ 899 w 909"/>
                <a:gd name="T101" fmla="*/ 961 h 1143"/>
                <a:gd name="T102" fmla="*/ 907 w 909"/>
                <a:gd name="T103" fmla="*/ 937 h 1143"/>
                <a:gd name="T104" fmla="*/ 909 w 909"/>
                <a:gd name="T105" fmla="*/ 914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9" h="1143">
                  <a:moveTo>
                    <a:pt x="909" y="0"/>
                  </a:moveTo>
                  <a:lnTo>
                    <a:pt x="909" y="0"/>
                  </a:lnTo>
                  <a:lnTo>
                    <a:pt x="908" y="12"/>
                  </a:lnTo>
                  <a:lnTo>
                    <a:pt x="907" y="23"/>
                  </a:lnTo>
                  <a:lnTo>
                    <a:pt x="903" y="35"/>
                  </a:lnTo>
                  <a:lnTo>
                    <a:pt x="899" y="47"/>
                  </a:lnTo>
                  <a:lnTo>
                    <a:pt x="894" y="57"/>
                  </a:lnTo>
                  <a:lnTo>
                    <a:pt x="889" y="68"/>
                  </a:lnTo>
                  <a:lnTo>
                    <a:pt x="881" y="78"/>
                  </a:lnTo>
                  <a:lnTo>
                    <a:pt x="873" y="89"/>
                  </a:lnTo>
                  <a:lnTo>
                    <a:pt x="864" y="100"/>
                  </a:lnTo>
                  <a:lnTo>
                    <a:pt x="854" y="109"/>
                  </a:lnTo>
                  <a:lnTo>
                    <a:pt x="842" y="119"/>
                  </a:lnTo>
                  <a:lnTo>
                    <a:pt x="831" y="128"/>
                  </a:lnTo>
                  <a:lnTo>
                    <a:pt x="818" y="137"/>
                  </a:lnTo>
                  <a:lnTo>
                    <a:pt x="805" y="145"/>
                  </a:lnTo>
                  <a:lnTo>
                    <a:pt x="791" y="153"/>
                  </a:lnTo>
                  <a:lnTo>
                    <a:pt x="775" y="162"/>
                  </a:lnTo>
                  <a:lnTo>
                    <a:pt x="759" y="169"/>
                  </a:lnTo>
                  <a:lnTo>
                    <a:pt x="744" y="177"/>
                  </a:lnTo>
                  <a:lnTo>
                    <a:pt x="709" y="189"/>
                  </a:lnTo>
                  <a:lnTo>
                    <a:pt x="671" y="201"/>
                  </a:lnTo>
                  <a:lnTo>
                    <a:pt x="631" y="211"/>
                  </a:lnTo>
                  <a:lnTo>
                    <a:pt x="589" y="218"/>
                  </a:lnTo>
                  <a:lnTo>
                    <a:pt x="546" y="224"/>
                  </a:lnTo>
                  <a:lnTo>
                    <a:pt x="500" y="228"/>
                  </a:lnTo>
                  <a:lnTo>
                    <a:pt x="454" y="229"/>
                  </a:lnTo>
                  <a:lnTo>
                    <a:pt x="454" y="229"/>
                  </a:lnTo>
                  <a:lnTo>
                    <a:pt x="408" y="228"/>
                  </a:lnTo>
                  <a:lnTo>
                    <a:pt x="363" y="224"/>
                  </a:lnTo>
                  <a:lnTo>
                    <a:pt x="319" y="218"/>
                  </a:lnTo>
                  <a:lnTo>
                    <a:pt x="277" y="211"/>
                  </a:lnTo>
                  <a:lnTo>
                    <a:pt x="237" y="201"/>
                  </a:lnTo>
                  <a:lnTo>
                    <a:pt x="200" y="189"/>
                  </a:lnTo>
                  <a:lnTo>
                    <a:pt x="165" y="177"/>
                  </a:lnTo>
                  <a:lnTo>
                    <a:pt x="149" y="169"/>
                  </a:lnTo>
                  <a:lnTo>
                    <a:pt x="133" y="162"/>
                  </a:lnTo>
                  <a:lnTo>
                    <a:pt x="117" y="153"/>
                  </a:lnTo>
                  <a:lnTo>
                    <a:pt x="104" y="145"/>
                  </a:lnTo>
                  <a:lnTo>
                    <a:pt x="90" y="137"/>
                  </a:lnTo>
                  <a:lnTo>
                    <a:pt x="77" y="128"/>
                  </a:lnTo>
                  <a:lnTo>
                    <a:pt x="66" y="119"/>
                  </a:lnTo>
                  <a:lnTo>
                    <a:pt x="54" y="109"/>
                  </a:lnTo>
                  <a:lnTo>
                    <a:pt x="45" y="100"/>
                  </a:lnTo>
                  <a:lnTo>
                    <a:pt x="35" y="89"/>
                  </a:lnTo>
                  <a:lnTo>
                    <a:pt x="27" y="78"/>
                  </a:lnTo>
                  <a:lnTo>
                    <a:pt x="20" y="68"/>
                  </a:lnTo>
                  <a:lnTo>
                    <a:pt x="14" y="57"/>
                  </a:lnTo>
                  <a:lnTo>
                    <a:pt x="9" y="47"/>
                  </a:lnTo>
                  <a:lnTo>
                    <a:pt x="5" y="35"/>
                  </a:lnTo>
                  <a:lnTo>
                    <a:pt x="2" y="23"/>
                  </a:lnTo>
                  <a:lnTo>
                    <a:pt x="1" y="12"/>
                  </a:lnTo>
                  <a:lnTo>
                    <a:pt x="0" y="0"/>
                  </a:lnTo>
                  <a:lnTo>
                    <a:pt x="0" y="914"/>
                  </a:lnTo>
                  <a:lnTo>
                    <a:pt x="0" y="914"/>
                  </a:lnTo>
                  <a:lnTo>
                    <a:pt x="1" y="926"/>
                  </a:lnTo>
                  <a:lnTo>
                    <a:pt x="2" y="937"/>
                  </a:lnTo>
                  <a:lnTo>
                    <a:pt x="5" y="949"/>
                  </a:lnTo>
                  <a:lnTo>
                    <a:pt x="9" y="961"/>
                  </a:lnTo>
                  <a:lnTo>
                    <a:pt x="14" y="971"/>
                  </a:lnTo>
                  <a:lnTo>
                    <a:pt x="20" y="982"/>
                  </a:lnTo>
                  <a:lnTo>
                    <a:pt x="27" y="992"/>
                  </a:lnTo>
                  <a:lnTo>
                    <a:pt x="35" y="1003"/>
                  </a:lnTo>
                  <a:lnTo>
                    <a:pt x="45" y="1014"/>
                  </a:lnTo>
                  <a:lnTo>
                    <a:pt x="54" y="1023"/>
                  </a:lnTo>
                  <a:lnTo>
                    <a:pt x="66" y="1033"/>
                  </a:lnTo>
                  <a:lnTo>
                    <a:pt x="77" y="1042"/>
                  </a:lnTo>
                  <a:lnTo>
                    <a:pt x="90" y="1051"/>
                  </a:lnTo>
                  <a:lnTo>
                    <a:pt x="104" y="1059"/>
                  </a:lnTo>
                  <a:lnTo>
                    <a:pt x="117" y="1067"/>
                  </a:lnTo>
                  <a:lnTo>
                    <a:pt x="133" y="1076"/>
                  </a:lnTo>
                  <a:lnTo>
                    <a:pt x="149" y="1083"/>
                  </a:lnTo>
                  <a:lnTo>
                    <a:pt x="165" y="1091"/>
                  </a:lnTo>
                  <a:lnTo>
                    <a:pt x="200" y="1103"/>
                  </a:lnTo>
                  <a:lnTo>
                    <a:pt x="237" y="1115"/>
                  </a:lnTo>
                  <a:lnTo>
                    <a:pt x="277" y="1125"/>
                  </a:lnTo>
                  <a:lnTo>
                    <a:pt x="319" y="1132"/>
                  </a:lnTo>
                  <a:lnTo>
                    <a:pt x="363" y="1138"/>
                  </a:lnTo>
                  <a:lnTo>
                    <a:pt x="408" y="1141"/>
                  </a:lnTo>
                  <a:lnTo>
                    <a:pt x="454" y="1143"/>
                  </a:lnTo>
                  <a:lnTo>
                    <a:pt x="454" y="1143"/>
                  </a:lnTo>
                  <a:lnTo>
                    <a:pt x="500" y="1141"/>
                  </a:lnTo>
                  <a:lnTo>
                    <a:pt x="546" y="1138"/>
                  </a:lnTo>
                  <a:lnTo>
                    <a:pt x="589" y="1132"/>
                  </a:lnTo>
                  <a:lnTo>
                    <a:pt x="631" y="1125"/>
                  </a:lnTo>
                  <a:lnTo>
                    <a:pt x="671" y="1115"/>
                  </a:lnTo>
                  <a:lnTo>
                    <a:pt x="709" y="1103"/>
                  </a:lnTo>
                  <a:lnTo>
                    <a:pt x="744" y="1091"/>
                  </a:lnTo>
                  <a:lnTo>
                    <a:pt x="759" y="1083"/>
                  </a:lnTo>
                  <a:lnTo>
                    <a:pt x="775" y="1076"/>
                  </a:lnTo>
                  <a:lnTo>
                    <a:pt x="791" y="1067"/>
                  </a:lnTo>
                  <a:lnTo>
                    <a:pt x="805" y="1059"/>
                  </a:lnTo>
                  <a:lnTo>
                    <a:pt x="818" y="1051"/>
                  </a:lnTo>
                  <a:lnTo>
                    <a:pt x="831" y="1042"/>
                  </a:lnTo>
                  <a:lnTo>
                    <a:pt x="842" y="1033"/>
                  </a:lnTo>
                  <a:lnTo>
                    <a:pt x="854" y="1023"/>
                  </a:lnTo>
                  <a:lnTo>
                    <a:pt x="864" y="1014"/>
                  </a:lnTo>
                  <a:lnTo>
                    <a:pt x="873" y="1003"/>
                  </a:lnTo>
                  <a:lnTo>
                    <a:pt x="881" y="992"/>
                  </a:lnTo>
                  <a:lnTo>
                    <a:pt x="889" y="982"/>
                  </a:lnTo>
                  <a:lnTo>
                    <a:pt x="894" y="971"/>
                  </a:lnTo>
                  <a:lnTo>
                    <a:pt x="899" y="961"/>
                  </a:lnTo>
                  <a:lnTo>
                    <a:pt x="903" y="949"/>
                  </a:lnTo>
                  <a:lnTo>
                    <a:pt x="907" y="937"/>
                  </a:lnTo>
                  <a:lnTo>
                    <a:pt x="908" y="926"/>
                  </a:lnTo>
                  <a:lnTo>
                    <a:pt x="909" y="914"/>
                  </a:lnTo>
                  <a:lnTo>
                    <a:pt x="909" y="0"/>
                  </a:lnTo>
                  <a:close/>
                </a:path>
              </a:pathLst>
            </a:custGeom>
            <a:gradFill rotWithShape="1">
              <a:gsLst>
                <a:gs pos="0">
                  <a:schemeClr val="tx2">
                    <a:lumMod val="60000"/>
                    <a:lumOff val="40000"/>
                  </a:schemeClr>
                </a:gs>
                <a:gs pos="50000">
                  <a:schemeClr val="tx1">
                    <a:lumMod val="85000"/>
                  </a:schemeClr>
                </a:gs>
                <a:gs pos="100000">
                  <a:schemeClr val="tx2">
                    <a:lumMod val="60000"/>
                    <a:lumOff val="40000"/>
                  </a:schemeClr>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6" name="Freeform 51"/>
            <p:cNvSpPr>
              <a:spLocks noEditPoints="1"/>
            </p:cNvSpPr>
            <p:nvPr/>
          </p:nvSpPr>
          <p:spPr bwMode="auto">
            <a:xfrm>
              <a:off x="5294" y="1478"/>
              <a:ext cx="528" cy="265"/>
            </a:xfrm>
            <a:custGeom>
              <a:avLst/>
              <a:gdLst>
                <a:gd name="T0" fmla="*/ 363 w 909"/>
                <a:gd name="T1" fmla="*/ 4 h 457"/>
                <a:gd name="T2" fmla="*/ 200 w 909"/>
                <a:gd name="T3" fmla="*/ 39 h 457"/>
                <a:gd name="T4" fmla="*/ 117 w 909"/>
                <a:gd name="T5" fmla="*/ 75 h 457"/>
                <a:gd name="T6" fmla="*/ 66 w 909"/>
                <a:gd name="T7" fmla="*/ 110 h 457"/>
                <a:gd name="T8" fmla="*/ 27 w 909"/>
                <a:gd name="T9" fmla="*/ 150 h 457"/>
                <a:gd name="T10" fmla="*/ 5 w 909"/>
                <a:gd name="T11" fmla="*/ 193 h 457"/>
                <a:gd name="T12" fmla="*/ 0 w 909"/>
                <a:gd name="T13" fmla="*/ 228 h 457"/>
                <a:gd name="T14" fmla="*/ 9 w 909"/>
                <a:gd name="T15" fmla="*/ 275 h 457"/>
                <a:gd name="T16" fmla="*/ 35 w 909"/>
                <a:gd name="T17" fmla="*/ 317 h 457"/>
                <a:gd name="T18" fmla="*/ 77 w 909"/>
                <a:gd name="T19" fmla="*/ 356 h 457"/>
                <a:gd name="T20" fmla="*/ 133 w 909"/>
                <a:gd name="T21" fmla="*/ 390 h 457"/>
                <a:gd name="T22" fmla="*/ 237 w 909"/>
                <a:gd name="T23" fmla="*/ 429 h 457"/>
                <a:gd name="T24" fmla="*/ 408 w 909"/>
                <a:gd name="T25" fmla="*/ 456 h 457"/>
                <a:gd name="T26" fmla="*/ 546 w 909"/>
                <a:gd name="T27" fmla="*/ 452 h 457"/>
                <a:gd name="T28" fmla="*/ 709 w 909"/>
                <a:gd name="T29" fmla="*/ 417 h 457"/>
                <a:gd name="T30" fmla="*/ 791 w 909"/>
                <a:gd name="T31" fmla="*/ 381 h 457"/>
                <a:gd name="T32" fmla="*/ 842 w 909"/>
                <a:gd name="T33" fmla="*/ 347 h 457"/>
                <a:gd name="T34" fmla="*/ 881 w 909"/>
                <a:gd name="T35" fmla="*/ 306 h 457"/>
                <a:gd name="T36" fmla="*/ 903 w 909"/>
                <a:gd name="T37" fmla="*/ 263 h 457"/>
                <a:gd name="T38" fmla="*/ 909 w 909"/>
                <a:gd name="T39" fmla="*/ 228 h 457"/>
                <a:gd name="T40" fmla="*/ 899 w 909"/>
                <a:gd name="T41" fmla="*/ 182 h 457"/>
                <a:gd name="T42" fmla="*/ 873 w 909"/>
                <a:gd name="T43" fmla="*/ 139 h 457"/>
                <a:gd name="T44" fmla="*/ 831 w 909"/>
                <a:gd name="T45" fmla="*/ 100 h 457"/>
                <a:gd name="T46" fmla="*/ 775 w 909"/>
                <a:gd name="T47" fmla="*/ 66 h 457"/>
                <a:gd name="T48" fmla="*/ 671 w 909"/>
                <a:gd name="T49" fmla="*/ 27 h 457"/>
                <a:gd name="T50" fmla="*/ 500 w 909"/>
                <a:gd name="T51" fmla="*/ 1 h 457"/>
                <a:gd name="T52" fmla="*/ 454 w 909"/>
                <a:gd name="T53" fmla="*/ 419 h 457"/>
                <a:gd name="T54" fmla="*/ 307 w 909"/>
                <a:gd name="T55" fmla="*/ 404 h 457"/>
                <a:gd name="T56" fmla="*/ 186 w 909"/>
                <a:gd name="T57" fmla="*/ 362 h 457"/>
                <a:gd name="T58" fmla="*/ 121 w 909"/>
                <a:gd name="T59" fmla="*/ 319 h 457"/>
                <a:gd name="T60" fmla="*/ 92 w 909"/>
                <a:gd name="T61" fmla="*/ 285 h 457"/>
                <a:gd name="T62" fmla="*/ 77 w 909"/>
                <a:gd name="T63" fmla="*/ 247 h 457"/>
                <a:gd name="T64" fmla="*/ 75 w 909"/>
                <a:gd name="T65" fmla="*/ 219 h 457"/>
                <a:gd name="T66" fmla="*/ 87 w 909"/>
                <a:gd name="T67" fmla="*/ 180 h 457"/>
                <a:gd name="T68" fmla="*/ 113 w 909"/>
                <a:gd name="T69" fmla="*/ 146 h 457"/>
                <a:gd name="T70" fmla="*/ 162 w 909"/>
                <a:gd name="T71" fmla="*/ 108 h 457"/>
                <a:gd name="T72" fmla="*/ 273 w 909"/>
                <a:gd name="T73" fmla="*/ 61 h 457"/>
                <a:gd name="T74" fmla="*/ 415 w 909"/>
                <a:gd name="T75" fmla="*/ 39 h 457"/>
                <a:gd name="T76" fmla="*/ 531 w 909"/>
                <a:gd name="T77" fmla="*/ 42 h 457"/>
                <a:gd name="T78" fmla="*/ 666 w 909"/>
                <a:gd name="T79" fmla="*/ 70 h 457"/>
                <a:gd name="T80" fmla="*/ 769 w 909"/>
                <a:gd name="T81" fmla="*/ 121 h 457"/>
                <a:gd name="T82" fmla="*/ 804 w 909"/>
                <a:gd name="T83" fmla="*/ 154 h 457"/>
                <a:gd name="T84" fmla="*/ 826 w 909"/>
                <a:gd name="T85" fmla="*/ 190 h 457"/>
                <a:gd name="T86" fmla="*/ 833 w 909"/>
                <a:gd name="T87" fmla="*/ 228 h 457"/>
                <a:gd name="T88" fmla="*/ 829 w 909"/>
                <a:gd name="T89" fmla="*/ 257 h 457"/>
                <a:gd name="T90" fmla="*/ 810 w 909"/>
                <a:gd name="T91" fmla="*/ 294 h 457"/>
                <a:gd name="T92" fmla="*/ 778 w 909"/>
                <a:gd name="T93" fmla="*/ 326 h 457"/>
                <a:gd name="T94" fmla="*/ 695 w 909"/>
                <a:gd name="T95" fmla="*/ 375 h 457"/>
                <a:gd name="T96" fmla="*/ 567 w 909"/>
                <a:gd name="T97" fmla="*/ 410 h 457"/>
                <a:gd name="T98" fmla="*/ 454 w 909"/>
                <a:gd name="T99" fmla="*/ 41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9" h="457">
                  <a:moveTo>
                    <a:pt x="454" y="0"/>
                  </a:moveTo>
                  <a:lnTo>
                    <a:pt x="454" y="0"/>
                  </a:lnTo>
                  <a:lnTo>
                    <a:pt x="408" y="1"/>
                  </a:lnTo>
                  <a:lnTo>
                    <a:pt x="363" y="4"/>
                  </a:lnTo>
                  <a:lnTo>
                    <a:pt x="319" y="10"/>
                  </a:lnTo>
                  <a:lnTo>
                    <a:pt x="277" y="18"/>
                  </a:lnTo>
                  <a:lnTo>
                    <a:pt x="237" y="27"/>
                  </a:lnTo>
                  <a:lnTo>
                    <a:pt x="200" y="39"/>
                  </a:lnTo>
                  <a:lnTo>
                    <a:pt x="165" y="51"/>
                  </a:lnTo>
                  <a:lnTo>
                    <a:pt x="149" y="59"/>
                  </a:lnTo>
                  <a:lnTo>
                    <a:pt x="133" y="66"/>
                  </a:lnTo>
                  <a:lnTo>
                    <a:pt x="117" y="75"/>
                  </a:lnTo>
                  <a:lnTo>
                    <a:pt x="104" y="83"/>
                  </a:lnTo>
                  <a:lnTo>
                    <a:pt x="90" y="92"/>
                  </a:lnTo>
                  <a:lnTo>
                    <a:pt x="77" y="100"/>
                  </a:lnTo>
                  <a:lnTo>
                    <a:pt x="66" y="110"/>
                  </a:lnTo>
                  <a:lnTo>
                    <a:pt x="54" y="119"/>
                  </a:lnTo>
                  <a:lnTo>
                    <a:pt x="45" y="129"/>
                  </a:lnTo>
                  <a:lnTo>
                    <a:pt x="35" y="139"/>
                  </a:lnTo>
                  <a:lnTo>
                    <a:pt x="27" y="150"/>
                  </a:lnTo>
                  <a:lnTo>
                    <a:pt x="20" y="160"/>
                  </a:lnTo>
                  <a:lnTo>
                    <a:pt x="14" y="171"/>
                  </a:lnTo>
                  <a:lnTo>
                    <a:pt x="9" y="182"/>
                  </a:lnTo>
                  <a:lnTo>
                    <a:pt x="5" y="193"/>
                  </a:lnTo>
                  <a:lnTo>
                    <a:pt x="2" y="205"/>
                  </a:lnTo>
                  <a:lnTo>
                    <a:pt x="1" y="216"/>
                  </a:lnTo>
                  <a:lnTo>
                    <a:pt x="0" y="228"/>
                  </a:lnTo>
                  <a:lnTo>
                    <a:pt x="0" y="228"/>
                  </a:lnTo>
                  <a:lnTo>
                    <a:pt x="1" y="240"/>
                  </a:lnTo>
                  <a:lnTo>
                    <a:pt x="2" y="251"/>
                  </a:lnTo>
                  <a:lnTo>
                    <a:pt x="5" y="263"/>
                  </a:lnTo>
                  <a:lnTo>
                    <a:pt x="9" y="275"/>
                  </a:lnTo>
                  <a:lnTo>
                    <a:pt x="14" y="285"/>
                  </a:lnTo>
                  <a:lnTo>
                    <a:pt x="20" y="296"/>
                  </a:lnTo>
                  <a:lnTo>
                    <a:pt x="27" y="306"/>
                  </a:lnTo>
                  <a:lnTo>
                    <a:pt x="35" y="317"/>
                  </a:lnTo>
                  <a:lnTo>
                    <a:pt x="45" y="328"/>
                  </a:lnTo>
                  <a:lnTo>
                    <a:pt x="54" y="337"/>
                  </a:lnTo>
                  <a:lnTo>
                    <a:pt x="66" y="347"/>
                  </a:lnTo>
                  <a:lnTo>
                    <a:pt x="77" y="356"/>
                  </a:lnTo>
                  <a:lnTo>
                    <a:pt x="90" y="365"/>
                  </a:lnTo>
                  <a:lnTo>
                    <a:pt x="104" y="373"/>
                  </a:lnTo>
                  <a:lnTo>
                    <a:pt x="117" y="381"/>
                  </a:lnTo>
                  <a:lnTo>
                    <a:pt x="133" y="390"/>
                  </a:lnTo>
                  <a:lnTo>
                    <a:pt x="149" y="397"/>
                  </a:lnTo>
                  <a:lnTo>
                    <a:pt x="165" y="405"/>
                  </a:lnTo>
                  <a:lnTo>
                    <a:pt x="200" y="417"/>
                  </a:lnTo>
                  <a:lnTo>
                    <a:pt x="237" y="429"/>
                  </a:lnTo>
                  <a:lnTo>
                    <a:pt x="277" y="439"/>
                  </a:lnTo>
                  <a:lnTo>
                    <a:pt x="319" y="446"/>
                  </a:lnTo>
                  <a:lnTo>
                    <a:pt x="363" y="452"/>
                  </a:lnTo>
                  <a:lnTo>
                    <a:pt x="408" y="456"/>
                  </a:lnTo>
                  <a:lnTo>
                    <a:pt x="454" y="457"/>
                  </a:lnTo>
                  <a:lnTo>
                    <a:pt x="454" y="457"/>
                  </a:lnTo>
                  <a:lnTo>
                    <a:pt x="500" y="456"/>
                  </a:lnTo>
                  <a:lnTo>
                    <a:pt x="546" y="452"/>
                  </a:lnTo>
                  <a:lnTo>
                    <a:pt x="589" y="446"/>
                  </a:lnTo>
                  <a:lnTo>
                    <a:pt x="631" y="439"/>
                  </a:lnTo>
                  <a:lnTo>
                    <a:pt x="671" y="429"/>
                  </a:lnTo>
                  <a:lnTo>
                    <a:pt x="709" y="417"/>
                  </a:lnTo>
                  <a:lnTo>
                    <a:pt x="744" y="405"/>
                  </a:lnTo>
                  <a:lnTo>
                    <a:pt x="759" y="397"/>
                  </a:lnTo>
                  <a:lnTo>
                    <a:pt x="775" y="390"/>
                  </a:lnTo>
                  <a:lnTo>
                    <a:pt x="791" y="381"/>
                  </a:lnTo>
                  <a:lnTo>
                    <a:pt x="805" y="373"/>
                  </a:lnTo>
                  <a:lnTo>
                    <a:pt x="818" y="365"/>
                  </a:lnTo>
                  <a:lnTo>
                    <a:pt x="831" y="356"/>
                  </a:lnTo>
                  <a:lnTo>
                    <a:pt x="842" y="347"/>
                  </a:lnTo>
                  <a:lnTo>
                    <a:pt x="854" y="337"/>
                  </a:lnTo>
                  <a:lnTo>
                    <a:pt x="864" y="328"/>
                  </a:lnTo>
                  <a:lnTo>
                    <a:pt x="873" y="317"/>
                  </a:lnTo>
                  <a:lnTo>
                    <a:pt x="881" y="306"/>
                  </a:lnTo>
                  <a:lnTo>
                    <a:pt x="889" y="296"/>
                  </a:lnTo>
                  <a:lnTo>
                    <a:pt x="894" y="285"/>
                  </a:lnTo>
                  <a:lnTo>
                    <a:pt x="899" y="275"/>
                  </a:lnTo>
                  <a:lnTo>
                    <a:pt x="903" y="263"/>
                  </a:lnTo>
                  <a:lnTo>
                    <a:pt x="907" y="251"/>
                  </a:lnTo>
                  <a:lnTo>
                    <a:pt x="908" y="240"/>
                  </a:lnTo>
                  <a:lnTo>
                    <a:pt x="909" y="228"/>
                  </a:lnTo>
                  <a:lnTo>
                    <a:pt x="909" y="228"/>
                  </a:lnTo>
                  <a:lnTo>
                    <a:pt x="908" y="216"/>
                  </a:lnTo>
                  <a:lnTo>
                    <a:pt x="907" y="205"/>
                  </a:lnTo>
                  <a:lnTo>
                    <a:pt x="903" y="193"/>
                  </a:lnTo>
                  <a:lnTo>
                    <a:pt x="899" y="182"/>
                  </a:lnTo>
                  <a:lnTo>
                    <a:pt x="894" y="171"/>
                  </a:lnTo>
                  <a:lnTo>
                    <a:pt x="889" y="160"/>
                  </a:lnTo>
                  <a:lnTo>
                    <a:pt x="881" y="150"/>
                  </a:lnTo>
                  <a:lnTo>
                    <a:pt x="873" y="139"/>
                  </a:lnTo>
                  <a:lnTo>
                    <a:pt x="864" y="129"/>
                  </a:lnTo>
                  <a:lnTo>
                    <a:pt x="854" y="119"/>
                  </a:lnTo>
                  <a:lnTo>
                    <a:pt x="842" y="110"/>
                  </a:lnTo>
                  <a:lnTo>
                    <a:pt x="831" y="100"/>
                  </a:lnTo>
                  <a:lnTo>
                    <a:pt x="818" y="92"/>
                  </a:lnTo>
                  <a:lnTo>
                    <a:pt x="805" y="83"/>
                  </a:lnTo>
                  <a:lnTo>
                    <a:pt x="791" y="75"/>
                  </a:lnTo>
                  <a:lnTo>
                    <a:pt x="775" y="66"/>
                  </a:lnTo>
                  <a:lnTo>
                    <a:pt x="759" y="59"/>
                  </a:lnTo>
                  <a:lnTo>
                    <a:pt x="744" y="51"/>
                  </a:lnTo>
                  <a:lnTo>
                    <a:pt x="709" y="39"/>
                  </a:lnTo>
                  <a:lnTo>
                    <a:pt x="671" y="27"/>
                  </a:lnTo>
                  <a:lnTo>
                    <a:pt x="631" y="18"/>
                  </a:lnTo>
                  <a:lnTo>
                    <a:pt x="589" y="10"/>
                  </a:lnTo>
                  <a:lnTo>
                    <a:pt x="546" y="4"/>
                  </a:lnTo>
                  <a:lnTo>
                    <a:pt x="500" y="1"/>
                  </a:lnTo>
                  <a:lnTo>
                    <a:pt x="454" y="0"/>
                  </a:lnTo>
                  <a:lnTo>
                    <a:pt x="454" y="0"/>
                  </a:lnTo>
                  <a:close/>
                  <a:moveTo>
                    <a:pt x="454" y="419"/>
                  </a:moveTo>
                  <a:lnTo>
                    <a:pt x="454" y="419"/>
                  </a:lnTo>
                  <a:lnTo>
                    <a:pt x="415" y="417"/>
                  </a:lnTo>
                  <a:lnTo>
                    <a:pt x="377" y="414"/>
                  </a:lnTo>
                  <a:lnTo>
                    <a:pt x="342" y="410"/>
                  </a:lnTo>
                  <a:lnTo>
                    <a:pt x="307" y="404"/>
                  </a:lnTo>
                  <a:lnTo>
                    <a:pt x="273" y="395"/>
                  </a:lnTo>
                  <a:lnTo>
                    <a:pt x="243" y="386"/>
                  </a:lnTo>
                  <a:lnTo>
                    <a:pt x="213" y="375"/>
                  </a:lnTo>
                  <a:lnTo>
                    <a:pt x="186" y="362"/>
                  </a:lnTo>
                  <a:lnTo>
                    <a:pt x="162" y="349"/>
                  </a:lnTo>
                  <a:lnTo>
                    <a:pt x="140" y="335"/>
                  </a:lnTo>
                  <a:lnTo>
                    <a:pt x="130" y="326"/>
                  </a:lnTo>
                  <a:lnTo>
                    <a:pt x="121" y="319"/>
                  </a:lnTo>
                  <a:lnTo>
                    <a:pt x="113" y="311"/>
                  </a:lnTo>
                  <a:lnTo>
                    <a:pt x="105" y="302"/>
                  </a:lnTo>
                  <a:lnTo>
                    <a:pt x="99" y="294"/>
                  </a:lnTo>
                  <a:lnTo>
                    <a:pt x="92" y="285"/>
                  </a:lnTo>
                  <a:lnTo>
                    <a:pt x="87" y="276"/>
                  </a:lnTo>
                  <a:lnTo>
                    <a:pt x="83" y="266"/>
                  </a:lnTo>
                  <a:lnTo>
                    <a:pt x="80" y="257"/>
                  </a:lnTo>
                  <a:lnTo>
                    <a:pt x="77" y="247"/>
                  </a:lnTo>
                  <a:lnTo>
                    <a:pt x="75" y="238"/>
                  </a:lnTo>
                  <a:lnTo>
                    <a:pt x="75" y="228"/>
                  </a:lnTo>
                  <a:lnTo>
                    <a:pt x="75" y="228"/>
                  </a:lnTo>
                  <a:lnTo>
                    <a:pt x="75" y="219"/>
                  </a:lnTo>
                  <a:lnTo>
                    <a:pt x="77" y="209"/>
                  </a:lnTo>
                  <a:lnTo>
                    <a:pt x="80" y="200"/>
                  </a:lnTo>
                  <a:lnTo>
                    <a:pt x="83" y="190"/>
                  </a:lnTo>
                  <a:lnTo>
                    <a:pt x="87" y="180"/>
                  </a:lnTo>
                  <a:lnTo>
                    <a:pt x="92" y="171"/>
                  </a:lnTo>
                  <a:lnTo>
                    <a:pt x="99" y="163"/>
                  </a:lnTo>
                  <a:lnTo>
                    <a:pt x="105" y="154"/>
                  </a:lnTo>
                  <a:lnTo>
                    <a:pt x="113" y="146"/>
                  </a:lnTo>
                  <a:lnTo>
                    <a:pt x="121" y="137"/>
                  </a:lnTo>
                  <a:lnTo>
                    <a:pt x="130" y="130"/>
                  </a:lnTo>
                  <a:lnTo>
                    <a:pt x="140" y="121"/>
                  </a:lnTo>
                  <a:lnTo>
                    <a:pt x="162" y="108"/>
                  </a:lnTo>
                  <a:lnTo>
                    <a:pt x="186" y="94"/>
                  </a:lnTo>
                  <a:lnTo>
                    <a:pt x="213" y="81"/>
                  </a:lnTo>
                  <a:lnTo>
                    <a:pt x="243" y="70"/>
                  </a:lnTo>
                  <a:lnTo>
                    <a:pt x="273" y="61"/>
                  </a:lnTo>
                  <a:lnTo>
                    <a:pt x="307" y="52"/>
                  </a:lnTo>
                  <a:lnTo>
                    <a:pt x="342" y="46"/>
                  </a:lnTo>
                  <a:lnTo>
                    <a:pt x="377" y="42"/>
                  </a:lnTo>
                  <a:lnTo>
                    <a:pt x="415" y="39"/>
                  </a:lnTo>
                  <a:lnTo>
                    <a:pt x="454" y="38"/>
                  </a:lnTo>
                  <a:lnTo>
                    <a:pt x="454" y="38"/>
                  </a:lnTo>
                  <a:lnTo>
                    <a:pt x="493" y="39"/>
                  </a:lnTo>
                  <a:lnTo>
                    <a:pt x="531" y="42"/>
                  </a:lnTo>
                  <a:lnTo>
                    <a:pt x="567" y="46"/>
                  </a:lnTo>
                  <a:lnTo>
                    <a:pt x="602" y="52"/>
                  </a:lnTo>
                  <a:lnTo>
                    <a:pt x="635" y="61"/>
                  </a:lnTo>
                  <a:lnTo>
                    <a:pt x="666" y="70"/>
                  </a:lnTo>
                  <a:lnTo>
                    <a:pt x="695" y="81"/>
                  </a:lnTo>
                  <a:lnTo>
                    <a:pt x="723" y="94"/>
                  </a:lnTo>
                  <a:lnTo>
                    <a:pt x="747" y="108"/>
                  </a:lnTo>
                  <a:lnTo>
                    <a:pt x="769" y="121"/>
                  </a:lnTo>
                  <a:lnTo>
                    <a:pt x="778" y="130"/>
                  </a:lnTo>
                  <a:lnTo>
                    <a:pt x="788" y="137"/>
                  </a:lnTo>
                  <a:lnTo>
                    <a:pt x="796" y="146"/>
                  </a:lnTo>
                  <a:lnTo>
                    <a:pt x="804" y="154"/>
                  </a:lnTo>
                  <a:lnTo>
                    <a:pt x="810" y="163"/>
                  </a:lnTo>
                  <a:lnTo>
                    <a:pt x="816" y="171"/>
                  </a:lnTo>
                  <a:lnTo>
                    <a:pt x="821" y="180"/>
                  </a:lnTo>
                  <a:lnTo>
                    <a:pt x="826" y="190"/>
                  </a:lnTo>
                  <a:lnTo>
                    <a:pt x="829" y="200"/>
                  </a:lnTo>
                  <a:lnTo>
                    <a:pt x="831" y="209"/>
                  </a:lnTo>
                  <a:lnTo>
                    <a:pt x="833" y="219"/>
                  </a:lnTo>
                  <a:lnTo>
                    <a:pt x="833" y="228"/>
                  </a:lnTo>
                  <a:lnTo>
                    <a:pt x="833" y="228"/>
                  </a:lnTo>
                  <a:lnTo>
                    <a:pt x="833" y="238"/>
                  </a:lnTo>
                  <a:lnTo>
                    <a:pt x="831" y="247"/>
                  </a:lnTo>
                  <a:lnTo>
                    <a:pt x="829" y="257"/>
                  </a:lnTo>
                  <a:lnTo>
                    <a:pt x="826" y="266"/>
                  </a:lnTo>
                  <a:lnTo>
                    <a:pt x="821" y="276"/>
                  </a:lnTo>
                  <a:lnTo>
                    <a:pt x="816" y="285"/>
                  </a:lnTo>
                  <a:lnTo>
                    <a:pt x="810" y="294"/>
                  </a:lnTo>
                  <a:lnTo>
                    <a:pt x="804" y="302"/>
                  </a:lnTo>
                  <a:lnTo>
                    <a:pt x="796" y="311"/>
                  </a:lnTo>
                  <a:lnTo>
                    <a:pt x="788" y="319"/>
                  </a:lnTo>
                  <a:lnTo>
                    <a:pt x="778" y="326"/>
                  </a:lnTo>
                  <a:lnTo>
                    <a:pt x="769" y="335"/>
                  </a:lnTo>
                  <a:lnTo>
                    <a:pt x="747" y="349"/>
                  </a:lnTo>
                  <a:lnTo>
                    <a:pt x="723" y="362"/>
                  </a:lnTo>
                  <a:lnTo>
                    <a:pt x="695" y="375"/>
                  </a:lnTo>
                  <a:lnTo>
                    <a:pt x="666" y="386"/>
                  </a:lnTo>
                  <a:lnTo>
                    <a:pt x="635" y="395"/>
                  </a:lnTo>
                  <a:lnTo>
                    <a:pt x="602" y="404"/>
                  </a:lnTo>
                  <a:lnTo>
                    <a:pt x="567" y="410"/>
                  </a:lnTo>
                  <a:lnTo>
                    <a:pt x="531" y="414"/>
                  </a:lnTo>
                  <a:lnTo>
                    <a:pt x="493" y="417"/>
                  </a:lnTo>
                  <a:lnTo>
                    <a:pt x="454" y="419"/>
                  </a:lnTo>
                  <a:lnTo>
                    <a:pt x="454" y="419"/>
                  </a:ln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51" name="Text Box 45"/>
          <p:cNvSpPr txBox="1">
            <a:spLocks noChangeArrowheads="1"/>
          </p:cNvSpPr>
          <p:nvPr/>
        </p:nvSpPr>
        <p:spPr bwMode="auto">
          <a:xfrm>
            <a:off x="5940152" y="1315407"/>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52" name="Text Box 45"/>
          <p:cNvSpPr txBox="1">
            <a:spLocks noChangeArrowheads="1"/>
          </p:cNvSpPr>
          <p:nvPr/>
        </p:nvSpPr>
        <p:spPr bwMode="auto">
          <a:xfrm>
            <a:off x="5940152" y="2213451"/>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53" name="Text Box 45"/>
          <p:cNvSpPr txBox="1">
            <a:spLocks noChangeArrowheads="1"/>
          </p:cNvSpPr>
          <p:nvPr/>
        </p:nvSpPr>
        <p:spPr bwMode="auto">
          <a:xfrm>
            <a:off x="5940152" y="3077547"/>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54" name="Text Box 45"/>
          <p:cNvSpPr txBox="1">
            <a:spLocks noChangeArrowheads="1"/>
          </p:cNvSpPr>
          <p:nvPr/>
        </p:nvSpPr>
        <p:spPr bwMode="auto">
          <a:xfrm>
            <a:off x="5940152" y="3941643"/>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750" fill="hold"/>
                                        <p:tgtEl>
                                          <p:spTgt spid="55"/>
                                        </p:tgtEl>
                                        <p:attrNameLst>
                                          <p:attrName>ppt_x</p:attrName>
                                        </p:attrNameLst>
                                      </p:cBhvr>
                                      <p:tavLst>
                                        <p:tav tm="0">
                                          <p:val>
                                            <p:strVal val="0-#ppt_w/2"/>
                                          </p:val>
                                        </p:tav>
                                        <p:tav tm="100000">
                                          <p:val>
                                            <p:strVal val="#ppt_x"/>
                                          </p:val>
                                        </p:tav>
                                      </p:tavLst>
                                    </p:anim>
                                    <p:anim calcmode="lin" valueType="num">
                                      <p:cBhvr additive="base">
                                        <p:cTn id="8" dur="75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1500"/>
                            </p:stCondLst>
                            <p:childTnLst>
                              <p:par>
                                <p:cTn id="14" presetID="42" presetClass="entr" presetSubtype="0" fill="hold" grpId="0" nodeType="after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anim calcmode="lin" valueType="num">
                                      <p:cBhvr>
                                        <p:cTn id="17" dur="500" fill="hold"/>
                                        <p:tgtEl>
                                          <p:spTgt spid="51"/>
                                        </p:tgtEl>
                                        <p:attrNameLst>
                                          <p:attrName>ppt_x</p:attrName>
                                        </p:attrNameLst>
                                      </p:cBhvr>
                                      <p:tavLst>
                                        <p:tav tm="0">
                                          <p:val>
                                            <p:strVal val="#ppt_x"/>
                                          </p:val>
                                        </p:tav>
                                        <p:tav tm="100000">
                                          <p:val>
                                            <p:strVal val="#ppt_x"/>
                                          </p:val>
                                        </p:tav>
                                      </p:tavLst>
                                    </p:anim>
                                    <p:anim calcmode="lin" valueType="num">
                                      <p:cBhvr>
                                        <p:cTn id="18" dur="500" fill="hold"/>
                                        <p:tgtEl>
                                          <p:spTgt spid="51"/>
                                        </p:tgtEl>
                                        <p:attrNameLst>
                                          <p:attrName>ppt_y</p:attrName>
                                        </p:attrNameLst>
                                      </p:cBhvr>
                                      <p:tavLst>
                                        <p:tav tm="0">
                                          <p:val>
                                            <p:strVal val="#ppt_y+.1"/>
                                          </p:val>
                                        </p:tav>
                                        <p:tav tm="100000">
                                          <p:val>
                                            <p:strVal val="#ppt_y"/>
                                          </p:val>
                                        </p:tav>
                                      </p:tavLst>
                                    </p:anim>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par>
                          <p:cTn id="23" fill="hold">
                            <p:stCondLst>
                              <p:cond delay="2500"/>
                            </p:stCondLst>
                            <p:childTnLst>
                              <p:par>
                                <p:cTn id="24" presetID="42" presetClass="entr" presetSubtype="0" fill="hold" grpId="0" nodeType="after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anim calcmode="lin" valueType="num">
                                      <p:cBhvr>
                                        <p:cTn id="27" dur="500" fill="hold"/>
                                        <p:tgtEl>
                                          <p:spTgt spid="52"/>
                                        </p:tgtEl>
                                        <p:attrNameLst>
                                          <p:attrName>ppt_x</p:attrName>
                                        </p:attrNameLst>
                                      </p:cBhvr>
                                      <p:tavLst>
                                        <p:tav tm="0">
                                          <p:val>
                                            <p:strVal val="#ppt_x"/>
                                          </p:val>
                                        </p:tav>
                                        <p:tav tm="100000">
                                          <p:val>
                                            <p:strVal val="#ppt_x"/>
                                          </p:val>
                                        </p:tav>
                                      </p:tavLst>
                                    </p:anim>
                                    <p:anim calcmode="lin" valueType="num">
                                      <p:cBhvr>
                                        <p:cTn id="28" dur="500" fill="hold"/>
                                        <p:tgtEl>
                                          <p:spTgt spid="52"/>
                                        </p:tgtEl>
                                        <p:attrNameLst>
                                          <p:attrName>ppt_y</p:attrName>
                                        </p:attrNameLst>
                                      </p:cBhvr>
                                      <p:tavLst>
                                        <p:tav tm="0">
                                          <p:val>
                                            <p:strVal val="#ppt_y+.1"/>
                                          </p:val>
                                        </p:tav>
                                        <p:tav tm="100000">
                                          <p:val>
                                            <p:strVal val="#ppt_y"/>
                                          </p:val>
                                        </p:tav>
                                      </p:tavLst>
                                    </p:anim>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par>
                          <p:cTn id="33" fill="hold">
                            <p:stCondLst>
                              <p:cond delay="3500"/>
                            </p:stCondLst>
                            <p:childTnLst>
                              <p:par>
                                <p:cTn id="34" presetID="42" presetClass="entr" presetSubtype="0" fill="hold" grpId="0" nodeType="afterEffect">
                                  <p:stCondLst>
                                    <p:cond delay="0"/>
                                  </p:stCondLst>
                                  <p:childTnLst>
                                    <p:set>
                                      <p:cBhvr>
                                        <p:cTn id="35" dur="1" fill="hold">
                                          <p:stCondLst>
                                            <p:cond delay="0"/>
                                          </p:stCondLst>
                                        </p:cTn>
                                        <p:tgtEl>
                                          <p:spTgt spid="53"/>
                                        </p:tgtEl>
                                        <p:attrNameLst>
                                          <p:attrName>style.visibility</p:attrName>
                                        </p:attrNameLst>
                                      </p:cBhvr>
                                      <p:to>
                                        <p:strVal val="visible"/>
                                      </p:to>
                                    </p:set>
                                    <p:animEffect transition="in" filter="fade">
                                      <p:cBhvr>
                                        <p:cTn id="36" dur="500"/>
                                        <p:tgtEl>
                                          <p:spTgt spid="53"/>
                                        </p:tgtEl>
                                      </p:cBhvr>
                                    </p:animEffect>
                                    <p:anim calcmode="lin" valueType="num">
                                      <p:cBhvr>
                                        <p:cTn id="37" dur="500" fill="hold"/>
                                        <p:tgtEl>
                                          <p:spTgt spid="53"/>
                                        </p:tgtEl>
                                        <p:attrNameLst>
                                          <p:attrName>ppt_x</p:attrName>
                                        </p:attrNameLst>
                                      </p:cBhvr>
                                      <p:tavLst>
                                        <p:tav tm="0">
                                          <p:val>
                                            <p:strVal val="#ppt_x"/>
                                          </p:val>
                                        </p:tav>
                                        <p:tav tm="100000">
                                          <p:val>
                                            <p:strVal val="#ppt_x"/>
                                          </p:val>
                                        </p:tav>
                                      </p:tavLst>
                                    </p:anim>
                                    <p:anim calcmode="lin" valueType="num">
                                      <p:cBhvr>
                                        <p:cTn id="38" dur="500" fill="hold"/>
                                        <p:tgtEl>
                                          <p:spTgt spid="53"/>
                                        </p:tgtEl>
                                        <p:attrNameLst>
                                          <p:attrName>ppt_y</p:attrName>
                                        </p:attrNameLst>
                                      </p:cBhvr>
                                      <p:tavLst>
                                        <p:tav tm="0">
                                          <p:val>
                                            <p:strVal val="#ppt_y+.1"/>
                                          </p:val>
                                        </p:tav>
                                        <p:tav tm="100000">
                                          <p:val>
                                            <p:strVal val="#ppt_y"/>
                                          </p:val>
                                        </p:tav>
                                      </p:tavLst>
                                    </p:anim>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par>
                          <p:cTn id="43" fill="hold">
                            <p:stCondLst>
                              <p:cond delay="4500"/>
                            </p:stCondLst>
                            <p:childTnLst>
                              <p:par>
                                <p:cTn id="44" presetID="42" presetClass="entr" presetSubtype="0" fill="hold" grpId="0" nodeType="afterEffect">
                                  <p:stCondLst>
                                    <p:cond delay="0"/>
                                  </p:stCondLst>
                                  <p:childTnLst>
                                    <p:set>
                                      <p:cBhvr>
                                        <p:cTn id="45" dur="1" fill="hold">
                                          <p:stCondLst>
                                            <p:cond delay="0"/>
                                          </p:stCondLst>
                                        </p:cTn>
                                        <p:tgtEl>
                                          <p:spTgt spid="54"/>
                                        </p:tgtEl>
                                        <p:attrNameLst>
                                          <p:attrName>style.visibility</p:attrName>
                                        </p:attrNameLst>
                                      </p:cBhvr>
                                      <p:to>
                                        <p:strVal val="visible"/>
                                      </p:to>
                                    </p:set>
                                    <p:animEffect transition="in" filter="fade">
                                      <p:cBhvr>
                                        <p:cTn id="46" dur="500"/>
                                        <p:tgtEl>
                                          <p:spTgt spid="54"/>
                                        </p:tgtEl>
                                      </p:cBhvr>
                                    </p:animEffect>
                                    <p:anim calcmode="lin" valueType="num">
                                      <p:cBhvr>
                                        <p:cTn id="47" dur="500" fill="hold"/>
                                        <p:tgtEl>
                                          <p:spTgt spid="54"/>
                                        </p:tgtEl>
                                        <p:attrNameLst>
                                          <p:attrName>ppt_x</p:attrName>
                                        </p:attrNameLst>
                                      </p:cBhvr>
                                      <p:tavLst>
                                        <p:tav tm="0">
                                          <p:val>
                                            <p:strVal val="#ppt_x"/>
                                          </p:val>
                                        </p:tav>
                                        <p:tav tm="100000">
                                          <p:val>
                                            <p:strVal val="#ppt_x"/>
                                          </p:val>
                                        </p:tav>
                                      </p:tavLst>
                                    </p:anim>
                                    <p:anim calcmode="lin" valueType="num">
                                      <p:cBhvr>
                                        <p:cTn id="48" dur="5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5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组合 49"/>
          <p:cNvGrpSpPr/>
          <p:nvPr/>
        </p:nvGrpSpPr>
        <p:grpSpPr>
          <a:xfrm>
            <a:off x="1187450" y="1491630"/>
            <a:ext cx="3956050" cy="2452688"/>
            <a:chOff x="1187450" y="1532929"/>
            <a:chExt cx="3956050" cy="2452688"/>
          </a:xfrm>
        </p:grpSpPr>
        <p:grpSp>
          <p:nvGrpSpPr>
            <p:cNvPr id="3" name="Group 8"/>
            <p:cNvGrpSpPr/>
            <p:nvPr/>
          </p:nvGrpSpPr>
          <p:grpSpPr bwMode="auto">
            <a:xfrm>
              <a:off x="1797050" y="1532929"/>
              <a:ext cx="1387475" cy="1470025"/>
              <a:chOff x="1791" y="1344"/>
              <a:chExt cx="1089" cy="1154"/>
            </a:xfrm>
          </p:grpSpPr>
          <p:sp>
            <p:nvSpPr>
              <p:cNvPr id="38" name="Freeform 9"/>
              <p:cNvSpPr/>
              <p:nvPr/>
            </p:nvSpPr>
            <p:spPr bwMode="auto">
              <a:xfrm>
                <a:off x="1791" y="1344"/>
                <a:ext cx="1089" cy="768"/>
              </a:xfrm>
              <a:custGeom>
                <a:avLst/>
                <a:gdLst>
                  <a:gd name="T0" fmla="*/ 0 w 1089"/>
                  <a:gd name="T1" fmla="*/ 225 h 768"/>
                  <a:gd name="T2" fmla="*/ 0 w 1089"/>
                  <a:gd name="T3" fmla="*/ 225 h 768"/>
                  <a:gd name="T4" fmla="*/ 54 w 1089"/>
                  <a:gd name="T5" fmla="*/ 199 h 768"/>
                  <a:gd name="T6" fmla="*/ 110 w 1089"/>
                  <a:gd name="T7" fmla="*/ 175 h 768"/>
                  <a:gd name="T8" fmla="*/ 168 w 1089"/>
                  <a:gd name="T9" fmla="*/ 153 h 768"/>
                  <a:gd name="T10" fmla="*/ 229 w 1089"/>
                  <a:gd name="T11" fmla="*/ 130 h 768"/>
                  <a:gd name="T12" fmla="*/ 291 w 1089"/>
                  <a:gd name="T13" fmla="*/ 111 h 768"/>
                  <a:gd name="T14" fmla="*/ 356 w 1089"/>
                  <a:gd name="T15" fmla="*/ 92 h 768"/>
                  <a:gd name="T16" fmla="*/ 422 w 1089"/>
                  <a:gd name="T17" fmla="*/ 75 h 768"/>
                  <a:gd name="T18" fmla="*/ 490 w 1089"/>
                  <a:gd name="T19" fmla="*/ 60 h 768"/>
                  <a:gd name="T20" fmla="*/ 560 w 1089"/>
                  <a:gd name="T21" fmla="*/ 46 h 768"/>
                  <a:gd name="T22" fmla="*/ 632 w 1089"/>
                  <a:gd name="T23" fmla="*/ 34 h 768"/>
                  <a:gd name="T24" fmla="*/ 704 w 1089"/>
                  <a:gd name="T25" fmla="*/ 23 h 768"/>
                  <a:gd name="T26" fmla="*/ 778 w 1089"/>
                  <a:gd name="T27" fmla="*/ 15 h 768"/>
                  <a:gd name="T28" fmla="*/ 855 w 1089"/>
                  <a:gd name="T29" fmla="*/ 9 h 768"/>
                  <a:gd name="T30" fmla="*/ 932 w 1089"/>
                  <a:gd name="T31" fmla="*/ 4 h 768"/>
                  <a:gd name="T32" fmla="*/ 1010 w 1089"/>
                  <a:gd name="T33" fmla="*/ 1 h 768"/>
                  <a:gd name="T34" fmla="*/ 1089 w 1089"/>
                  <a:gd name="T35" fmla="*/ 0 h 768"/>
                  <a:gd name="T36" fmla="*/ 1089 w 1089"/>
                  <a:gd name="T37" fmla="*/ 768 h 768"/>
                  <a:gd name="T38" fmla="*/ 0 w 1089"/>
                  <a:gd name="T39" fmla="*/ 22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9" h="768">
                    <a:moveTo>
                      <a:pt x="0" y="225"/>
                    </a:moveTo>
                    <a:lnTo>
                      <a:pt x="0" y="225"/>
                    </a:lnTo>
                    <a:lnTo>
                      <a:pt x="54" y="199"/>
                    </a:lnTo>
                    <a:lnTo>
                      <a:pt x="110" y="175"/>
                    </a:lnTo>
                    <a:lnTo>
                      <a:pt x="168" y="153"/>
                    </a:lnTo>
                    <a:lnTo>
                      <a:pt x="229" y="130"/>
                    </a:lnTo>
                    <a:lnTo>
                      <a:pt x="291" y="111"/>
                    </a:lnTo>
                    <a:lnTo>
                      <a:pt x="356" y="92"/>
                    </a:lnTo>
                    <a:lnTo>
                      <a:pt x="422" y="75"/>
                    </a:lnTo>
                    <a:lnTo>
                      <a:pt x="490" y="60"/>
                    </a:lnTo>
                    <a:lnTo>
                      <a:pt x="560" y="46"/>
                    </a:lnTo>
                    <a:lnTo>
                      <a:pt x="632" y="34"/>
                    </a:lnTo>
                    <a:lnTo>
                      <a:pt x="704" y="23"/>
                    </a:lnTo>
                    <a:lnTo>
                      <a:pt x="778" y="15"/>
                    </a:lnTo>
                    <a:lnTo>
                      <a:pt x="855" y="9"/>
                    </a:lnTo>
                    <a:lnTo>
                      <a:pt x="932" y="4"/>
                    </a:lnTo>
                    <a:lnTo>
                      <a:pt x="1010" y="1"/>
                    </a:lnTo>
                    <a:lnTo>
                      <a:pt x="1089" y="0"/>
                    </a:lnTo>
                    <a:lnTo>
                      <a:pt x="1089" y="768"/>
                    </a:lnTo>
                    <a:lnTo>
                      <a:pt x="0" y="225"/>
                    </a:lnTo>
                    <a:close/>
                  </a:path>
                </a:pathLst>
              </a:custGeom>
              <a:solidFill>
                <a:schemeClr val="tx2">
                  <a:lumMod val="20000"/>
                  <a:lumOff val="80000"/>
                </a:schemeClr>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39" name="Freeform 10"/>
              <p:cNvSpPr/>
              <p:nvPr/>
            </p:nvSpPr>
            <p:spPr bwMode="auto">
              <a:xfrm>
                <a:off x="1791" y="1569"/>
                <a:ext cx="1089" cy="929"/>
              </a:xfrm>
              <a:custGeom>
                <a:avLst/>
                <a:gdLst>
                  <a:gd name="T0" fmla="*/ 1089 w 1089"/>
                  <a:gd name="T1" fmla="*/ 543 h 929"/>
                  <a:gd name="T2" fmla="*/ 0 w 1089"/>
                  <a:gd name="T3" fmla="*/ 0 h 929"/>
                  <a:gd name="T4" fmla="*/ 0 w 1089"/>
                  <a:gd name="T5" fmla="*/ 385 h 929"/>
                  <a:gd name="T6" fmla="*/ 1089 w 1089"/>
                  <a:gd name="T7" fmla="*/ 929 h 929"/>
                  <a:gd name="T8" fmla="*/ 1089 w 1089"/>
                  <a:gd name="T9" fmla="*/ 543 h 929"/>
                </a:gdLst>
                <a:ahLst/>
                <a:cxnLst>
                  <a:cxn ang="0">
                    <a:pos x="T0" y="T1"/>
                  </a:cxn>
                  <a:cxn ang="0">
                    <a:pos x="T2" y="T3"/>
                  </a:cxn>
                  <a:cxn ang="0">
                    <a:pos x="T4" y="T5"/>
                  </a:cxn>
                  <a:cxn ang="0">
                    <a:pos x="T6" y="T7"/>
                  </a:cxn>
                  <a:cxn ang="0">
                    <a:pos x="T8" y="T9"/>
                  </a:cxn>
                </a:cxnLst>
                <a:rect l="0" t="0" r="r" b="b"/>
                <a:pathLst>
                  <a:path w="1089" h="929">
                    <a:moveTo>
                      <a:pt x="1089" y="543"/>
                    </a:moveTo>
                    <a:lnTo>
                      <a:pt x="0" y="0"/>
                    </a:lnTo>
                    <a:lnTo>
                      <a:pt x="0" y="385"/>
                    </a:lnTo>
                    <a:lnTo>
                      <a:pt x="1089" y="929"/>
                    </a:lnTo>
                    <a:lnTo>
                      <a:pt x="1089" y="543"/>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nvGrpSpPr>
            <p:cNvPr id="4" name="Group 11"/>
            <p:cNvGrpSpPr/>
            <p:nvPr/>
          </p:nvGrpSpPr>
          <p:grpSpPr bwMode="auto">
            <a:xfrm>
              <a:off x="3184525" y="1532929"/>
              <a:ext cx="1385888" cy="1470025"/>
              <a:chOff x="2880" y="1344"/>
              <a:chExt cx="1089" cy="1154"/>
            </a:xfrm>
          </p:grpSpPr>
          <p:sp>
            <p:nvSpPr>
              <p:cNvPr id="36" name="Freeform 12"/>
              <p:cNvSpPr/>
              <p:nvPr/>
            </p:nvSpPr>
            <p:spPr bwMode="auto">
              <a:xfrm>
                <a:off x="2880" y="1344"/>
                <a:ext cx="1089" cy="768"/>
              </a:xfrm>
              <a:custGeom>
                <a:avLst/>
                <a:gdLst>
                  <a:gd name="T0" fmla="*/ 1089 w 1089"/>
                  <a:gd name="T1" fmla="*/ 225 h 768"/>
                  <a:gd name="T2" fmla="*/ 1089 w 1089"/>
                  <a:gd name="T3" fmla="*/ 225 h 768"/>
                  <a:gd name="T4" fmla="*/ 1035 w 1089"/>
                  <a:gd name="T5" fmla="*/ 199 h 768"/>
                  <a:gd name="T6" fmla="*/ 979 w 1089"/>
                  <a:gd name="T7" fmla="*/ 175 h 768"/>
                  <a:gd name="T8" fmla="*/ 921 w 1089"/>
                  <a:gd name="T9" fmla="*/ 153 h 768"/>
                  <a:gd name="T10" fmla="*/ 860 w 1089"/>
                  <a:gd name="T11" fmla="*/ 130 h 768"/>
                  <a:gd name="T12" fmla="*/ 798 w 1089"/>
                  <a:gd name="T13" fmla="*/ 111 h 768"/>
                  <a:gd name="T14" fmla="*/ 733 w 1089"/>
                  <a:gd name="T15" fmla="*/ 92 h 768"/>
                  <a:gd name="T16" fmla="*/ 667 w 1089"/>
                  <a:gd name="T17" fmla="*/ 75 h 768"/>
                  <a:gd name="T18" fmla="*/ 599 w 1089"/>
                  <a:gd name="T19" fmla="*/ 60 h 768"/>
                  <a:gd name="T20" fmla="*/ 529 w 1089"/>
                  <a:gd name="T21" fmla="*/ 46 h 768"/>
                  <a:gd name="T22" fmla="*/ 457 w 1089"/>
                  <a:gd name="T23" fmla="*/ 34 h 768"/>
                  <a:gd name="T24" fmla="*/ 385 w 1089"/>
                  <a:gd name="T25" fmla="*/ 23 h 768"/>
                  <a:gd name="T26" fmla="*/ 311 w 1089"/>
                  <a:gd name="T27" fmla="*/ 15 h 768"/>
                  <a:gd name="T28" fmla="*/ 234 w 1089"/>
                  <a:gd name="T29" fmla="*/ 9 h 768"/>
                  <a:gd name="T30" fmla="*/ 157 w 1089"/>
                  <a:gd name="T31" fmla="*/ 4 h 768"/>
                  <a:gd name="T32" fmla="*/ 79 w 1089"/>
                  <a:gd name="T33" fmla="*/ 1 h 768"/>
                  <a:gd name="T34" fmla="*/ 0 w 1089"/>
                  <a:gd name="T35" fmla="*/ 0 h 768"/>
                  <a:gd name="T36" fmla="*/ 0 w 1089"/>
                  <a:gd name="T37" fmla="*/ 768 h 768"/>
                  <a:gd name="T38" fmla="*/ 1089 w 1089"/>
                  <a:gd name="T39" fmla="*/ 22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9" h="768">
                    <a:moveTo>
                      <a:pt x="1089" y="225"/>
                    </a:moveTo>
                    <a:lnTo>
                      <a:pt x="1089" y="225"/>
                    </a:lnTo>
                    <a:lnTo>
                      <a:pt x="1035" y="199"/>
                    </a:lnTo>
                    <a:lnTo>
                      <a:pt x="979" y="175"/>
                    </a:lnTo>
                    <a:lnTo>
                      <a:pt x="921" y="153"/>
                    </a:lnTo>
                    <a:lnTo>
                      <a:pt x="860" y="130"/>
                    </a:lnTo>
                    <a:lnTo>
                      <a:pt x="798" y="111"/>
                    </a:lnTo>
                    <a:lnTo>
                      <a:pt x="733" y="92"/>
                    </a:lnTo>
                    <a:lnTo>
                      <a:pt x="667" y="75"/>
                    </a:lnTo>
                    <a:lnTo>
                      <a:pt x="599" y="60"/>
                    </a:lnTo>
                    <a:lnTo>
                      <a:pt x="529" y="46"/>
                    </a:lnTo>
                    <a:lnTo>
                      <a:pt x="457" y="34"/>
                    </a:lnTo>
                    <a:lnTo>
                      <a:pt x="385" y="23"/>
                    </a:lnTo>
                    <a:lnTo>
                      <a:pt x="311" y="15"/>
                    </a:lnTo>
                    <a:lnTo>
                      <a:pt x="234" y="9"/>
                    </a:lnTo>
                    <a:lnTo>
                      <a:pt x="157" y="4"/>
                    </a:lnTo>
                    <a:lnTo>
                      <a:pt x="79" y="1"/>
                    </a:lnTo>
                    <a:lnTo>
                      <a:pt x="0" y="0"/>
                    </a:lnTo>
                    <a:lnTo>
                      <a:pt x="0" y="768"/>
                    </a:lnTo>
                    <a:lnTo>
                      <a:pt x="1089" y="225"/>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37" name="Freeform 13"/>
              <p:cNvSpPr/>
              <p:nvPr/>
            </p:nvSpPr>
            <p:spPr bwMode="auto">
              <a:xfrm>
                <a:off x="2880" y="1569"/>
                <a:ext cx="1089" cy="929"/>
              </a:xfrm>
              <a:custGeom>
                <a:avLst/>
                <a:gdLst>
                  <a:gd name="T0" fmla="*/ 0 w 1089"/>
                  <a:gd name="T1" fmla="*/ 543 h 929"/>
                  <a:gd name="T2" fmla="*/ 1089 w 1089"/>
                  <a:gd name="T3" fmla="*/ 0 h 929"/>
                  <a:gd name="T4" fmla="*/ 1089 w 1089"/>
                  <a:gd name="T5" fmla="*/ 385 h 929"/>
                  <a:gd name="T6" fmla="*/ 0 w 1089"/>
                  <a:gd name="T7" fmla="*/ 929 h 929"/>
                  <a:gd name="T8" fmla="*/ 0 w 1089"/>
                  <a:gd name="T9" fmla="*/ 543 h 929"/>
                </a:gdLst>
                <a:ahLst/>
                <a:cxnLst>
                  <a:cxn ang="0">
                    <a:pos x="T0" y="T1"/>
                  </a:cxn>
                  <a:cxn ang="0">
                    <a:pos x="T2" y="T3"/>
                  </a:cxn>
                  <a:cxn ang="0">
                    <a:pos x="T4" y="T5"/>
                  </a:cxn>
                  <a:cxn ang="0">
                    <a:pos x="T6" y="T7"/>
                  </a:cxn>
                  <a:cxn ang="0">
                    <a:pos x="T8" y="T9"/>
                  </a:cxn>
                </a:cxnLst>
                <a:rect l="0" t="0" r="r" b="b"/>
                <a:pathLst>
                  <a:path w="1089" h="929">
                    <a:moveTo>
                      <a:pt x="0" y="543"/>
                    </a:moveTo>
                    <a:lnTo>
                      <a:pt x="1089" y="0"/>
                    </a:lnTo>
                    <a:lnTo>
                      <a:pt x="1089" y="385"/>
                    </a:lnTo>
                    <a:lnTo>
                      <a:pt x="0" y="929"/>
                    </a:lnTo>
                    <a:lnTo>
                      <a:pt x="0" y="543"/>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nvGrpSpPr>
            <p:cNvPr id="5" name="Group 14"/>
            <p:cNvGrpSpPr/>
            <p:nvPr/>
          </p:nvGrpSpPr>
          <p:grpSpPr bwMode="auto">
            <a:xfrm>
              <a:off x="1223963" y="1821854"/>
              <a:ext cx="1960563" cy="1182688"/>
              <a:chOff x="1341" y="1569"/>
              <a:chExt cx="1539" cy="929"/>
            </a:xfrm>
          </p:grpSpPr>
          <p:sp>
            <p:nvSpPr>
              <p:cNvPr id="34" name="Freeform 15"/>
              <p:cNvSpPr/>
              <p:nvPr/>
            </p:nvSpPr>
            <p:spPr bwMode="auto">
              <a:xfrm>
                <a:off x="1341" y="1569"/>
                <a:ext cx="1539" cy="543"/>
              </a:xfrm>
              <a:custGeom>
                <a:avLst/>
                <a:gdLst>
                  <a:gd name="T0" fmla="*/ 1539 w 1539"/>
                  <a:gd name="T1" fmla="*/ 543 h 543"/>
                  <a:gd name="T2" fmla="*/ 450 w 1539"/>
                  <a:gd name="T3" fmla="*/ 0 h 543"/>
                  <a:gd name="T4" fmla="*/ 450 w 1539"/>
                  <a:gd name="T5" fmla="*/ 0 h 543"/>
                  <a:gd name="T6" fmla="*/ 400 w 1539"/>
                  <a:gd name="T7" fmla="*/ 27 h 543"/>
                  <a:gd name="T8" fmla="*/ 351 w 1539"/>
                  <a:gd name="T9" fmla="*/ 55 h 543"/>
                  <a:gd name="T10" fmla="*/ 306 w 1539"/>
                  <a:gd name="T11" fmla="*/ 84 h 543"/>
                  <a:gd name="T12" fmla="*/ 263 w 1539"/>
                  <a:gd name="T13" fmla="*/ 114 h 543"/>
                  <a:gd name="T14" fmla="*/ 223 w 1539"/>
                  <a:gd name="T15" fmla="*/ 144 h 543"/>
                  <a:gd name="T16" fmla="*/ 186 w 1539"/>
                  <a:gd name="T17" fmla="*/ 177 h 543"/>
                  <a:gd name="T18" fmla="*/ 152 w 1539"/>
                  <a:gd name="T19" fmla="*/ 210 h 543"/>
                  <a:gd name="T20" fmla="*/ 121 w 1539"/>
                  <a:gd name="T21" fmla="*/ 245 h 543"/>
                  <a:gd name="T22" fmla="*/ 93 w 1539"/>
                  <a:gd name="T23" fmla="*/ 279 h 543"/>
                  <a:gd name="T24" fmla="*/ 80 w 1539"/>
                  <a:gd name="T25" fmla="*/ 298 h 543"/>
                  <a:gd name="T26" fmla="*/ 70 w 1539"/>
                  <a:gd name="T27" fmla="*/ 315 h 543"/>
                  <a:gd name="T28" fmla="*/ 58 w 1539"/>
                  <a:gd name="T29" fmla="*/ 333 h 543"/>
                  <a:gd name="T30" fmla="*/ 49 w 1539"/>
                  <a:gd name="T31" fmla="*/ 352 h 543"/>
                  <a:gd name="T32" fmla="*/ 39 w 1539"/>
                  <a:gd name="T33" fmla="*/ 370 h 543"/>
                  <a:gd name="T34" fmla="*/ 31 w 1539"/>
                  <a:gd name="T35" fmla="*/ 389 h 543"/>
                  <a:gd name="T36" fmla="*/ 23 w 1539"/>
                  <a:gd name="T37" fmla="*/ 407 h 543"/>
                  <a:gd name="T38" fmla="*/ 18 w 1539"/>
                  <a:gd name="T39" fmla="*/ 427 h 543"/>
                  <a:gd name="T40" fmla="*/ 13 w 1539"/>
                  <a:gd name="T41" fmla="*/ 445 h 543"/>
                  <a:gd name="T42" fmla="*/ 8 w 1539"/>
                  <a:gd name="T43" fmla="*/ 465 h 543"/>
                  <a:gd name="T44" fmla="*/ 5 w 1539"/>
                  <a:gd name="T45" fmla="*/ 485 h 543"/>
                  <a:gd name="T46" fmla="*/ 2 w 1539"/>
                  <a:gd name="T47" fmla="*/ 504 h 543"/>
                  <a:gd name="T48" fmla="*/ 1 w 1539"/>
                  <a:gd name="T49" fmla="*/ 523 h 543"/>
                  <a:gd name="T50" fmla="*/ 0 w 1539"/>
                  <a:gd name="T51" fmla="*/ 543 h 543"/>
                  <a:gd name="T52" fmla="*/ 1539 w 1539"/>
                  <a:gd name="T53"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9" h="543">
                    <a:moveTo>
                      <a:pt x="1539" y="543"/>
                    </a:moveTo>
                    <a:lnTo>
                      <a:pt x="450" y="0"/>
                    </a:lnTo>
                    <a:lnTo>
                      <a:pt x="450" y="0"/>
                    </a:lnTo>
                    <a:lnTo>
                      <a:pt x="400" y="27"/>
                    </a:lnTo>
                    <a:lnTo>
                      <a:pt x="351" y="55"/>
                    </a:lnTo>
                    <a:lnTo>
                      <a:pt x="306" y="84"/>
                    </a:lnTo>
                    <a:lnTo>
                      <a:pt x="263" y="114"/>
                    </a:lnTo>
                    <a:lnTo>
                      <a:pt x="223" y="144"/>
                    </a:lnTo>
                    <a:lnTo>
                      <a:pt x="186" y="177"/>
                    </a:lnTo>
                    <a:lnTo>
                      <a:pt x="152" y="210"/>
                    </a:lnTo>
                    <a:lnTo>
                      <a:pt x="121" y="245"/>
                    </a:lnTo>
                    <a:lnTo>
                      <a:pt x="93" y="279"/>
                    </a:lnTo>
                    <a:lnTo>
                      <a:pt x="80" y="298"/>
                    </a:lnTo>
                    <a:lnTo>
                      <a:pt x="70" y="315"/>
                    </a:lnTo>
                    <a:lnTo>
                      <a:pt x="58" y="333"/>
                    </a:lnTo>
                    <a:lnTo>
                      <a:pt x="49" y="352"/>
                    </a:lnTo>
                    <a:lnTo>
                      <a:pt x="39" y="370"/>
                    </a:lnTo>
                    <a:lnTo>
                      <a:pt x="31" y="389"/>
                    </a:lnTo>
                    <a:lnTo>
                      <a:pt x="23" y="407"/>
                    </a:lnTo>
                    <a:lnTo>
                      <a:pt x="18" y="427"/>
                    </a:lnTo>
                    <a:lnTo>
                      <a:pt x="13" y="445"/>
                    </a:lnTo>
                    <a:lnTo>
                      <a:pt x="8" y="465"/>
                    </a:lnTo>
                    <a:lnTo>
                      <a:pt x="5" y="485"/>
                    </a:lnTo>
                    <a:lnTo>
                      <a:pt x="2" y="504"/>
                    </a:lnTo>
                    <a:lnTo>
                      <a:pt x="1" y="523"/>
                    </a:lnTo>
                    <a:lnTo>
                      <a:pt x="0" y="543"/>
                    </a:lnTo>
                    <a:lnTo>
                      <a:pt x="1539" y="543"/>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35" name="Rectangle 16"/>
              <p:cNvSpPr>
                <a:spLocks noChangeArrowheads="1"/>
              </p:cNvSpPr>
              <p:nvPr/>
            </p:nvSpPr>
            <p:spPr bwMode="auto">
              <a:xfrm>
                <a:off x="1341" y="2112"/>
                <a:ext cx="1539" cy="386"/>
              </a:xfrm>
              <a:prstGeom prst="rect">
                <a:avLst/>
              </a:prstGeom>
              <a:solidFill>
                <a:srgbClr val="DDDDDD"/>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nvGrpSpPr>
            <p:cNvPr id="6" name="Group 17"/>
            <p:cNvGrpSpPr/>
            <p:nvPr/>
          </p:nvGrpSpPr>
          <p:grpSpPr bwMode="auto">
            <a:xfrm>
              <a:off x="3184525" y="1821854"/>
              <a:ext cx="1958975" cy="1182688"/>
              <a:chOff x="2880" y="1569"/>
              <a:chExt cx="1539" cy="929"/>
            </a:xfrm>
          </p:grpSpPr>
          <p:sp>
            <p:nvSpPr>
              <p:cNvPr id="32" name="Freeform 18"/>
              <p:cNvSpPr/>
              <p:nvPr/>
            </p:nvSpPr>
            <p:spPr bwMode="auto">
              <a:xfrm>
                <a:off x="2880" y="1569"/>
                <a:ext cx="1539" cy="543"/>
              </a:xfrm>
              <a:custGeom>
                <a:avLst/>
                <a:gdLst>
                  <a:gd name="T0" fmla="*/ 0 w 1539"/>
                  <a:gd name="T1" fmla="*/ 543 h 543"/>
                  <a:gd name="T2" fmla="*/ 1089 w 1539"/>
                  <a:gd name="T3" fmla="*/ 0 h 543"/>
                  <a:gd name="T4" fmla="*/ 1089 w 1539"/>
                  <a:gd name="T5" fmla="*/ 0 h 543"/>
                  <a:gd name="T6" fmla="*/ 1139 w 1539"/>
                  <a:gd name="T7" fmla="*/ 27 h 543"/>
                  <a:gd name="T8" fmla="*/ 1188 w 1539"/>
                  <a:gd name="T9" fmla="*/ 55 h 543"/>
                  <a:gd name="T10" fmla="*/ 1233 w 1539"/>
                  <a:gd name="T11" fmla="*/ 84 h 543"/>
                  <a:gd name="T12" fmla="*/ 1276 w 1539"/>
                  <a:gd name="T13" fmla="*/ 114 h 543"/>
                  <a:gd name="T14" fmla="*/ 1316 w 1539"/>
                  <a:gd name="T15" fmla="*/ 144 h 543"/>
                  <a:gd name="T16" fmla="*/ 1353 w 1539"/>
                  <a:gd name="T17" fmla="*/ 177 h 543"/>
                  <a:gd name="T18" fmla="*/ 1387 w 1539"/>
                  <a:gd name="T19" fmla="*/ 210 h 543"/>
                  <a:gd name="T20" fmla="*/ 1418 w 1539"/>
                  <a:gd name="T21" fmla="*/ 245 h 543"/>
                  <a:gd name="T22" fmla="*/ 1446 w 1539"/>
                  <a:gd name="T23" fmla="*/ 279 h 543"/>
                  <a:gd name="T24" fmla="*/ 1459 w 1539"/>
                  <a:gd name="T25" fmla="*/ 298 h 543"/>
                  <a:gd name="T26" fmla="*/ 1469 w 1539"/>
                  <a:gd name="T27" fmla="*/ 315 h 543"/>
                  <a:gd name="T28" fmla="*/ 1481 w 1539"/>
                  <a:gd name="T29" fmla="*/ 333 h 543"/>
                  <a:gd name="T30" fmla="*/ 1490 w 1539"/>
                  <a:gd name="T31" fmla="*/ 352 h 543"/>
                  <a:gd name="T32" fmla="*/ 1500 w 1539"/>
                  <a:gd name="T33" fmla="*/ 370 h 543"/>
                  <a:gd name="T34" fmla="*/ 1508 w 1539"/>
                  <a:gd name="T35" fmla="*/ 389 h 543"/>
                  <a:gd name="T36" fmla="*/ 1516 w 1539"/>
                  <a:gd name="T37" fmla="*/ 407 h 543"/>
                  <a:gd name="T38" fmla="*/ 1521 w 1539"/>
                  <a:gd name="T39" fmla="*/ 427 h 543"/>
                  <a:gd name="T40" fmla="*/ 1526 w 1539"/>
                  <a:gd name="T41" fmla="*/ 445 h 543"/>
                  <a:gd name="T42" fmla="*/ 1531 w 1539"/>
                  <a:gd name="T43" fmla="*/ 465 h 543"/>
                  <a:gd name="T44" fmla="*/ 1534 w 1539"/>
                  <a:gd name="T45" fmla="*/ 485 h 543"/>
                  <a:gd name="T46" fmla="*/ 1537 w 1539"/>
                  <a:gd name="T47" fmla="*/ 504 h 543"/>
                  <a:gd name="T48" fmla="*/ 1538 w 1539"/>
                  <a:gd name="T49" fmla="*/ 523 h 543"/>
                  <a:gd name="T50" fmla="*/ 1539 w 1539"/>
                  <a:gd name="T51" fmla="*/ 543 h 543"/>
                  <a:gd name="T52" fmla="*/ 0 w 1539"/>
                  <a:gd name="T53"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9" h="543">
                    <a:moveTo>
                      <a:pt x="0" y="543"/>
                    </a:moveTo>
                    <a:lnTo>
                      <a:pt x="1089" y="0"/>
                    </a:lnTo>
                    <a:lnTo>
                      <a:pt x="1089" y="0"/>
                    </a:lnTo>
                    <a:lnTo>
                      <a:pt x="1139" y="27"/>
                    </a:lnTo>
                    <a:lnTo>
                      <a:pt x="1188" y="55"/>
                    </a:lnTo>
                    <a:lnTo>
                      <a:pt x="1233" y="84"/>
                    </a:lnTo>
                    <a:lnTo>
                      <a:pt x="1276" y="114"/>
                    </a:lnTo>
                    <a:lnTo>
                      <a:pt x="1316" y="144"/>
                    </a:lnTo>
                    <a:lnTo>
                      <a:pt x="1353" y="177"/>
                    </a:lnTo>
                    <a:lnTo>
                      <a:pt x="1387" y="210"/>
                    </a:lnTo>
                    <a:lnTo>
                      <a:pt x="1418" y="245"/>
                    </a:lnTo>
                    <a:lnTo>
                      <a:pt x="1446" y="279"/>
                    </a:lnTo>
                    <a:lnTo>
                      <a:pt x="1459" y="298"/>
                    </a:lnTo>
                    <a:lnTo>
                      <a:pt x="1469" y="315"/>
                    </a:lnTo>
                    <a:lnTo>
                      <a:pt x="1481" y="333"/>
                    </a:lnTo>
                    <a:lnTo>
                      <a:pt x="1490" y="352"/>
                    </a:lnTo>
                    <a:lnTo>
                      <a:pt x="1500" y="370"/>
                    </a:lnTo>
                    <a:lnTo>
                      <a:pt x="1508" y="389"/>
                    </a:lnTo>
                    <a:lnTo>
                      <a:pt x="1516" y="407"/>
                    </a:lnTo>
                    <a:lnTo>
                      <a:pt x="1521" y="427"/>
                    </a:lnTo>
                    <a:lnTo>
                      <a:pt x="1526" y="445"/>
                    </a:lnTo>
                    <a:lnTo>
                      <a:pt x="1531" y="465"/>
                    </a:lnTo>
                    <a:lnTo>
                      <a:pt x="1534" y="485"/>
                    </a:lnTo>
                    <a:lnTo>
                      <a:pt x="1537" y="504"/>
                    </a:lnTo>
                    <a:lnTo>
                      <a:pt x="1538" y="523"/>
                    </a:lnTo>
                    <a:lnTo>
                      <a:pt x="1539" y="543"/>
                    </a:lnTo>
                    <a:lnTo>
                      <a:pt x="0" y="543"/>
                    </a:lnTo>
                    <a:close/>
                  </a:path>
                </a:pathLst>
              </a:custGeom>
              <a:solidFill>
                <a:schemeClr val="tx2">
                  <a:lumMod val="20000"/>
                  <a:lumOff val="80000"/>
                </a:schemeClr>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33" name="Rectangle 19"/>
              <p:cNvSpPr>
                <a:spLocks noChangeArrowheads="1"/>
              </p:cNvSpPr>
              <p:nvPr/>
            </p:nvSpPr>
            <p:spPr bwMode="auto">
              <a:xfrm>
                <a:off x="2880" y="2112"/>
                <a:ext cx="1539" cy="386"/>
              </a:xfrm>
              <a:prstGeom prst="rect">
                <a:avLst/>
              </a:prstGeom>
              <a:solidFill>
                <a:srgbClr val="B2B2B2"/>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nvGrpSpPr>
            <p:cNvPr id="7" name="Group 20"/>
            <p:cNvGrpSpPr/>
            <p:nvPr/>
          </p:nvGrpSpPr>
          <p:grpSpPr bwMode="auto">
            <a:xfrm>
              <a:off x="1223963" y="2515592"/>
              <a:ext cx="1960563" cy="1184275"/>
              <a:chOff x="1341" y="2112"/>
              <a:chExt cx="1539" cy="929"/>
            </a:xfrm>
          </p:grpSpPr>
          <p:sp>
            <p:nvSpPr>
              <p:cNvPr id="29" name="Freeform 21"/>
              <p:cNvSpPr/>
              <p:nvPr/>
            </p:nvSpPr>
            <p:spPr bwMode="auto">
              <a:xfrm>
                <a:off x="1341" y="2112"/>
                <a:ext cx="1539" cy="544"/>
              </a:xfrm>
              <a:custGeom>
                <a:avLst/>
                <a:gdLst>
                  <a:gd name="T0" fmla="*/ 1539 w 1539"/>
                  <a:gd name="T1" fmla="*/ 0 h 544"/>
                  <a:gd name="T2" fmla="*/ 450 w 1539"/>
                  <a:gd name="T3" fmla="*/ 544 h 544"/>
                  <a:gd name="T4" fmla="*/ 450 w 1539"/>
                  <a:gd name="T5" fmla="*/ 544 h 544"/>
                  <a:gd name="T6" fmla="*/ 400 w 1539"/>
                  <a:gd name="T7" fmla="*/ 518 h 544"/>
                  <a:gd name="T8" fmla="*/ 351 w 1539"/>
                  <a:gd name="T9" fmla="*/ 490 h 544"/>
                  <a:gd name="T10" fmla="*/ 306 w 1539"/>
                  <a:gd name="T11" fmla="*/ 461 h 544"/>
                  <a:gd name="T12" fmla="*/ 263 w 1539"/>
                  <a:gd name="T13" fmla="*/ 431 h 544"/>
                  <a:gd name="T14" fmla="*/ 223 w 1539"/>
                  <a:gd name="T15" fmla="*/ 399 h 544"/>
                  <a:gd name="T16" fmla="*/ 186 w 1539"/>
                  <a:gd name="T17" fmla="*/ 367 h 544"/>
                  <a:gd name="T18" fmla="*/ 152 w 1539"/>
                  <a:gd name="T19" fmla="*/ 334 h 544"/>
                  <a:gd name="T20" fmla="*/ 121 w 1539"/>
                  <a:gd name="T21" fmla="*/ 300 h 544"/>
                  <a:gd name="T22" fmla="*/ 93 w 1539"/>
                  <a:gd name="T23" fmla="*/ 266 h 544"/>
                  <a:gd name="T24" fmla="*/ 80 w 1539"/>
                  <a:gd name="T25" fmla="*/ 247 h 544"/>
                  <a:gd name="T26" fmla="*/ 70 w 1539"/>
                  <a:gd name="T27" fmla="*/ 230 h 544"/>
                  <a:gd name="T28" fmla="*/ 58 w 1539"/>
                  <a:gd name="T29" fmla="*/ 211 h 544"/>
                  <a:gd name="T30" fmla="*/ 49 w 1539"/>
                  <a:gd name="T31" fmla="*/ 193 h 544"/>
                  <a:gd name="T32" fmla="*/ 39 w 1539"/>
                  <a:gd name="T33" fmla="*/ 175 h 544"/>
                  <a:gd name="T34" fmla="*/ 31 w 1539"/>
                  <a:gd name="T35" fmla="*/ 156 h 544"/>
                  <a:gd name="T36" fmla="*/ 23 w 1539"/>
                  <a:gd name="T37" fmla="*/ 136 h 544"/>
                  <a:gd name="T38" fmla="*/ 18 w 1539"/>
                  <a:gd name="T39" fmla="*/ 118 h 544"/>
                  <a:gd name="T40" fmla="*/ 13 w 1539"/>
                  <a:gd name="T41" fmla="*/ 99 h 544"/>
                  <a:gd name="T42" fmla="*/ 8 w 1539"/>
                  <a:gd name="T43" fmla="*/ 79 h 544"/>
                  <a:gd name="T44" fmla="*/ 5 w 1539"/>
                  <a:gd name="T45" fmla="*/ 60 h 544"/>
                  <a:gd name="T46" fmla="*/ 2 w 1539"/>
                  <a:gd name="T47" fmla="*/ 40 h 544"/>
                  <a:gd name="T48" fmla="*/ 1 w 1539"/>
                  <a:gd name="T49" fmla="*/ 20 h 544"/>
                  <a:gd name="T50" fmla="*/ 0 w 1539"/>
                  <a:gd name="T51" fmla="*/ 0 h 544"/>
                  <a:gd name="T52" fmla="*/ 1539 w 1539"/>
                  <a:gd name="T5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9" h="544">
                    <a:moveTo>
                      <a:pt x="1539" y="0"/>
                    </a:moveTo>
                    <a:lnTo>
                      <a:pt x="450" y="544"/>
                    </a:lnTo>
                    <a:lnTo>
                      <a:pt x="450" y="544"/>
                    </a:lnTo>
                    <a:lnTo>
                      <a:pt x="400" y="518"/>
                    </a:lnTo>
                    <a:lnTo>
                      <a:pt x="351" y="490"/>
                    </a:lnTo>
                    <a:lnTo>
                      <a:pt x="306" y="461"/>
                    </a:lnTo>
                    <a:lnTo>
                      <a:pt x="263" y="431"/>
                    </a:lnTo>
                    <a:lnTo>
                      <a:pt x="223" y="399"/>
                    </a:lnTo>
                    <a:lnTo>
                      <a:pt x="186" y="367"/>
                    </a:lnTo>
                    <a:lnTo>
                      <a:pt x="152" y="334"/>
                    </a:lnTo>
                    <a:lnTo>
                      <a:pt x="121" y="300"/>
                    </a:lnTo>
                    <a:lnTo>
                      <a:pt x="93" y="266"/>
                    </a:lnTo>
                    <a:lnTo>
                      <a:pt x="80" y="247"/>
                    </a:lnTo>
                    <a:lnTo>
                      <a:pt x="70" y="230"/>
                    </a:lnTo>
                    <a:lnTo>
                      <a:pt x="58" y="211"/>
                    </a:lnTo>
                    <a:lnTo>
                      <a:pt x="49" y="193"/>
                    </a:lnTo>
                    <a:lnTo>
                      <a:pt x="39" y="175"/>
                    </a:lnTo>
                    <a:lnTo>
                      <a:pt x="31" y="156"/>
                    </a:lnTo>
                    <a:lnTo>
                      <a:pt x="23" y="136"/>
                    </a:lnTo>
                    <a:lnTo>
                      <a:pt x="18" y="118"/>
                    </a:lnTo>
                    <a:lnTo>
                      <a:pt x="13" y="99"/>
                    </a:lnTo>
                    <a:lnTo>
                      <a:pt x="8" y="79"/>
                    </a:lnTo>
                    <a:lnTo>
                      <a:pt x="5" y="60"/>
                    </a:lnTo>
                    <a:lnTo>
                      <a:pt x="2" y="40"/>
                    </a:lnTo>
                    <a:lnTo>
                      <a:pt x="1" y="20"/>
                    </a:lnTo>
                    <a:lnTo>
                      <a:pt x="0" y="0"/>
                    </a:lnTo>
                    <a:lnTo>
                      <a:pt x="1539" y="0"/>
                    </a:lnTo>
                    <a:close/>
                  </a:path>
                </a:pathLst>
              </a:custGeom>
              <a:solidFill>
                <a:schemeClr val="bg1"/>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30" name="Freeform 22"/>
              <p:cNvSpPr/>
              <p:nvPr/>
            </p:nvSpPr>
            <p:spPr bwMode="auto">
              <a:xfrm>
                <a:off x="1341" y="2112"/>
                <a:ext cx="450" cy="929"/>
              </a:xfrm>
              <a:custGeom>
                <a:avLst/>
                <a:gdLst>
                  <a:gd name="T0" fmla="*/ 450 w 450"/>
                  <a:gd name="T1" fmla="*/ 544 h 929"/>
                  <a:gd name="T2" fmla="*/ 450 w 450"/>
                  <a:gd name="T3" fmla="*/ 544 h 929"/>
                  <a:gd name="T4" fmla="*/ 400 w 450"/>
                  <a:gd name="T5" fmla="*/ 518 h 929"/>
                  <a:gd name="T6" fmla="*/ 351 w 450"/>
                  <a:gd name="T7" fmla="*/ 490 h 929"/>
                  <a:gd name="T8" fmla="*/ 306 w 450"/>
                  <a:gd name="T9" fmla="*/ 461 h 929"/>
                  <a:gd name="T10" fmla="*/ 263 w 450"/>
                  <a:gd name="T11" fmla="*/ 431 h 929"/>
                  <a:gd name="T12" fmla="*/ 223 w 450"/>
                  <a:gd name="T13" fmla="*/ 399 h 929"/>
                  <a:gd name="T14" fmla="*/ 186 w 450"/>
                  <a:gd name="T15" fmla="*/ 367 h 929"/>
                  <a:gd name="T16" fmla="*/ 152 w 450"/>
                  <a:gd name="T17" fmla="*/ 334 h 929"/>
                  <a:gd name="T18" fmla="*/ 121 w 450"/>
                  <a:gd name="T19" fmla="*/ 300 h 929"/>
                  <a:gd name="T20" fmla="*/ 93 w 450"/>
                  <a:gd name="T21" fmla="*/ 266 h 929"/>
                  <a:gd name="T22" fmla="*/ 80 w 450"/>
                  <a:gd name="T23" fmla="*/ 247 h 929"/>
                  <a:gd name="T24" fmla="*/ 70 w 450"/>
                  <a:gd name="T25" fmla="*/ 230 h 929"/>
                  <a:gd name="T26" fmla="*/ 58 w 450"/>
                  <a:gd name="T27" fmla="*/ 211 h 929"/>
                  <a:gd name="T28" fmla="*/ 49 w 450"/>
                  <a:gd name="T29" fmla="*/ 193 h 929"/>
                  <a:gd name="T30" fmla="*/ 39 w 450"/>
                  <a:gd name="T31" fmla="*/ 175 h 929"/>
                  <a:gd name="T32" fmla="*/ 31 w 450"/>
                  <a:gd name="T33" fmla="*/ 156 h 929"/>
                  <a:gd name="T34" fmla="*/ 23 w 450"/>
                  <a:gd name="T35" fmla="*/ 136 h 929"/>
                  <a:gd name="T36" fmla="*/ 18 w 450"/>
                  <a:gd name="T37" fmla="*/ 118 h 929"/>
                  <a:gd name="T38" fmla="*/ 13 w 450"/>
                  <a:gd name="T39" fmla="*/ 99 h 929"/>
                  <a:gd name="T40" fmla="*/ 8 w 450"/>
                  <a:gd name="T41" fmla="*/ 79 h 929"/>
                  <a:gd name="T42" fmla="*/ 5 w 450"/>
                  <a:gd name="T43" fmla="*/ 60 h 929"/>
                  <a:gd name="T44" fmla="*/ 2 w 450"/>
                  <a:gd name="T45" fmla="*/ 40 h 929"/>
                  <a:gd name="T46" fmla="*/ 1 w 450"/>
                  <a:gd name="T47" fmla="*/ 20 h 929"/>
                  <a:gd name="T48" fmla="*/ 0 w 450"/>
                  <a:gd name="T49" fmla="*/ 0 h 929"/>
                  <a:gd name="T50" fmla="*/ 0 w 450"/>
                  <a:gd name="T51" fmla="*/ 386 h 929"/>
                  <a:gd name="T52" fmla="*/ 0 w 450"/>
                  <a:gd name="T53" fmla="*/ 386 h 929"/>
                  <a:gd name="T54" fmla="*/ 1 w 450"/>
                  <a:gd name="T55" fmla="*/ 406 h 929"/>
                  <a:gd name="T56" fmla="*/ 2 w 450"/>
                  <a:gd name="T57" fmla="*/ 425 h 929"/>
                  <a:gd name="T58" fmla="*/ 5 w 450"/>
                  <a:gd name="T59" fmla="*/ 444 h 929"/>
                  <a:gd name="T60" fmla="*/ 8 w 450"/>
                  <a:gd name="T61" fmla="*/ 464 h 929"/>
                  <a:gd name="T62" fmla="*/ 13 w 450"/>
                  <a:gd name="T63" fmla="*/ 484 h 929"/>
                  <a:gd name="T64" fmla="*/ 18 w 450"/>
                  <a:gd name="T65" fmla="*/ 502 h 929"/>
                  <a:gd name="T66" fmla="*/ 23 w 450"/>
                  <a:gd name="T67" fmla="*/ 522 h 929"/>
                  <a:gd name="T68" fmla="*/ 31 w 450"/>
                  <a:gd name="T69" fmla="*/ 540 h 929"/>
                  <a:gd name="T70" fmla="*/ 39 w 450"/>
                  <a:gd name="T71" fmla="*/ 559 h 929"/>
                  <a:gd name="T72" fmla="*/ 49 w 450"/>
                  <a:gd name="T73" fmla="*/ 577 h 929"/>
                  <a:gd name="T74" fmla="*/ 58 w 450"/>
                  <a:gd name="T75" fmla="*/ 596 h 929"/>
                  <a:gd name="T76" fmla="*/ 70 w 450"/>
                  <a:gd name="T77" fmla="*/ 614 h 929"/>
                  <a:gd name="T78" fmla="*/ 80 w 450"/>
                  <a:gd name="T79" fmla="*/ 631 h 929"/>
                  <a:gd name="T80" fmla="*/ 93 w 450"/>
                  <a:gd name="T81" fmla="*/ 650 h 929"/>
                  <a:gd name="T82" fmla="*/ 121 w 450"/>
                  <a:gd name="T83" fmla="*/ 684 h 929"/>
                  <a:gd name="T84" fmla="*/ 152 w 450"/>
                  <a:gd name="T85" fmla="*/ 719 h 929"/>
                  <a:gd name="T86" fmla="*/ 186 w 450"/>
                  <a:gd name="T87" fmla="*/ 752 h 929"/>
                  <a:gd name="T88" fmla="*/ 223 w 450"/>
                  <a:gd name="T89" fmla="*/ 785 h 929"/>
                  <a:gd name="T90" fmla="*/ 263 w 450"/>
                  <a:gd name="T91" fmla="*/ 815 h 929"/>
                  <a:gd name="T92" fmla="*/ 306 w 450"/>
                  <a:gd name="T93" fmla="*/ 845 h 929"/>
                  <a:gd name="T94" fmla="*/ 351 w 450"/>
                  <a:gd name="T95" fmla="*/ 874 h 929"/>
                  <a:gd name="T96" fmla="*/ 400 w 450"/>
                  <a:gd name="T97" fmla="*/ 902 h 929"/>
                  <a:gd name="T98" fmla="*/ 450 w 450"/>
                  <a:gd name="T99" fmla="*/ 929 h 929"/>
                  <a:gd name="T100" fmla="*/ 450 w 450"/>
                  <a:gd name="T101" fmla="*/ 544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0" h="929">
                    <a:moveTo>
                      <a:pt x="450" y="544"/>
                    </a:moveTo>
                    <a:lnTo>
                      <a:pt x="450" y="544"/>
                    </a:lnTo>
                    <a:lnTo>
                      <a:pt x="400" y="518"/>
                    </a:lnTo>
                    <a:lnTo>
                      <a:pt x="351" y="490"/>
                    </a:lnTo>
                    <a:lnTo>
                      <a:pt x="306" y="461"/>
                    </a:lnTo>
                    <a:lnTo>
                      <a:pt x="263" y="431"/>
                    </a:lnTo>
                    <a:lnTo>
                      <a:pt x="223" y="399"/>
                    </a:lnTo>
                    <a:lnTo>
                      <a:pt x="186" y="367"/>
                    </a:lnTo>
                    <a:lnTo>
                      <a:pt x="152" y="334"/>
                    </a:lnTo>
                    <a:lnTo>
                      <a:pt x="121" y="300"/>
                    </a:lnTo>
                    <a:lnTo>
                      <a:pt x="93" y="266"/>
                    </a:lnTo>
                    <a:lnTo>
                      <a:pt x="80" y="247"/>
                    </a:lnTo>
                    <a:lnTo>
                      <a:pt x="70" y="230"/>
                    </a:lnTo>
                    <a:lnTo>
                      <a:pt x="58" y="211"/>
                    </a:lnTo>
                    <a:lnTo>
                      <a:pt x="49" y="193"/>
                    </a:lnTo>
                    <a:lnTo>
                      <a:pt x="39" y="175"/>
                    </a:lnTo>
                    <a:lnTo>
                      <a:pt x="31" y="156"/>
                    </a:lnTo>
                    <a:lnTo>
                      <a:pt x="23" y="136"/>
                    </a:lnTo>
                    <a:lnTo>
                      <a:pt x="18" y="118"/>
                    </a:lnTo>
                    <a:lnTo>
                      <a:pt x="13" y="99"/>
                    </a:lnTo>
                    <a:lnTo>
                      <a:pt x="8" y="79"/>
                    </a:lnTo>
                    <a:lnTo>
                      <a:pt x="5" y="60"/>
                    </a:lnTo>
                    <a:lnTo>
                      <a:pt x="2" y="40"/>
                    </a:lnTo>
                    <a:lnTo>
                      <a:pt x="1" y="20"/>
                    </a:lnTo>
                    <a:lnTo>
                      <a:pt x="0" y="0"/>
                    </a:lnTo>
                    <a:lnTo>
                      <a:pt x="0" y="386"/>
                    </a:lnTo>
                    <a:lnTo>
                      <a:pt x="0" y="386"/>
                    </a:lnTo>
                    <a:lnTo>
                      <a:pt x="1" y="406"/>
                    </a:lnTo>
                    <a:lnTo>
                      <a:pt x="2" y="425"/>
                    </a:lnTo>
                    <a:lnTo>
                      <a:pt x="5" y="444"/>
                    </a:lnTo>
                    <a:lnTo>
                      <a:pt x="8" y="464"/>
                    </a:lnTo>
                    <a:lnTo>
                      <a:pt x="13" y="484"/>
                    </a:lnTo>
                    <a:lnTo>
                      <a:pt x="18" y="502"/>
                    </a:lnTo>
                    <a:lnTo>
                      <a:pt x="23" y="522"/>
                    </a:lnTo>
                    <a:lnTo>
                      <a:pt x="31" y="540"/>
                    </a:lnTo>
                    <a:lnTo>
                      <a:pt x="39" y="559"/>
                    </a:lnTo>
                    <a:lnTo>
                      <a:pt x="49" y="577"/>
                    </a:lnTo>
                    <a:lnTo>
                      <a:pt x="58" y="596"/>
                    </a:lnTo>
                    <a:lnTo>
                      <a:pt x="70" y="614"/>
                    </a:lnTo>
                    <a:lnTo>
                      <a:pt x="80" y="631"/>
                    </a:lnTo>
                    <a:lnTo>
                      <a:pt x="93" y="650"/>
                    </a:lnTo>
                    <a:lnTo>
                      <a:pt x="121" y="684"/>
                    </a:lnTo>
                    <a:lnTo>
                      <a:pt x="152" y="719"/>
                    </a:lnTo>
                    <a:lnTo>
                      <a:pt x="186" y="752"/>
                    </a:lnTo>
                    <a:lnTo>
                      <a:pt x="223" y="785"/>
                    </a:lnTo>
                    <a:lnTo>
                      <a:pt x="263" y="815"/>
                    </a:lnTo>
                    <a:lnTo>
                      <a:pt x="306" y="845"/>
                    </a:lnTo>
                    <a:lnTo>
                      <a:pt x="351" y="874"/>
                    </a:lnTo>
                    <a:lnTo>
                      <a:pt x="400" y="902"/>
                    </a:lnTo>
                    <a:lnTo>
                      <a:pt x="450" y="929"/>
                    </a:lnTo>
                    <a:lnTo>
                      <a:pt x="450" y="544"/>
                    </a:lnTo>
                    <a:close/>
                  </a:path>
                </a:pathLst>
              </a:custGeom>
              <a:solidFill>
                <a:srgbClr val="C0C0C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31" name="Freeform 23"/>
              <p:cNvSpPr/>
              <p:nvPr/>
            </p:nvSpPr>
            <p:spPr bwMode="auto">
              <a:xfrm>
                <a:off x="1791" y="2112"/>
                <a:ext cx="1089" cy="929"/>
              </a:xfrm>
              <a:custGeom>
                <a:avLst/>
                <a:gdLst>
                  <a:gd name="T0" fmla="*/ 1089 w 1089"/>
                  <a:gd name="T1" fmla="*/ 386 h 929"/>
                  <a:gd name="T2" fmla="*/ 0 w 1089"/>
                  <a:gd name="T3" fmla="*/ 929 h 929"/>
                  <a:gd name="T4" fmla="*/ 0 w 1089"/>
                  <a:gd name="T5" fmla="*/ 544 h 929"/>
                  <a:gd name="T6" fmla="*/ 1089 w 1089"/>
                  <a:gd name="T7" fmla="*/ 0 h 929"/>
                  <a:gd name="T8" fmla="*/ 1089 w 1089"/>
                  <a:gd name="T9" fmla="*/ 386 h 929"/>
                </a:gdLst>
                <a:ahLst/>
                <a:cxnLst>
                  <a:cxn ang="0">
                    <a:pos x="T0" y="T1"/>
                  </a:cxn>
                  <a:cxn ang="0">
                    <a:pos x="T2" y="T3"/>
                  </a:cxn>
                  <a:cxn ang="0">
                    <a:pos x="T4" y="T5"/>
                  </a:cxn>
                  <a:cxn ang="0">
                    <a:pos x="T6" y="T7"/>
                  </a:cxn>
                  <a:cxn ang="0">
                    <a:pos x="T8" y="T9"/>
                  </a:cxn>
                </a:cxnLst>
                <a:rect l="0" t="0" r="r" b="b"/>
                <a:pathLst>
                  <a:path w="1089" h="929">
                    <a:moveTo>
                      <a:pt x="1089" y="386"/>
                    </a:moveTo>
                    <a:lnTo>
                      <a:pt x="0" y="929"/>
                    </a:lnTo>
                    <a:lnTo>
                      <a:pt x="0" y="544"/>
                    </a:lnTo>
                    <a:lnTo>
                      <a:pt x="1089" y="0"/>
                    </a:lnTo>
                    <a:lnTo>
                      <a:pt x="1089" y="386"/>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grpSp>
          <p:nvGrpSpPr>
            <p:cNvPr id="10" name="Group 31"/>
            <p:cNvGrpSpPr/>
            <p:nvPr/>
          </p:nvGrpSpPr>
          <p:grpSpPr bwMode="auto">
            <a:xfrm>
              <a:off x="1797050" y="2515592"/>
              <a:ext cx="1387475" cy="1470025"/>
              <a:chOff x="1791" y="2112"/>
              <a:chExt cx="1089" cy="1154"/>
            </a:xfrm>
          </p:grpSpPr>
          <p:sp>
            <p:nvSpPr>
              <p:cNvPr id="22" name="Freeform 32"/>
              <p:cNvSpPr/>
              <p:nvPr/>
            </p:nvSpPr>
            <p:spPr bwMode="auto">
              <a:xfrm>
                <a:off x="1791" y="2112"/>
                <a:ext cx="1089" cy="770"/>
              </a:xfrm>
              <a:custGeom>
                <a:avLst/>
                <a:gdLst>
                  <a:gd name="T0" fmla="*/ 0 w 1089"/>
                  <a:gd name="T1" fmla="*/ 544 h 770"/>
                  <a:gd name="T2" fmla="*/ 0 w 1089"/>
                  <a:gd name="T3" fmla="*/ 544 h 770"/>
                  <a:gd name="T4" fmla="*/ 54 w 1089"/>
                  <a:gd name="T5" fmla="*/ 571 h 770"/>
                  <a:gd name="T6" fmla="*/ 110 w 1089"/>
                  <a:gd name="T7" fmla="*/ 594 h 770"/>
                  <a:gd name="T8" fmla="*/ 168 w 1089"/>
                  <a:gd name="T9" fmla="*/ 617 h 770"/>
                  <a:gd name="T10" fmla="*/ 229 w 1089"/>
                  <a:gd name="T11" fmla="*/ 638 h 770"/>
                  <a:gd name="T12" fmla="*/ 291 w 1089"/>
                  <a:gd name="T13" fmla="*/ 658 h 770"/>
                  <a:gd name="T14" fmla="*/ 356 w 1089"/>
                  <a:gd name="T15" fmla="*/ 678 h 770"/>
                  <a:gd name="T16" fmla="*/ 422 w 1089"/>
                  <a:gd name="T17" fmla="*/ 693 h 770"/>
                  <a:gd name="T18" fmla="*/ 490 w 1089"/>
                  <a:gd name="T19" fmla="*/ 709 h 770"/>
                  <a:gd name="T20" fmla="*/ 560 w 1089"/>
                  <a:gd name="T21" fmla="*/ 723 h 770"/>
                  <a:gd name="T22" fmla="*/ 632 w 1089"/>
                  <a:gd name="T23" fmla="*/ 736 h 770"/>
                  <a:gd name="T24" fmla="*/ 704 w 1089"/>
                  <a:gd name="T25" fmla="*/ 745 h 770"/>
                  <a:gd name="T26" fmla="*/ 778 w 1089"/>
                  <a:gd name="T27" fmla="*/ 754 h 770"/>
                  <a:gd name="T28" fmla="*/ 855 w 1089"/>
                  <a:gd name="T29" fmla="*/ 761 h 770"/>
                  <a:gd name="T30" fmla="*/ 932 w 1089"/>
                  <a:gd name="T31" fmla="*/ 766 h 770"/>
                  <a:gd name="T32" fmla="*/ 1010 w 1089"/>
                  <a:gd name="T33" fmla="*/ 769 h 770"/>
                  <a:gd name="T34" fmla="*/ 1089 w 1089"/>
                  <a:gd name="T35" fmla="*/ 770 h 770"/>
                  <a:gd name="T36" fmla="*/ 1089 w 1089"/>
                  <a:gd name="T37" fmla="*/ 0 h 770"/>
                  <a:gd name="T38" fmla="*/ 0 w 1089"/>
                  <a:gd name="T39" fmla="*/ 544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9" h="770">
                    <a:moveTo>
                      <a:pt x="0" y="544"/>
                    </a:moveTo>
                    <a:lnTo>
                      <a:pt x="0" y="544"/>
                    </a:lnTo>
                    <a:lnTo>
                      <a:pt x="54" y="571"/>
                    </a:lnTo>
                    <a:lnTo>
                      <a:pt x="110" y="594"/>
                    </a:lnTo>
                    <a:lnTo>
                      <a:pt x="168" y="617"/>
                    </a:lnTo>
                    <a:lnTo>
                      <a:pt x="229" y="638"/>
                    </a:lnTo>
                    <a:lnTo>
                      <a:pt x="291" y="658"/>
                    </a:lnTo>
                    <a:lnTo>
                      <a:pt x="356" y="678"/>
                    </a:lnTo>
                    <a:lnTo>
                      <a:pt x="422" y="693"/>
                    </a:lnTo>
                    <a:lnTo>
                      <a:pt x="490" y="709"/>
                    </a:lnTo>
                    <a:lnTo>
                      <a:pt x="560" y="723"/>
                    </a:lnTo>
                    <a:lnTo>
                      <a:pt x="632" y="736"/>
                    </a:lnTo>
                    <a:lnTo>
                      <a:pt x="704" y="745"/>
                    </a:lnTo>
                    <a:lnTo>
                      <a:pt x="778" y="754"/>
                    </a:lnTo>
                    <a:lnTo>
                      <a:pt x="855" y="761"/>
                    </a:lnTo>
                    <a:lnTo>
                      <a:pt x="932" y="766"/>
                    </a:lnTo>
                    <a:lnTo>
                      <a:pt x="1010" y="769"/>
                    </a:lnTo>
                    <a:lnTo>
                      <a:pt x="1089" y="770"/>
                    </a:lnTo>
                    <a:lnTo>
                      <a:pt x="1089" y="0"/>
                    </a:lnTo>
                    <a:lnTo>
                      <a:pt x="0" y="544"/>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23" name="Freeform 33"/>
              <p:cNvSpPr/>
              <p:nvPr/>
            </p:nvSpPr>
            <p:spPr bwMode="auto">
              <a:xfrm>
                <a:off x="1791" y="2656"/>
                <a:ext cx="1089" cy="610"/>
              </a:xfrm>
              <a:custGeom>
                <a:avLst/>
                <a:gdLst>
                  <a:gd name="T0" fmla="*/ 1089 w 1089"/>
                  <a:gd name="T1" fmla="*/ 226 h 610"/>
                  <a:gd name="T2" fmla="*/ 1089 w 1089"/>
                  <a:gd name="T3" fmla="*/ 226 h 610"/>
                  <a:gd name="T4" fmla="*/ 1010 w 1089"/>
                  <a:gd name="T5" fmla="*/ 225 h 610"/>
                  <a:gd name="T6" fmla="*/ 932 w 1089"/>
                  <a:gd name="T7" fmla="*/ 222 h 610"/>
                  <a:gd name="T8" fmla="*/ 855 w 1089"/>
                  <a:gd name="T9" fmla="*/ 217 h 610"/>
                  <a:gd name="T10" fmla="*/ 778 w 1089"/>
                  <a:gd name="T11" fmla="*/ 210 h 610"/>
                  <a:gd name="T12" fmla="*/ 704 w 1089"/>
                  <a:gd name="T13" fmla="*/ 201 h 610"/>
                  <a:gd name="T14" fmla="*/ 632 w 1089"/>
                  <a:gd name="T15" fmla="*/ 192 h 610"/>
                  <a:gd name="T16" fmla="*/ 560 w 1089"/>
                  <a:gd name="T17" fmla="*/ 179 h 610"/>
                  <a:gd name="T18" fmla="*/ 490 w 1089"/>
                  <a:gd name="T19" fmla="*/ 165 h 610"/>
                  <a:gd name="T20" fmla="*/ 422 w 1089"/>
                  <a:gd name="T21" fmla="*/ 149 h 610"/>
                  <a:gd name="T22" fmla="*/ 356 w 1089"/>
                  <a:gd name="T23" fmla="*/ 134 h 610"/>
                  <a:gd name="T24" fmla="*/ 291 w 1089"/>
                  <a:gd name="T25" fmla="*/ 114 h 610"/>
                  <a:gd name="T26" fmla="*/ 229 w 1089"/>
                  <a:gd name="T27" fmla="*/ 94 h 610"/>
                  <a:gd name="T28" fmla="*/ 168 w 1089"/>
                  <a:gd name="T29" fmla="*/ 73 h 610"/>
                  <a:gd name="T30" fmla="*/ 110 w 1089"/>
                  <a:gd name="T31" fmla="*/ 50 h 610"/>
                  <a:gd name="T32" fmla="*/ 54 w 1089"/>
                  <a:gd name="T33" fmla="*/ 27 h 610"/>
                  <a:gd name="T34" fmla="*/ 0 w 1089"/>
                  <a:gd name="T35" fmla="*/ 0 h 610"/>
                  <a:gd name="T36" fmla="*/ 0 w 1089"/>
                  <a:gd name="T37" fmla="*/ 385 h 610"/>
                  <a:gd name="T38" fmla="*/ 0 w 1089"/>
                  <a:gd name="T39" fmla="*/ 385 h 610"/>
                  <a:gd name="T40" fmla="*/ 54 w 1089"/>
                  <a:gd name="T41" fmla="*/ 411 h 610"/>
                  <a:gd name="T42" fmla="*/ 110 w 1089"/>
                  <a:gd name="T43" fmla="*/ 435 h 610"/>
                  <a:gd name="T44" fmla="*/ 168 w 1089"/>
                  <a:gd name="T45" fmla="*/ 457 h 610"/>
                  <a:gd name="T46" fmla="*/ 229 w 1089"/>
                  <a:gd name="T47" fmla="*/ 480 h 610"/>
                  <a:gd name="T48" fmla="*/ 291 w 1089"/>
                  <a:gd name="T49" fmla="*/ 499 h 610"/>
                  <a:gd name="T50" fmla="*/ 356 w 1089"/>
                  <a:gd name="T51" fmla="*/ 518 h 610"/>
                  <a:gd name="T52" fmla="*/ 422 w 1089"/>
                  <a:gd name="T53" fmla="*/ 535 h 610"/>
                  <a:gd name="T54" fmla="*/ 490 w 1089"/>
                  <a:gd name="T55" fmla="*/ 550 h 610"/>
                  <a:gd name="T56" fmla="*/ 560 w 1089"/>
                  <a:gd name="T57" fmla="*/ 564 h 610"/>
                  <a:gd name="T58" fmla="*/ 632 w 1089"/>
                  <a:gd name="T59" fmla="*/ 576 h 610"/>
                  <a:gd name="T60" fmla="*/ 704 w 1089"/>
                  <a:gd name="T61" fmla="*/ 587 h 610"/>
                  <a:gd name="T62" fmla="*/ 778 w 1089"/>
                  <a:gd name="T63" fmla="*/ 595 h 610"/>
                  <a:gd name="T64" fmla="*/ 855 w 1089"/>
                  <a:gd name="T65" fmla="*/ 601 h 610"/>
                  <a:gd name="T66" fmla="*/ 932 w 1089"/>
                  <a:gd name="T67" fmla="*/ 606 h 610"/>
                  <a:gd name="T68" fmla="*/ 1010 w 1089"/>
                  <a:gd name="T69" fmla="*/ 609 h 610"/>
                  <a:gd name="T70" fmla="*/ 1089 w 1089"/>
                  <a:gd name="T71" fmla="*/ 610 h 610"/>
                  <a:gd name="T72" fmla="*/ 1089 w 1089"/>
                  <a:gd name="T73" fmla="*/ 22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9" h="610">
                    <a:moveTo>
                      <a:pt x="1089" y="226"/>
                    </a:moveTo>
                    <a:lnTo>
                      <a:pt x="1089" y="226"/>
                    </a:lnTo>
                    <a:lnTo>
                      <a:pt x="1010" y="225"/>
                    </a:lnTo>
                    <a:lnTo>
                      <a:pt x="932" y="222"/>
                    </a:lnTo>
                    <a:lnTo>
                      <a:pt x="855" y="217"/>
                    </a:lnTo>
                    <a:lnTo>
                      <a:pt x="778" y="210"/>
                    </a:lnTo>
                    <a:lnTo>
                      <a:pt x="704" y="201"/>
                    </a:lnTo>
                    <a:lnTo>
                      <a:pt x="632" y="192"/>
                    </a:lnTo>
                    <a:lnTo>
                      <a:pt x="560" y="179"/>
                    </a:lnTo>
                    <a:lnTo>
                      <a:pt x="490" y="165"/>
                    </a:lnTo>
                    <a:lnTo>
                      <a:pt x="422" y="149"/>
                    </a:lnTo>
                    <a:lnTo>
                      <a:pt x="356" y="134"/>
                    </a:lnTo>
                    <a:lnTo>
                      <a:pt x="291" y="114"/>
                    </a:lnTo>
                    <a:lnTo>
                      <a:pt x="229" y="94"/>
                    </a:lnTo>
                    <a:lnTo>
                      <a:pt x="168" y="73"/>
                    </a:lnTo>
                    <a:lnTo>
                      <a:pt x="110" y="50"/>
                    </a:lnTo>
                    <a:lnTo>
                      <a:pt x="54" y="27"/>
                    </a:lnTo>
                    <a:lnTo>
                      <a:pt x="0" y="0"/>
                    </a:lnTo>
                    <a:lnTo>
                      <a:pt x="0" y="385"/>
                    </a:lnTo>
                    <a:lnTo>
                      <a:pt x="0" y="385"/>
                    </a:lnTo>
                    <a:lnTo>
                      <a:pt x="54" y="411"/>
                    </a:lnTo>
                    <a:lnTo>
                      <a:pt x="110" y="435"/>
                    </a:lnTo>
                    <a:lnTo>
                      <a:pt x="168" y="457"/>
                    </a:lnTo>
                    <a:lnTo>
                      <a:pt x="229" y="480"/>
                    </a:lnTo>
                    <a:lnTo>
                      <a:pt x="291" y="499"/>
                    </a:lnTo>
                    <a:lnTo>
                      <a:pt x="356" y="518"/>
                    </a:lnTo>
                    <a:lnTo>
                      <a:pt x="422" y="535"/>
                    </a:lnTo>
                    <a:lnTo>
                      <a:pt x="490" y="550"/>
                    </a:lnTo>
                    <a:lnTo>
                      <a:pt x="560" y="564"/>
                    </a:lnTo>
                    <a:lnTo>
                      <a:pt x="632" y="576"/>
                    </a:lnTo>
                    <a:lnTo>
                      <a:pt x="704" y="587"/>
                    </a:lnTo>
                    <a:lnTo>
                      <a:pt x="778" y="595"/>
                    </a:lnTo>
                    <a:lnTo>
                      <a:pt x="855" y="601"/>
                    </a:lnTo>
                    <a:lnTo>
                      <a:pt x="932" y="606"/>
                    </a:lnTo>
                    <a:lnTo>
                      <a:pt x="1010" y="609"/>
                    </a:lnTo>
                    <a:lnTo>
                      <a:pt x="1089" y="610"/>
                    </a:lnTo>
                    <a:lnTo>
                      <a:pt x="1089" y="226"/>
                    </a:lnTo>
                    <a:close/>
                  </a:path>
                </a:pathLst>
              </a:custGeom>
              <a:gradFill rotWithShape="1">
                <a:gsLst>
                  <a:gs pos="0">
                    <a:srgbClr val="969696"/>
                  </a:gs>
                  <a:gs pos="100000">
                    <a:srgbClr val="808080"/>
                  </a:gs>
                </a:gsLst>
                <a:lin ang="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grpSp>
        <p:sp>
          <p:nvSpPr>
            <p:cNvPr id="16" name="Text Box 39"/>
            <p:cNvSpPr txBox="1">
              <a:spLocks noChangeArrowheads="1"/>
            </p:cNvSpPr>
            <p:nvPr/>
          </p:nvSpPr>
          <p:spPr bwMode="auto">
            <a:xfrm>
              <a:off x="3671888" y="2220317"/>
              <a:ext cx="1439863"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solidFill>
                    <a:srgbClr val="9E9E9E"/>
                  </a:solidFill>
                  <a:latin typeface="微软雅黑" panose="020B0503020204020204" pitchFamily="34" charset="-122"/>
                  <a:ea typeface="微软雅黑" panose="020B0503020204020204" pitchFamily="34" charset="-122"/>
                </a:rPr>
                <a:t>文本</a:t>
              </a:r>
              <a:endParaRPr lang="en-US" altLang="ko-KR" sz="1200" dirty="0">
                <a:solidFill>
                  <a:srgbClr val="9E9E9E"/>
                </a:solidFill>
                <a:latin typeface="微软雅黑" panose="020B0503020204020204" pitchFamily="34" charset="-122"/>
                <a:ea typeface="微软雅黑" panose="020B0503020204020204" pitchFamily="34" charset="-122"/>
              </a:endParaRPr>
            </a:p>
          </p:txBody>
        </p:sp>
        <p:sp>
          <p:nvSpPr>
            <p:cNvPr id="17" name="Text Box 40"/>
            <p:cNvSpPr txBox="1">
              <a:spLocks noChangeArrowheads="1"/>
            </p:cNvSpPr>
            <p:nvPr/>
          </p:nvSpPr>
          <p:spPr bwMode="auto">
            <a:xfrm>
              <a:off x="3348038" y="1715492"/>
              <a:ext cx="757238"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latin typeface="微软雅黑" panose="020B0503020204020204" pitchFamily="34" charset="-122"/>
                  <a:ea typeface="微软雅黑" panose="020B0503020204020204" pitchFamily="34" charset="-122"/>
                </a:rPr>
                <a:t>文本</a:t>
              </a:r>
              <a:endParaRPr lang="en-US" altLang="ko-KR" sz="1200" dirty="0">
                <a:latin typeface="微软雅黑" panose="020B0503020204020204" pitchFamily="34" charset="-122"/>
                <a:ea typeface="微软雅黑" panose="020B0503020204020204" pitchFamily="34" charset="-122"/>
              </a:endParaRPr>
            </a:p>
          </p:txBody>
        </p:sp>
        <p:sp>
          <p:nvSpPr>
            <p:cNvPr id="18" name="Text Box 41"/>
            <p:cNvSpPr txBox="1">
              <a:spLocks noChangeArrowheads="1"/>
            </p:cNvSpPr>
            <p:nvPr/>
          </p:nvSpPr>
          <p:spPr bwMode="auto">
            <a:xfrm>
              <a:off x="2303463" y="1715492"/>
              <a:ext cx="757238"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solidFill>
                    <a:srgbClr val="9E9E9E"/>
                  </a:solidFill>
                  <a:latin typeface="微软雅黑" panose="020B0503020204020204" pitchFamily="34" charset="-122"/>
                  <a:ea typeface="微软雅黑" panose="020B0503020204020204" pitchFamily="34" charset="-122"/>
                </a:rPr>
                <a:t>文本</a:t>
              </a:r>
              <a:endParaRPr lang="en-US" altLang="ko-KR" sz="1200" dirty="0">
                <a:solidFill>
                  <a:srgbClr val="9E9E9E"/>
                </a:solidFill>
                <a:latin typeface="微软雅黑" panose="020B0503020204020204" pitchFamily="34" charset="-122"/>
                <a:ea typeface="微软雅黑" panose="020B0503020204020204" pitchFamily="34" charset="-122"/>
              </a:endParaRPr>
            </a:p>
          </p:txBody>
        </p:sp>
        <p:sp>
          <p:nvSpPr>
            <p:cNvPr id="19" name="Text Box 42"/>
            <p:cNvSpPr txBox="1">
              <a:spLocks noChangeArrowheads="1"/>
            </p:cNvSpPr>
            <p:nvPr/>
          </p:nvSpPr>
          <p:spPr bwMode="auto">
            <a:xfrm>
              <a:off x="1187450" y="2220317"/>
              <a:ext cx="1439863"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latin typeface="微软雅黑" panose="020B0503020204020204" pitchFamily="34" charset="-122"/>
                  <a:ea typeface="微软雅黑" panose="020B0503020204020204" pitchFamily="34" charset="-122"/>
                </a:rPr>
                <a:t>文本</a:t>
              </a:r>
              <a:endParaRPr lang="en-US" altLang="ko-KR" sz="1200" dirty="0">
                <a:latin typeface="微软雅黑" panose="020B0503020204020204" pitchFamily="34" charset="-122"/>
                <a:ea typeface="微软雅黑" panose="020B0503020204020204" pitchFamily="34" charset="-122"/>
              </a:endParaRPr>
            </a:p>
          </p:txBody>
        </p:sp>
        <p:sp>
          <p:nvSpPr>
            <p:cNvPr id="20" name="Text Box 43"/>
            <p:cNvSpPr txBox="1">
              <a:spLocks noChangeArrowheads="1"/>
            </p:cNvSpPr>
            <p:nvPr/>
          </p:nvSpPr>
          <p:spPr bwMode="auto">
            <a:xfrm>
              <a:off x="1295400" y="2607667"/>
              <a:ext cx="1116013"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solidFill>
                    <a:srgbClr val="9E9E9E"/>
                  </a:solidFill>
                  <a:latin typeface="微软雅黑" panose="020B0503020204020204" pitchFamily="34" charset="-122"/>
                  <a:ea typeface="微软雅黑" panose="020B0503020204020204" pitchFamily="34" charset="-122"/>
                </a:rPr>
                <a:t>文本</a:t>
              </a:r>
              <a:endParaRPr lang="en-US" altLang="ko-KR" sz="1200" dirty="0">
                <a:solidFill>
                  <a:srgbClr val="9E9E9E"/>
                </a:solidFill>
                <a:latin typeface="微软雅黑" panose="020B0503020204020204" pitchFamily="34" charset="-122"/>
                <a:ea typeface="微软雅黑" panose="020B0503020204020204" pitchFamily="34" charset="-122"/>
              </a:endParaRPr>
            </a:p>
          </p:txBody>
        </p:sp>
        <p:sp>
          <p:nvSpPr>
            <p:cNvPr id="21" name="Text Box 44"/>
            <p:cNvSpPr txBox="1">
              <a:spLocks noChangeArrowheads="1"/>
            </p:cNvSpPr>
            <p:nvPr/>
          </p:nvSpPr>
          <p:spPr bwMode="auto">
            <a:xfrm>
              <a:off x="2051050" y="3083917"/>
              <a:ext cx="1116013"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latin typeface="微软雅黑" panose="020B0503020204020204" pitchFamily="34" charset="-122"/>
                  <a:ea typeface="微软雅黑" panose="020B0503020204020204" pitchFamily="34" charset="-122"/>
                </a:rPr>
                <a:t>文本</a:t>
              </a:r>
              <a:endParaRPr lang="en-US" altLang="ko-KR" sz="1200" dirty="0">
                <a:latin typeface="微软雅黑" panose="020B0503020204020204" pitchFamily="34" charset="-122"/>
                <a:ea typeface="微软雅黑" panose="020B0503020204020204" pitchFamily="34" charset="-122"/>
              </a:endParaRPr>
            </a:p>
          </p:txBody>
        </p:sp>
      </p:grpSp>
      <p:sp>
        <p:nvSpPr>
          <p:cNvPr id="42" name="Text Box 45"/>
          <p:cNvSpPr txBox="1">
            <a:spLocks noChangeArrowheads="1"/>
          </p:cNvSpPr>
          <p:nvPr/>
        </p:nvSpPr>
        <p:spPr bwMode="auto">
          <a:xfrm>
            <a:off x="5940152" y="1584389"/>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43" name="Text Box 45"/>
          <p:cNvSpPr txBox="1">
            <a:spLocks noChangeArrowheads="1"/>
          </p:cNvSpPr>
          <p:nvPr/>
        </p:nvSpPr>
        <p:spPr bwMode="auto">
          <a:xfrm>
            <a:off x="5940152" y="2482433"/>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44" name="Text Box 45"/>
          <p:cNvSpPr txBox="1">
            <a:spLocks noChangeArrowheads="1"/>
          </p:cNvSpPr>
          <p:nvPr/>
        </p:nvSpPr>
        <p:spPr bwMode="auto">
          <a:xfrm>
            <a:off x="5940152" y="3346529"/>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grpSp>
        <p:nvGrpSpPr>
          <p:cNvPr id="48" name="组合 47"/>
          <p:cNvGrpSpPr/>
          <p:nvPr/>
        </p:nvGrpSpPr>
        <p:grpSpPr>
          <a:xfrm>
            <a:off x="3590925" y="2644155"/>
            <a:ext cx="1958975" cy="1184275"/>
            <a:chOff x="8999785" y="2685454"/>
            <a:chExt cx="1958975" cy="1184275"/>
          </a:xfrm>
        </p:grpSpPr>
        <p:grpSp>
          <p:nvGrpSpPr>
            <p:cNvPr id="8" name="Group 24"/>
            <p:cNvGrpSpPr/>
            <p:nvPr/>
          </p:nvGrpSpPr>
          <p:grpSpPr bwMode="auto">
            <a:xfrm>
              <a:off x="8999785" y="2685454"/>
              <a:ext cx="1958975" cy="1184275"/>
              <a:chOff x="2880" y="2112"/>
              <a:chExt cx="1539" cy="929"/>
            </a:xfrm>
          </p:grpSpPr>
          <p:sp>
            <p:nvSpPr>
              <p:cNvPr id="26" name="Freeform 25"/>
              <p:cNvSpPr/>
              <p:nvPr/>
            </p:nvSpPr>
            <p:spPr bwMode="auto">
              <a:xfrm>
                <a:off x="2880" y="2112"/>
                <a:ext cx="1539" cy="544"/>
              </a:xfrm>
              <a:custGeom>
                <a:avLst/>
                <a:gdLst>
                  <a:gd name="T0" fmla="*/ 0 w 1539"/>
                  <a:gd name="T1" fmla="*/ 0 h 544"/>
                  <a:gd name="T2" fmla="*/ 1089 w 1539"/>
                  <a:gd name="T3" fmla="*/ 544 h 544"/>
                  <a:gd name="T4" fmla="*/ 1089 w 1539"/>
                  <a:gd name="T5" fmla="*/ 544 h 544"/>
                  <a:gd name="T6" fmla="*/ 1139 w 1539"/>
                  <a:gd name="T7" fmla="*/ 518 h 544"/>
                  <a:gd name="T8" fmla="*/ 1188 w 1539"/>
                  <a:gd name="T9" fmla="*/ 490 h 544"/>
                  <a:gd name="T10" fmla="*/ 1233 w 1539"/>
                  <a:gd name="T11" fmla="*/ 461 h 544"/>
                  <a:gd name="T12" fmla="*/ 1276 w 1539"/>
                  <a:gd name="T13" fmla="*/ 431 h 544"/>
                  <a:gd name="T14" fmla="*/ 1316 w 1539"/>
                  <a:gd name="T15" fmla="*/ 399 h 544"/>
                  <a:gd name="T16" fmla="*/ 1353 w 1539"/>
                  <a:gd name="T17" fmla="*/ 367 h 544"/>
                  <a:gd name="T18" fmla="*/ 1387 w 1539"/>
                  <a:gd name="T19" fmla="*/ 334 h 544"/>
                  <a:gd name="T20" fmla="*/ 1418 w 1539"/>
                  <a:gd name="T21" fmla="*/ 300 h 544"/>
                  <a:gd name="T22" fmla="*/ 1446 w 1539"/>
                  <a:gd name="T23" fmla="*/ 266 h 544"/>
                  <a:gd name="T24" fmla="*/ 1459 w 1539"/>
                  <a:gd name="T25" fmla="*/ 247 h 544"/>
                  <a:gd name="T26" fmla="*/ 1469 w 1539"/>
                  <a:gd name="T27" fmla="*/ 230 h 544"/>
                  <a:gd name="T28" fmla="*/ 1481 w 1539"/>
                  <a:gd name="T29" fmla="*/ 211 h 544"/>
                  <a:gd name="T30" fmla="*/ 1490 w 1539"/>
                  <a:gd name="T31" fmla="*/ 193 h 544"/>
                  <a:gd name="T32" fmla="*/ 1500 w 1539"/>
                  <a:gd name="T33" fmla="*/ 175 h 544"/>
                  <a:gd name="T34" fmla="*/ 1508 w 1539"/>
                  <a:gd name="T35" fmla="*/ 156 h 544"/>
                  <a:gd name="T36" fmla="*/ 1516 w 1539"/>
                  <a:gd name="T37" fmla="*/ 136 h 544"/>
                  <a:gd name="T38" fmla="*/ 1521 w 1539"/>
                  <a:gd name="T39" fmla="*/ 118 h 544"/>
                  <a:gd name="T40" fmla="*/ 1526 w 1539"/>
                  <a:gd name="T41" fmla="*/ 99 h 544"/>
                  <a:gd name="T42" fmla="*/ 1531 w 1539"/>
                  <a:gd name="T43" fmla="*/ 79 h 544"/>
                  <a:gd name="T44" fmla="*/ 1534 w 1539"/>
                  <a:gd name="T45" fmla="*/ 60 h 544"/>
                  <a:gd name="T46" fmla="*/ 1537 w 1539"/>
                  <a:gd name="T47" fmla="*/ 40 h 544"/>
                  <a:gd name="T48" fmla="*/ 1538 w 1539"/>
                  <a:gd name="T49" fmla="*/ 20 h 544"/>
                  <a:gd name="T50" fmla="*/ 1539 w 1539"/>
                  <a:gd name="T51" fmla="*/ 0 h 544"/>
                  <a:gd name="T52" fmla="*/ 0 w 1539"/>
                  <a:gd name="T5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9" h="544">
                    <a:moveTo>
                      <a:pt x="0" y="0"/>
                    </a:moveTo>
                    <a:lnTo>
                      <a:pt x="1089" y="544"/>
                    </a:lnTo>
                    <a:lnTo>
                      <a:pt x="1089" y="544"/>
                    </a:lnTo>
                    <a:lnTo>
                      <a:pt x="1139" y="518"/>
                    </a:lnTo>
                    <a:lnTo>
                      <a:pt x="1188" y="490"/>
                    </a:lnTo>
                    <a:lnTo>
                      <a:pt x="1233" y="461"/>
                    </a:lnTo>
                    <a:lnTo>
                      <a:pt x="1276" y="431"/>
                    </a:lnTo>
                    <a:lnTo>
                      <a:pt x="1316" y="399"/>
                    </a:lnTo>
                    <a:lnTo>
                      <a:pt x="1353" y="367"/>
                    </a:lnTo>
                    <a:lnTo>
                      <a:pt x="1387" y="334"/>
                    </a:lnTo>
                    <a:lnTo>
                      <a:pt x="1418" y="300"/>
                    </a:lnTo>
                    <a:lnTo>
                      <a:pt x="1446" y="266"/>
                    </a:lnTo>
                    <a:lnTo>
                      <a:pt x="1459" y="247"/>
                    </a:lnTo>
                    <a:lnTo>
                      <a:pt x="1469" y="230"/>
                    </a:lnTo>
                    <a:lnTo>
                      <a:pt x="1481" y="211"/>
                    </a:lnTo>
                    <a:lnTo>
                      <a:pt x="1490" y="193"/>
                    </a:lnTo>
                    <a:lnTo>
                      <a:pt x="1500" y="175"/>
                    </a:lnTo>
                    <a:lnTo>
                      <a:pt x="1508" y="156"/>
                    </a:lnTo>
                    <a:lnTo>
                      <a:pt x="1516" y="136"/>
                    </a:lnTo>
                    <a:lnTo>
                      <a:pt x="1521" y="118"/>
                    </a:lnTo>
                    <a:lnTo>
                      <a:pt x="1526" y="99"/>
                    </a:lnTo>
                    <a:lnTo>
                      <a:pt x="1531" y="79"/>
                    </a:lnTo>
                    <a:lnTo>
                      <a:pt x="1534" y="60"/>
                    </a:lnTo>
                    <a:lnTo>
                      <a:pt x="1537" y="40"/>
                    </a:lnTo>
                    <a:lnTo>
                      <a:pt x="1538" y="20"/>
                    </a:lnTo>
                    <a:lnTo>
                      <a:pt x="1539" y="0"/>
                    </a:lnTo>
                    <a:lnTo>
                      <a:pt x="0" y="0"/>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27" name="Freeform 26"/>
              <p:cNvSpPr/>
              <p:nvPr/>
            </p:nvSpPr>
            <p:spPr bwMode="auto">
              <a:xfrm>
                <a:off x="3969" y="2112"/>
                <a:ext cx="450" cy="929"/>
              </a:xfrm>
              <a:custGeom>
                <a:avLst/>
                <a:gdLst>
                  <a:gd name="T0" fmla="*/ 0 w 450"/>
                  <a:gd name="T1" fmla="*/ 544 h 929"/>
                  <a:gd name="T2" fmla="*/ 0 w 450"/>
                  <a:gd name="T3" fmla="*/ 544 h 929"/>
                  <a:gd name="T4" fmla="*/ 50 w 450"/>
                  <a:gd name="T5" fmla="*/ 518 h 929"/>
                  <a:gd name="T6" fmla="*/ 99 w 450"/>
                  <a:gd name="T7" fmla="*/ 490 h 929"/>
                  <a:gd name="T8" fmla="*/ 144 w 450"/>
                  <a:gd name="T9" fmla="*/ 461 h 929"/>
                  <a:gd name="T10" fmla="*/ 187 w 450"/>
                  <a:gd name="T11" fmla="*/ 431 h 929"/>
                  <a:gd name="T12" fmla="*/ 227 w 450"/>
                  <a:gd name="T13" fmla="*/ 399 h 929"/>
                  <a:gd name="T14" fmla="*/ 264 w 450"/>
                  <a:gd name="T15" fmla="*/ 367 h 929"/>
                  <a:gd name="T16" fmla="*/ 298 w 450"/>
                  <a:gd name="T17" fmla="*/ 334 h 929"/>
                  <a:gd name="T18" fmla="*/ 329 w 450"/>
                  <a:gd name="T19" fmla="*/ 300 h 929"/>
                  <a:gd name="T20" fmla="*/ 357 w 450"/>
                  <a:gd name="T21" fmla="*/ 266 h 929"/>
                  <a:gd name="T22" fmla="*/ 370 w 450"/>
                  <a:gd name="T23" fmla="*/ 247 h 929"/>
                  <a:gd name="T24" fmla="*/ 380 w 450"/>
                  <a:gd name="T25" fmla="*/ 230 h 929"/>
                  <a:gd name="T26" fmla="*/ 392 w 450"/>
                  <a:gd name="T27" fmla="*/ 211 h 929"/>
                  <a:gd name="T28" fmla="*/ 401 w 450"/>
                  <a:gd name="T29" fmla="*/ 193 h 929"/>
                  <a:gd name="T30" fmla="*/ 411 w 450"/>
                  <a:gd name="T31" fmla="*/ 175 h 929"/>
                  <a:gd name="T32" fmla="*/ 419 w 450"/>
                  <a:gd name="T33" fmla="*/ 156 h 929"/>
                  <a:gd name="T34" fmla="*/ 427 w 450"/>
                  <a:gd name="T35" fmla="*/ 136 h 929"/>
                  <a:gd name="T36" fmla="*/ 432 w 450"/>
                  <a:gd name="T37" fmla="*/ 118 h 929"/>
                  <a:gd name="T38" fmla="*/ 437 w 450"/>
                  <a:gd name="T39" fmla="*/ 99 h 929"/>
                  <a:gd name="T40" fmla="*/ 442 w 450"/>
                  <a:gd name="T41" fmla="*/ 79 h 929"/>
                  <a:gd name="T42" fmla="*/ 445 w 450"/>
                  <a:gd name="T43" fmla="*/ 60 h 929"/>
                  <a:gd name="T44" fmla="*/ 448 w 450"/>
                  <a:gd name="T45" fmla="*/ 40 h 929"/>
                  <a:gd name="T46" fmla="*/ 449 w 450"/>
                  <a:gd name="T47" fmla="*/ 20 h 929"/>
                  <a:gd name="T48" fmla="*/ 450 w 450"/>
                  <a:gd name="T49" fmla="*/ 0 h 929"/>
                  <a:gd name="T50" fmla="*/ 450 w 450"/>
                  <a:gd name="T51" fmla="*/ 386 h 929"/>
                  <a:gd name="T52" fmla="*/ 450 w 450"/>
                  <a:gd name="T53" fmla="*/ 386 h 929"/>
                  <a:gd name="T54" fmla="*/ 449 w 450"/>
                  <a:gd name="T55" fmla="*/ 406 h 929"/>
                  <a:gd name="T56" fmla="*/ 448 w 450"/>
                  <a:gd name="T57" fmla="*/ 425 h 929"/>
                  <a:gd name="T58" fmla="*/ 445 w 450"/>
                  <a:gd name="T59" fmla="*/ 444 h 929"/>
                  <a:gd name="T60" fmla="*/ 442 w 450"/>
                  <a:gd name="T61" fmla="*/ 464 h 929"/>
                  <a:gd name="T62" fmla="*/ 437 w 450"/>
                  <a:gd name="T63" fmla="*/ 484 h 929"/>
                  <a:gd name="T64" fmla="*/ 432 w 450"/>
                  <a:gd name="T65" fmla="*/ 502 h 929"/>
                  <a:gd name="T66" fmla="*/ 427 w 450"/>
                  <a:gd name="T67" fmla="*/ 522 h 929"/>
                  <a:gd name="T68" fmla="*/ 419 w 450"/>
                  <a:gd name="T69" fmla="*/ 540 h 929"/>
                  <a:gd name="T70" fmla="*/ 411 w 450"/>
                  <a:gd name="T71" fmla="*/ 559 h 929"/>
                  <a:gd name="T72" fmla="*/ 401 w 450"/>
                  <a:gd name="T73" fmla="*/ 577 h 929"/>
                  <a:gd name="T74" fmla="*/ 392 w 450"/>
                  <a:gd name="T75" fmla="*/ 596 h 929"/>
                  <a:gd name="T76" fmla="*/ 380 w 450"/>
                  <a:gd name="T77" fmla="*/ 614 h 929"/>
                  <a:gd name="T78" fmla="*/ 370 w 450"/>
                  <a:gd name="T79" fmla="*/ 631 h 929"/>
                  <a:gd name="T80" fmla="*/ 357 w 450"/>
                  <a:gd name="T81" fmla="*/ 650 h 929"/>
                  <a:gd name="T82" fmla="*/ 329 w 450"/>
                  <a:gd name="T83" fmla="*/ 684 h 929"/>
                  <a:gd name="T84" fmla="*/ 298 w 450"/>
                  <a:gd name="T85" fmla="*/ 719 h 929"/>
                  <a:gd name="T86" fmla="*/ 264 w 450"/>
                  <a:gd name="T87" fmla="*/ 752 h 929"/>
                  <a:gd name="T88" fmla="*/ 227 w 450"/>
                  <a:gd name="T89" fmla="*/ 785 h 929"/>
                  <a:gd name="T90" fmla="*/ 187 w 450"/>
                  <a:gd name="T91" fmla="*/ 815 h 929"/>
                  <a:gd name="T92" fmla="*/ 144 w 450"/>
                  <a:gd name="T93" fmla="*/ 845 h 929"/>
                  <a:gd name="T94" fmla="*/ 99 w 450"/>
                  <a:gd name="T95" fmla="*/ 874 h 929"/>
                  <a:gd name="T96" fmla="*/ 50 w 450"/>
                  <a:gd name="T97" fmla="*/ 902 h 929"/>
                  <a:gd name="T98" fmla="*/ 0 w 450"/>
                  <a:gd name="T99" fmla="*/ 929 h 929"/>
                  <a:gd name="T100" fmla="*/ 0 w 450"/>
                  <a:gd name="T101" fmla="*/ 544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0" h="929">
                    <a:moveTo>
                      <a:pt x="0" y="544"/>
                    </a:moveTo>
                    <a:lnTo>
                      <a:pt x="0" y="544"/>
                    </a:lnTo>
                    <a:lnTo>
                      <a:pt x="50" y="518"/>
                    </a:lnTo>
                    <a:lnTo>
                      <a:pt x="99" y="490"/>
                    </a:lnTo>
                    <a:lnTo>
                      <a:pt x="144" y="461"/>
                    </a:lnTo>
                    <a:lnTo>
                      <a:pt x="187" y="431"/>
                    </a:lnTo>
                    <a:lnTo>
                      <a:pt x="227" y="399"/>
                    </a:lnTo>
                    <a:lnTo>
                      <a:pt x="264" y="367"/>
                    </a:lnTo>
                    <a:lnTo>
                      <a:pt x="298" y="334"/>
                    </a:lnTo>
                    <a:lnTo>
                      <a:pt x="329" y="300"/>
                    </a:lnTo>
                    <a:lnTo>
                      <a:pt x="357" y="266"/>
                    </a:lnTo>
                    <a:lnTo>
                      <a:pt x="370" y="247"/>
                    </a:lnTo>
                    <a:lnTo>
                      <a:pt x="380" y="230"/>
                    </a:lnTo>
                    <a:lnTo>
                      <a:pt x="392" y="211"/>
                    </a:lnTo>
                    <a:lnTo>
                      <a:pt x="401" y="193"/>
                    </a:lnTo>
                    <a:lnTo>
                      <a:pt x="411" y="175"/>
                    </a:lnTo>
                    <a:lnTo>
                      <a:pt x="419" y="156"/>
                    </a:lnTo>
                    <a:lnTo>
                      <a:pt x="427" y="136"/>
                    </a:lnTo>
                    <a:lnTo>
                      <a:pt x="432" y="118"/>
                    </a:lnTo>
                    <a:lnTo>
                      <a:pt x="437" y="99"/>
                    </a:lnTo>
                    <a:lnTo>
                      <a:pt x="442" y="79"/>
                    </a:lnTo>
                    <a:lnTo>
                      <a:pt x="445" y="60"/>
                    </a:lnTo>
                    <a:lnTo>
                      <a:pt x="448" y="40"/>
                    </a:lnTo>
                    <a:lnTo>
                      <a:pt x="449" y="20"/>
                    </a:lnTo>
                    <a:lnTo>
                      <a:pt x="450" y="0"/>
                    </a:lnTo>
                    <a:lnTo>
                      <a:pt x="450" y="386"/>
                    </a:lnTo>
                    <a:lnTo>
                      <a:pt x="450" y="386"/>
                    </a:lnTo>
                    <a:lnTo>
                      <a:pt x="449" y="406"/>
                    </a:lnTo>
                    <a:lnTo>
                      <a:pt x="448" y="425"/>
                    </a:lnTo>
                    <a:lnTo>
                      <a:pt x="445" y="444"/>
                    </a:lnTo>
                    <a:lnTo>
                      <a:pt x="442" y="464"/>
                    </a:lnTo>
                    <a:lnTo>
                      <a:pt x="437" y="484"/>
                    </a:lnTo>
                    <a:lnTo>
                      <a:pt x="432" y="502"/>
                    </a:lnTo>
                    <a:lnTo>
                      <a:pt x="427" y="522"/>
                    </a:lnTo>
                    <a:lnTo>
                      <a:pt x="419" y="540"/>
                    </a:lnTo>
                    <a:lnTo>
                      <a:pt x="411" y="559"/>
                    </a:lnTo>
                    <a:lnTo>
                      <a:pt x="401" y="577"/>
                    </a:lnTo>
                    <a:lnTo>
                      <a:pt x="392" y="596"/>
                    </a:lnTo>
                    <a:lnTo>
                      <a:pt x="380" y="614"/>
                    </a:lnTo>
                    <a:lnTo>
                      <a:pt x="370" y="631"/>
                    </a:lnTo>
                    <a:lnTo>
                      <a:pt x="357" y="650"/>
                    </a:lnTo>
                    <a:lnTo>
                      <a:pt x="329" y="684"/>
                    </a:lnTo>
                    <a:lnTo>
                      <a:pt x="298" y="719"/>
                    </a:lnTo>
                    <a:lnTo>
                      <a:pt x="264" y="752"/>
                    </a:lnTo>
                    <a:lnTo>
                      <a:pt x="227" y="785"/>
                    </a:lnTo>
                    <a:lnTo>
                      <a:pt x="187" y="815"/>
                    </a:lnTo>
                    <a:lnTo>
                      <a:pt x="144" y="845"/>
                    </a:lnTo>
                    <a:lnTo>
                      <a:pt x="99" y="874"/>
                    </a:lnTo>
                    <a:lnTo>
                      <a:pt x="50" y="902"/>
                    </a:lnTo>
                    <a:lnTo>
                      <a:pt x="0" y="929"/>
                    </a:lnTo>
                    <a:lnTo>
                      <a:pt x="0" y="544"/>
                    </a:lnTo>
                    <a:close/>
                  </a:path>
                </a:pathLst>
              </a:custGeom>
              <a:solidFill>
                <a:schemeClr val="bg2">
                  <a:lumMod val="75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sp>
            <p:nvSpPr>
              <p:cNvPr id="28" name="Freeform 27"/>
              <p:cNvSpPr/>
              <p:nvPr/>
            </p:nvSpPr>
            <p:spPr bwMode="auto">
              <a:xfrm>
                <a:off x="2880" y="2112"/>
                <a:ext cx="1089" cy="929"/>
              </a:xfrm>
              <a:custGeom>
                <a:avLst/>
                <a:gdLst>
                  <a:gd name="T0" fmla="*/ 0 w 1089"/>
                  <a:gd name="T1" fmla="*/ 386 h 929"/>
                  <a:gd name="T2" fmla="*/ 1089 w 1089"/>
                  <a:gd name="T3" fmla="*/ 929 h 929"/>
                  <a:gd name="T4" fmla="*/ 1089 w 1089"/>
                  <a:gd name="T5" fmla="*/ 544 h 929"/>
                  <a:gd name="T6" fmla="*/ 0 w 1089"/>
                  <a:gd name="T7" fmla="*/ 0 h 929"/>
                  <a:gd name="T8" fmla="*/ 0 w 1089"/>
                  <a:gd name="T9" fmla="*/ 386 h 929"/>
                </a:gdLst>
                <a:ahLst/>
                <a:cxnLst>
                  <a:cxn ang="0">
                    <a:pos x="T0" y="T1"/>
                  </a:cxn>
                  <a:cxn ang="0">
                    <a:pos x="T2" y="T3"/>
                  </a:cxn>
                  <a:cxn ang="0">
                    <a:pos x="T4" y="T5"/>
                  </a:cxn>
                  <a:cxn ang="0">
                    <a:pos x="T6" y="T7"/>
                  </a:cxn>
                  <a:cxn ang="0">
                    <a:pos x="T8" y="T9"/>
                  </a:cxn>
                </a:cxnLst>
                <a:rect l="0" t="0" r="r" b="b"/>
                <a:pathLst>
                  <a:path w="1089" h="929">
                    <a:moveTo>
                      <a:pt x="0" y="386"/>
                    </a:moveTo>
                    <a:lnTo>
                      <a:pt x="1089" y="929"/>
                    </a:lnTo>
                    <a:lnTo>
                      <a:pt x="1089" y="544"/>
                    </a:lnTo>
                    <a:lnTo>
                      <a:pt x="0" y="0"/>
                    </a:lnTo>
                    <a:lnTo>
                      <a:pt x="0" y="386"/>
                    </a:lnTo>
                    <a:close/>
                  </a:path>
                </a:pathLst>
              </a:custGeom>
              <a:solidFill>
                <a:schemeClr val="bg2">
                  <a:lumMod val="75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sp>
          <p:nvSpPr>
            <p:cNvPr id="15" name="Text Box 38"/>
            <p:cNvSpPr txBox="1">
              <a:spLocks noChangeArrowheads="1"/>
            </p:cNvSpPr>
            <p:nvPr/>
          </p:nvSpPr>
          <p:spPr bwMode="auto">
            <a:xfrm>
              <a:off x="9612560" y="2723554"/>
              <a:ext cx="1295400"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latin typeface="微软雅黑" panose="020B0503020204020204" pitchFamily="34" charset="-122"/>
                  <a:ea typeface="微软雅黑" panose="020B0503020204020204" pitchFamily="34" charset="-122"/>
                </a:rPr>
                <a:t>文本</a:t>
              </a:r>
              <a:endParaRPr lang="en-US" altLang="ko-KR" sz="1200" dirty="0">
                <a:latin typeface="微软雅黑" panose="020B0503020204020204" pitchFamily="34" charset="-122"/>
                <a:ea typeface="微软雅黑" panose="020B0503020204020204" pitchFamily="34" charset="-122"/>
              </a:endParaRPr>
            </a:p>
          </p:txBody>
        </p:sp>
      </p:grpSp>
      <p:grpSp>
        <p:nvGrpSpPr>
          <p:cNvPr id="49" name="组合 48"/>
          <p:cNvGrpSpPr/>
          <p:nvPr/>
        </p:nvGrpSpPr>
        <p:grpSpPr>
          <a:xfrm>
            <a:off x="3275013" y="2796680"/>
            <a:ext cx="1460500" cy="1470025"/>
            <a:chOff x="3275013" y="2829917"/>
            <a:chExt cx="1460500" cy="1470025"/>
          </a:xfrm>
        </p:grpSpPr>
        <p:grpSp>
          <p:nvGrpSpPr>
            <p:cNvPr id="9" name="Group 28"/>
            <p:cNvGrpSpPr/>
            <p:nvPr/>
          </p:nvGrpSpPr>
          <p:grpSpPr bwMode="auto">
            <a:xfrm>
              <a:off x="3348038" y="2829917"/>
              <a:ext cx="1387475" cy="1470025"/>
              <a:chOff x="2880" y="2112"/>
              <a:chExt cx="1089" cy="1154"/>
            </a:xfrm>
          </p:grpSpPr>
          <p:sp>
            <p:nvSpPr>
              <p:cNvPr id="24" name="Freeform 29"/>
              <p:cNvSpPr/>
              <p:nvPr/>
            </p:nvSpPr>
            <p:spPr bwMode="auto">
              <a:xfrm>
                <a:off x="2880" y="2112"/>
                <a:ext cx="1089" cy="770"/>
              </a:xfrm>
              <a:custGeom>
                <a:avLst/>
                <a:gdLst>
                  <a:gd name="T0" fmla="*/ 1089 w 1089"/>
                  <a:gd name="T1" fmla="*/ 544 h 770"/>
                  <a:gd name="T2" fmla="*/ 1089 w 1089"/>
                  <a:gd name="T3" fmla="*/ 544 h 770"/>
                  <a:gd name="T4" fmla="*/ 1035 w 1089"/>
                  <a:gd name="T5" fmla="*/ 571 h 770"/>
                  <a:gd name="T6" fmla="*/ 979 w 1089"/>
                  <a:gd name="T7" fmla="*/ 594 h 770"/>
                  <a:gd name="T8" fmla="*/ 921 w 1089"/>
                  <a:gd name="T9" fmla="*/ 617 h 770"/>
                  <a:gd name="T10" fmla="*/ 860 w 1089"/>
                  <a:gd name="T11" fmla="*/ 638 h 770"/>
                  <a:gd name="T12" fmla="*/ 798 w 1089"/>
                  <a:gd name="T13" fmla="*/ 658 h 770"/>
                  <a:gd name="T14" fmla="*/ 733 w 1089"/>
                  <a:gd name="T15" fmla="*/ 678 h 770"/>
                  <a:gd name="T16" fmla="*/ 667 w 1089"/>
                  <a:gd name="T17" fmla="*/ 693 h 770"/>
                  <a:gd name="T18" fmla="*/ 599 w 1089"/>
                  <a:gd name="T19" fmla="*/ 709 h 770"/>
                  <a:gd name="T20" fmla="*/ 529 w 1089"/>
                  <a:gd name="T21" fmla="*/ 723 h 770"/>
                  <a:gd name="T22" fmla="*/ 457 w 1089"/>
                  <a:gd name="T23" fmla="*/ 736 h 770"/>
                  <a:gd name="T24" fmla="*/ 385 w 1089"/>
                  <a:gd name="T25" fmla="*/ 745 h 770"/>
                  <a:gd name="T26" fmla="*/ 311 w 1089"/>
                  <a:gd name="T27" fmla="*/ 754 h 770"/>
                  <a:gd name="T28" fmla="*/ 234 w 1089"/>
                  <a:gd name="T29" fmla="*/ 761 h 770"/>
                  <a:gd name="T30" fmla="*/ 157 w 1089"/>
                  <a:gd name="T31" fmla="*/ 766 h 770"/>
                  <a:gd name="T32" fmla="*/ 79 w 1089"/>
                  <a:gd name="T33" fmla="*/ 769 h 770"/>
                  <a:gd name="T34" fmla="*/ 0 w 1089"/>
                  <a:gd name="T35" fmla="*/ 770 h 770"/>
                  <a:gd name="T36" fmla="*/ 0 w 1089"/>
                  <a:gd name="T37" fmla="*/ 0 h 770"/>
                  <a:gd name="T38" fmla="*/ 1089 w 1089"/>
                  <a:gd name="T39" fmla="*/ 544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9" h="770">
                    <a:moveTo>
                      <a:pt x="1089" y="544"/>
                    </a:moveTo>
                    <a:lnTo>
                      <a:pt x="1089" y="544"/>
                    </a:lnTo>
                    <a:lnTo>
                      <a:pt x="1035" y="571"/>
                    </a:lnTo>
                    <a:lnTo>
                      <a:pt x="979" y="594"/>
                    </a:lnTo>
                    <a:lnTo>
                      <a:pt x="921" y="617"/>
                    </a:lnTo>
                    <a:lnTo>
                      <a:pt x="860" y="638"/>
                    </a:lnTo>
                    <a:lnTo>
                      <a:pt x="798" y="658"/>
                    </a:lnTo>
                    <a:lnTo>
                      <a:pt x="733" y="678"/>
                    </a:lnTo>
                    <a:lnTo>
                      <a:pt x="667" y="693"/>
                    </a:lnTo>
                    <a:lnTo>
                      <a:pt x="599" y="709"/>
                    </a:lnTo>
                    <a:lnTo>
                      <a:pt x="529" y="723"/>
                    </a:lnTo>
                    <a:lnTo>
                      <a:pt x="457" y="736"/>
                    </a:lnTo>
                    <a:lnTo>
                      <a:pt x="385" y="745"/>
                    </a:lnTo>
                    <a:lnTo>
                      <a:pt x="311" y="754"/>
                    </a:lnTo>
                    <a:lnTo>
                      <a:pt x="234" y="761"/>
                    </a:lnTo>
                    <a:lnTo>
                      <a:pt x="157" y="766"/>
                    </a:lnTo>
                    <a:lnTo>
                      <a:pt x="79" y="769"/>
                    </a:lnTo>
                    <a:lnTo>
                      <a:pt x="0" y="770"/>
                    </a:lnTo>
                    <a:lnTo>
                      <a:pt x="0" y="0"/>
                    </a:lnTo>
                    <a:lnTo>
                      <a:pt x="1089" y="544"/>
                    </a:lnTo>
                    <a:close/>
                  </a:path>
                </a:pathLst>
              </a:custGeom>
              <a:solidFill>
                <a:schemeClr val="bg1"/>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2800">
                  <a:latin typeface="微软雅黑" panose="020B0503020204020204" pitchFamily="34" charset="-122"/>
                  <a:ea typeface="微软雅黑" panose="020B0503020204020204" pitchFamily="34" charset="-122"/>
                </a:endParaRPr>
              </a:p>
            </p:txBody>
          </p:sp>
          <p:sp>
            <p:nvSpPr>
              <p:cNvPr id="25" name="Freeform 30"/>
              <p:cNvSpPr/>
              <p:nvPr/>
            </p:nvSpPr>
            <p:spPr bwMode="auto">
              <a:xfrm>
                <a:off x="2880" y="2656"/>
                <a:ext cx="1089" cy="610"/>
              </a:xfrm>
              <a:custGeom>
                <a:avLst/>
                <a:gdLst>
                  <a:gd name="T0" fmla="*/ 0 w 1089"/>
                  <a:gd name="T1" fmla="*/ 226 h 610"/>
                  <a:gd name="T2" fmla="*/ 0 w 1089"/>
                  <a:gd name="T3" fmla="*/ 226 h 610"/>
                  <a:gd name="T4" fmla="*/ 79 w 1089"/>
                  <a:gd name="T5" fmla="*/ 225 h 610"/>
                  <a:gd name="T6" fmla="*/ 157 w 1089"/>
                  <a:gd name="T7" fmla="*/ 222 h 610"/>
                  <a:gd name="T8" fmla="*/ 234 w 1089"/>
                  <a:gd name="T9" fmla="*/ 217 h 610"/>
                  <a:gd name="T10" fmla="*/ 311 w 1089"/>
                  <a:gd name="T11" fmla="*/ 210 h 610"/>
                  <a:gd name="T12" fmla="*/ 385 w 1089"/>
                  <a:gd name="T13" fmla="*/ 201 h 610"/>
                  <a:gd name="T14" fmla="*/ 457 w 1089"/>
                  <a:gd name="T15" fmla="*/ 192 h 610"/>
                  <a:gd name="T16" fmla="*/ 529 w 1089"/>
                  <a:gd name="T17" fmla="*/ 179 h 610"/>
                  <a:gd name="T18" fmla="*/ 599 w 1089"/>
                  <a:gd name="T19" fmla="*/ 165 h 610"/>
                  <a:gd name="T20" fmla="*/ 667 w 1089"/>
                  <a:gd name="T21" fmla="*/ 149 h 610"/>
                  <a:gd name="T22" fmla="*/ 733 w 1089"/>
                  <a:gd name="T23" fmla="*/ 134 h 610"/>
                  <a:gd name="T24" fmla="*/ 798 w 1089"/>
                  <a:gd name="T25" fmla="*/ 114 h 610"/>
                  <a:gd name="T26" fmla="*/ 860 w 1089"/>
                  <a:gd name="T27" fmla="*/ 94 h 610"/>
                  <a:gd name="T28" fmla="*/ 921 w 1089"/>
                  <a:gd name="T29" fmla="*/ 73 h 610"/>
                  <a:gd name="T30" fmla="*/ 979 w 1089"/>
                  <a:gd name="T31" fmla="*/ 50 h 610"/>
                  <a:gd name="T32" fmla="*/ 1035 w 1089"/>
                  <a:gd name="T33" fmla="*/ 27 h 610"/>
                  <a:gd name="T34" fmla="*/ 1089 w 1089"/>
                  <a:gd name="T35" fmla="*/ 0 h 610"/>
                  <a:gd name="T36" fmla="*/ 1089 w 1089"/>
                  <a:gd name="T37" fmla="*/ 385 h 610"/>
                  <a:gd name="T38" fmla="*/ 1089 w 1089"/>
                  <a:gd name="T39" fmla="*/ 385 h 610"/>
                  <a:gd name="T40" fmla="*/ 1035 w 1089"/>
                  <a:gd name="T41" fmla="*/ 411 h 610"/>
                  <a:gd name="T42" fmla="*/ 979 w 1089"/>
                  <a:gd name="T43" fmla="*/ 435 h 610"/>
                  <a:gd name="T44" fmla="*/ 921 w 1089"/>
                  <a:gd name="T45" fmla="*/ 457 h 610"/>
                  <a:gd name="T46" fmla="*/ 860 w 1089"/>
                  <a:gd name="T47" fmla="*/ 480 h 610"/>
                  <a:gd name="T48" fmla="*/ 798 w 1089"/>
                  <a:gd name="T49" fmla="*/ 499 h 610"/>
                  <a:gd name="T50" fmla="*/ 733 w 1089"/>
                  <a:gd name="T51" fmla="*/ 518 h 610"/>
                  <a:gd name="T52" fmla="*/ 667 w 1089"/>
                  <a:gd name="T53" fmla="*/ 535 h 610"/>
                  <a:gd name="T54" fmla="*/ 599 w 1089"/>
                  <a:gd name="T55" fmla="*/ 550 h 610"/>
                  <a:gd name="T56" fmla="*/ 529 w 1089"/>
                  <a:gd name="T57" fmla="*/ 564 h 610"/>
                  <a:gd name="T58" fmla="*/ 457 w 1089"/>
                  <a:gd name="T59" fmla="*/ 576 h 610"/>
                  <a:gd name="T60" fmla="*/ 385 w 1089"/>
                  <a:gd name="T61" fmla="*/ 587 h 610"/>
                  <a:gd name="T62" fmla="*/ 311 w 1089"/>
                  <a:gd name="T63" fmla="*/ 595 h 610"/>
                  <a:gd name="T64" fmla="*/ 234 w 1089"/>
                  <a:gd name="T65" fmla="*/ 601 h 610"/>
                  <a:gd name="T66" fmla="*/ 157 w 1089"/>
                  <a:gd name="T67" fmla="*/ 606 h 610"/>
                  <a:gd name="T68" fmla="*/ 79 w 1089"/>
                  <a:gd name="T69" fmla="*/ 609 h 610"/>
                  <a:gd name="T70" fmla="*/ 0 w 1089"/>
                  <a:gd name="T71" fmla="*/ 610 h 610"/>
                  <a:gd name="T72" fmla="*/ 0 w 1089"/>
                  <a:gd name="T73" fmla="*/ 22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9" h="610">
                    <a:moveTo>
                      <a:pt x="0" y="226"/>
                    </a:moveTo>
                    <a:lnTo>
                      <a:pt x="0" y="226"/>
                    </a:lnTo>
                    <a:lnTo>
                      <a:pt x="79" y="225"/>
                    </a:lnTo>
                    <a:lnTo>
                      <a:pt x="157" y="222"/>
                    </a:lnTo>
                    <a:lnTo>
                      <a:pt x="234" y="217"/>
                    </a:lnTo>
                    <a:lnTo>
                      <a:pt x="311" y="210"/>
                    </a:lnTo>
                    <a:lnTo>
                      <a:pt x="385" y="201"/>
                    </a:lnTo>
                    <a:lnTo>
                      <a:pt x="457" y="192"/>
                    </a:lnTo>
                    <a:lnTo>
                      <a:pt x="529" y="179"/>
                    </a:lnTo>
                    <a:lnTo>
                      <a:pt x="599" y="165"/>
                    </a:lnTo>
                    <a:lnTo>
                      <a:pt x="667" y="149"/>
                    </a:lnTo>
                    <a:lnTo>
                      <a:pt x="733" y="134"/>
                    </a:lnTo>
                    <a:lnTo>
                      <a:pt x="798" y="114"/>
                    </a:lnTo>
                    <a:lnTo>
                      <a:pt x="860" y="94"/>
                    </a:lnTo>
                    <a:lnTo>
                      <a:pt x="921" y="73"/>
                    </a:lnTo>
                    <a:lnTo>
                      <a:pt x="979" y="50"/>
                    </a:lnTo>
                    <a:lnTo>
                      <a:pt x="1035" y="27"/>
                    </a:lnTo>
                    <a:lnTo>
                      <a:pt x="1089" y="0"/>
                    </a:lnTo>
                    <a:lnTo>
                      <a:pt x="1089" y="385"/>
                    </a:lnTo>
                    <a:lnTo>
                      <a:pt x="1089" y="385"/>
                    </a:lnTo>
                    <a:lnTo>
                      <a:pt x="1035" y="411"/>
                    </a:lnTo>
                    <a:lnTo>
                      <a:pt x="979" y="435"/>
                    </a:lnTo>
                    <a:lnTo>
                      <a:pt x="921" y="457"/>
                    </a:lnTo>
                    <a:lnTo>
                      <a:pt x="860" y="480"/>
                    </a:lnTo>
                    <a:lnTo>
                      <a:pt x="798" y="499"/>
                    </a:lnTo>
                    <a:lnTo>
                      <a:pt x="733" y="518"/>
                    </a:lnTo>
                    <a:lnTo>
                      <a:pt x="667" y="535"/>
                    </a:lnTo>
                    <a:lnTo>
                      <a:pt x="599" y="550"/>
                    </a:lnTo>
                    <a:lnTo>
                      <a:pt x="529" y="564"/>
                    </a:lnTo>
                    <a:lnTo>
                      <a:pt x="457" y="576"/>
                    </a:lnTo>
                    <a:lnTo>
                      <a:pt x="385" y="587"/>
                    </a:lnTo>
                    <a:lnTo>
                      <a:pt x="311" y="595"/>
                    </a:lnTo>
                    <a:lnTo>
                      <a:pt x="234" y="601"/>
                    </a:lnTo>
                    <a:lnTo>
                      <a:pt x="157" y="606"/>
                    </a:lnTo>
                    <a:lnTo>
                      <a:pt x="79" y="609"/>
                    </a:lnTo>
                    <a:lnTo>
                      <a:pt x="0" y="610"/>
                    </a:lnTo>
                    <a:lnTo>
                      <a:pt x="0" y="226"/>
                    </a:lnTo>
                    <a:close/>
                  </a:path>
                </a:pathLst>
              </a:custGeom>
              <a:gradFill rotWithShape="1">
                <a:gsLst>
                  <a:gs pos="0">
                    <a:srgbClr val="C0C0C0"/>
                  </a:gs>
                  <a:gs pos="100000">
                    <a:srgbClr val="B2B2B2"/>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sz="2800">
                  <a:latin typeface="微软雅黑" panose="020B0503020204020204" pitchFamily="34" charset="-122"/>
                  <a:ea typeface="微软雅黑" panose="020B0503020204020204" pitchFamily="34" charset="-122"/>
                </a:endParaRPr>
              </a:p>
            </p:txBody>
          </p:sp>
        </p:grpSp>
        <p:sp>
          <p:nvSpPr>
            <p:cNvPr id="14" name="Text Box 37"/>
            <p:cNvSpPr txBox="1">
              <a:spLocks noChangeArrowheads="1"/>
            </p:cNvSpPr>
            <p:nvPr/>
          </p:nvSpPr>
          <p:spPr bwMode="auto">
            <a:xfrm>
              <a:off x="3275013" y="3364904"/>
              <a:ext cx="1295400" cy="276999"/>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dirty="0">
                  <a:solidFill>
                    <a:srgbClr val="9E9E9E"/>
                  </a:solidFill>
                  <a:latin typeface="微软雅黑" panose="020B0503020204020204" pitchFamily="34" charset="-122"/>
                  <a:ea typeface="微软雅黑" panose="020B0503020204020204" pitchFamily="34" charset="-122"/>
                </a:rPr>
                <a:t>文本</a:t>
              </a:r>
              <a:endParaRPr lang="en-US" altLang="ko-KR" sz="1200" dirty="0">
                <a:solidFill>
                  <a:srgbClr val="9E9E9E"/>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750"/>
                                        <p:tgtEl>
                                          <p:spTgt spid="50"/>
                                        </p:tgtEl>
                                      </p:cBhvr>
                                    </p:animEffect>
                                  </p:childTnLst>
                                </p:cTn>
                              </p:par>
                            </p:childTnLst>
                          </p:cTn>
                        </p:par>
                        <p:par>
                          <p:cTn id="8" fill="hold">
                            <p:stCondLst>
                              <p:cond delay="1000"/>
                            </p:stCondLst>
                            <p:childTnLst>
                              <p:par>
                                <p:cTn id="9" presetID="2" presetClass="entr" presetSubtype="4"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750" fill="hold"/>
                                        <p:tgtEl>
                                          <p:spTgt spid="49"/>
                                        </p:tgtEl>
                                        <p:attrNameLst>
                                          <p:attrName>ppt_x</p:attrName>
                                        </p:attrNameLst>
                                      </p:cBhvr>
                                      <p:tavLst>
                                        <p:tav tm="0">
                                          <p:val>
                                            <p:strVal val="#ppt_x"/>
                                          </p:val>
                                        </p:tav>
                                        <p:tav tm="100000">
                                          <p:val>
                                            <p:strVal val="#ppt_x"/>
                                          </p:val>
                                        </p:tav>
                                      </p:tavLst>
                                    </p:anim>
                                    <p:anim calcmode="lin" valueType="num">
                                      <p:cBhvr additive="base">
                                        <p:cTn id="12" dur="750" fill="hold"/>
                                        <p:tgtEl>
                                          <p:spTgt spid="49"/>
                                        </p:tgtEl>
                                        <p:attrNameLst>
                                          <p:attrName>ppt_y</p:attrName>
                                        </p:attrNameLst>
                                      </p:cBhvr>
                                      <p:tavLst>
                                        <p:tav tm="0">
                                          <p:val>
                                            <p:strVal val="1+#ppt_h/2"/>
                                          </p:val>
                                        </p:tav>
                                        <p:tav tm="100000">
                                          <p:val>
                                            <p:strVal val="#ppt_y"/>
                                          </p:val>
                                        </p:tav>
                                      </p:tavLst>
                                    </p:anim>
                                  </p:childTnLst>
                                </p:cTn>
                              </p:par>
                            </p:childTnLst>
                          </p:cTn>
                        </p:par>
                        <p:par>
                          <p:cTn id="13" fill="hold">
                            <p:stCondLst>
                              <p:cond delay="2000"/>
                            </p:stCondLst>
                            <p:childTnLst>
                              <p:par>
                                <p:cTn id="14" presetID="2" presetClass="entr" presetSubtype="2"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750" fill="hold"/>
                                        <p:tgtEl>
                                          <p:spTgt spid="48"/>
                                        </p:tgtEl>
                                        <p:attrNameLst>
                                          <p:attrName>ppt_x</p:attrName>
                                        </p:attrNameLst>
                                      </p:cBhvr>
                                      <p:tavLst>
                                        <p:tav tm="0">
                                          <p:val>
                                            <p:strVal val="1+#ppt_w/2"/>
                                          </p:val>
                                        </p:tav>
                                        <p:tav tm="100000">
                                          <p:val>
                                            <p:strVal val="#ppt_x"/>
                                          </p:val>
                                        </p:tav>
                                      </p:tavLst>
                                    </p:anim>
                                    <p:anim calcmode="lin" valueType="num">
                                      <p:cBhvr additive="base">
                                        <p:cTn id="17" dur="750" fill="hold"/>
                                        <p:tgtEl>
                                          <p:spTgt spid="48"/>
                                        </p:tgtEl>
                                        <p:attrNameLst>
                                          <p:attrName>ppt_y</p:attrName>
                                        </p:attrNameLst>
                                      </p:cBhvr>
                                      <p:tavLst>
                                        <p:tav tm="0">
                                          <p:val>
                                            <p:strVal val="#ppt_y"/>
                                          </p:val>
                                        </p:tav>
                                        <p:tav tm="100000">
                                          <p:val>
                                            <p:strVal val="#ppt_y"/>
                                          </p:val>
                                        </p:tav>
                                      </p:tavLst>
                                    </p:anim>
                                  </p:childTnLst>
                                </p:cTn>
                              </p:par>
                            </p:childTnLst>
                          </p:cTn>
                        </p:par>
                        <p:par>
                          <p:cTn id="18" fill="hold">
                            <p:stCondLst>
                              <p:cond delay="3000"/>
                            </p:stCondLst>
                            <p:childTnLst>
                              <p:par>
                                <p:cTn id="19" presetID="42" presetClass="entr" presetSubtype="0" fill="hold" grpId="0" nodeType="after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anim calcmode="lin" valueType="num">
                                      <p:cBhvr>
                                        <p:cTn id="22" dur="500" fill="hold"/>
                                        <p:tgtEl>
                                          <p:spTgt spid="42"/>
                                        </p:tgtEl>
                                        <p:attrNameLst>
                                          <p:attrName>ppt_x</p:attrName>
                                        </p:attrNameLst>
                                      </p:cBhvr>
                                      <p:tavLst>
                                        <p:tav tm="0">
                                          <p:val>
                                            <p:strVal val="#ppt_x"/>
                                          </p:val>
                                        </p:tav>
                                        <p:tav tm="100000">
                                          <p:val>
                                            <p:strVal val="#ppt_x"/>
                                          </p:val>
                                        </p:tav>
                                      </p:tavLst>
                                    </p:anim>
                                    <p:anim calcmode="lin" valueType="num">
                                      <p:cBhvr>
                                        <p:cTn id="23" dur="500" fill="hold"/>
                                        <p:tgtEl>
                                          <p:spTgt spid="42"/>
                                        </p:tgtEl>
                                        <p:attrNameLst>
                                          <p:attrName>ppt_y</p:attrName>
                                        </p:attrNameLst>
                                      </p:cBhvr>
                                      <p:tavLst>
                                        <p:tav tm="0">
                                          <p:val>
                                            <p:strVal val="#ppt_y+.1"/>
                                          </p:val>
                                        </p:tav>
                                        <p:tav tm="100000">
                                          <p:val>
                                            <p:strVal val="#ppt_y"/>
                                          </p:val>
                                        </p:tav>
                                      </p:tavLst>
                                    </p:anim>
                                  </p:childTnLst>
                                </p:cTn>
                              </p:par>
                            </p:childTnLst>
                          </p:cTn>
                        </p:par>
                        <p:par>
                          <p:cTn id="24" fill="hold">
                            <p:stCondLst>
                              <p:cond delay="3500"/>
                            </p:stCondLst>
                            <p:childTnLst>
                              <p:par>
                                <p:cTn id="25" presetID="42" presetClass="entr" presetSubtype="0"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anim calcmode="lin" valueType="num">
                                      <p:cBhvr>
                                        <p:cTn id="28" dur="500" fill="hold"/>
                                        <p:tgtEl>
                                          <p:spTgt spid="43"/>
                                        </p:tgtEl>
                                        <p:attrNameLst>
                                          <p:attrName>ppt_x</p:attrName>
                                        </p:attrNameLst>
                                      </p:cBhvr>
                                      <p:tavLst>
                                        <p:tav tm="0">
                                          <p:val>
                                            <p:strVal val="#ppt_x"/>
                                          </p:val>
                                        </p:tav>
                                        <p:tav tm="100000">
                                          <p:val>
                                            <p:strVal val="#ppt_x"/>
                                          </p:val>
                                        </p:tav>
                                      </p:tavLst>
                                    </p:anim>
                                    <p:anim calcmode="lin" valueType="num">
                                      <p:cBhvr>
                                        <p:cTn id="29" dur="500" fill="hold"/>
                                        <p:tgtEl>
                                          <p:spTgt spid="43"/>
                                        </p:tgtEl>
                                        <p:attrNameLst>
                                          <p:attrName>ppt_y</p:attrName>
                                        </p:attrNameLst>
                                      </p:cBhvr>
                                      <p:tavLst>
                                        <p:tav tm="0">
                                          <p:val>
                                            <p:strVal val="#ppt_y+.1"/>
                                          </p:val>
                                        </p:tav>
                                        <p:tav tm="100000">
                                          <p:val>
                                            <p:strVal val="#ppt_y"/>
                                          </p:val>
                                        </p:tav>
                                      </p:tavLst>
                                    </p:anim>
                                  </p:childTnLst>
                                </p:cTn>
                              </p:par>
                            </p:childTnLst>
                          </p:cTn>
                        </p:par>
                        <p:par>
                          <p:cTn id="30" fill="hold">
                            <p:stCondLst>
                              <p:cond delay="4000"/>
                            </p:stCondLst>
                            <p:childTnLst>
                              <p:par>
                                <p:cTn id="31" presetID="42" presetClass="entr" presetSubtype="0" fill="hold" grpId="0" nodeType="after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fade">
                                      <p:cBhvr>
                                        <p:cTn id="33" dur="500"/>
                                        <p:tgtEl>
                                          <p:spTgt spid="44"/>
                                        </p:tgtEl>
                                      </p:cBhvr>
                                    </p:animEffect>
                                    <p:anim calcmode="lin" valueType="num">
                                      <p:cBhvr>
                                        <p:cTn id="34" dur="500" fill="hold"/>
                                        <p:tgtEl>
                                          <p:spTgt spid="44"/>
                                        </p:tgtEl>
                                        <p:attrNameLst>
                                          <p:attrName>ppt_x</p:attrName>
                                        </p:attrNameLst>
                                      </p:cBhvr>
                                      <p:tavLst>
                                        <p:tav tm="0">
                                          <p:val>
                                            <p:strVal val="#ppt_x"/>
                                          </p:val>
                                        </p:tav>
                                        <p:tav tm="100000">
                                          <p:val>
                                            <p:strVal val="#ppt_x"/>
                                          </p:val>
                                        </p:tav>
                                      </p:tavLst>
                                    </p:anim>
                                    <p:anim calcmode="lin" valueType="num">
                                      <p:cBhvr>
                                        <p:cTn id="35" dur="5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164633" y="2148309"/>
            <a:ext cx="2079625" cy="2079625"/>
            <a:chOff x="4380657" y="2035895"/>
            <a:chExt cx="2079625" cy="2079625"/>
          </a:xfrm>
        </p:grpSpPr>
        <p:grpSp>
          <p:nvGrpSpPr>
            <p:cNvPr id="3" name="Group 8"/>
            <p:cNvGrpSpPr/>
            <p:nvPr/>
          </p:nvGrpSpPr>
          <p:grpSpPr bwMode="auto">
            <a:xfrm>
              <a:off x="4380657" y="2035895"/>
              <a:ext cx="2079625" cy="2079625"/>
              <a:chOff x="3242" y="1969"/>
              <a:chExt cx="1310" cy="1310"/>
            </a:xfrm>
          </p:grpSpPr>
          <p:sp>
            <p:nvSpPr>
              <p:cNvPr id="24" name="Freeform 9"/>
              <p:cNvSpPr/>
              <p:nvPr/>
            </p:nvSpPr>
            <p:spPr bwMode="auto">
              <a:xfrm>
                <a:off x="3242" y="1969"/>
                <a:ext cx="1310" cy="327"/>
              </a:xfrm>
              <a:custGeom>
                <a:avLst/>
                <a:gdLst>
                  <a:gd name="T0" fmla="*/ 1728 w 2304"/>
                  <a:gd name="T1" fmla="*/ 0 h 576"/>
                  <a:gd name="T2" fmla="*/ 0 w 2304"/>
                  <a:gd name="T3" fmla="*/ 0 h 576"/>
                  <a:gd name="T4" fmla="*/ 576 w 2304"/>
                  <a:gd name="T5" fmla="*/ 576 h 576"/>
                  <a:gd name="T6" fmla="*/ 2304 w 2304"/>
                  <a:gd name="T7" fmla="*/ 576 h 576"/>
                  <a:gd name="T8" fmla="*/ 1728 w 2304"/>
                  <a:gd name="T9" fmla="*/ 0 h 576"/>
                </a:gdLst>
                <a:ahLst/>
                <a:cxnLst>
                  <a:cxn ang="0">
                    <a:pos x="T0" y="T1"/>
                  </a:cxn>
                  <a:cxn ang="0">
                    <a:pos x="T2" y="T3"/>
                  </a:cxn>
                  <a:cxn ang="0">
                    <a:pos x="T4" y="T5"/>
                  </a:cxn>
                  <a:cxn ang="0">
                    <a:pos x="T6" y="T7"/>
                  </a:cxn>
                  <a:cxn ang="0">
                    <a:pos x="T8" y="T9"/>
                  </a:cxn>
                </a:cxnLst>
                <a:rect l="0" t="0" r="r" b="b"/>
                <a:pathLst>
                  <a:path w="2304" h="576">
                    <a:moveTo>
                      <a:pt x="1728" y="0"/>
                    </a:moveTo>
                    <a:lnTo>
                      <a:pt x="0" y="0"/>
                    </a:lnTo>
                    <a:lnTo>
                      <a:pt x="576" y="576"/>
                    </a:lnTo>
                    <a:lnTo>
                      <a:pt x="2304" y="576"/>
                    </a:lnTo>
                    <a:lnTo>
                      <a:pt x="1728" y="0"/>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5" name="Rectangle 10"/>
              <p:cNvSpPr>
                <a:spLocks noChangeArrowheads="1"/>
              </p:cNvSpPr>
              <p:nvPr/>
            </p:nvSpPr>
            <p:spPr bwMode="auto">
              <a:xfrm>
                <a:off x="3569" y="2296"/>
                <a:ext cx="983" cy="983"/>
              </a:xfrm>
              <a:prstGeom prst="rect">
                <a:avLst/>
              </a:prstGeom>
              <a:solidFill>
                <a:schemeClr val="bg2">
                  <a:lumMod val="50000"/>
                </a:scheme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6" name="Freeform 11"/>
              <p:cNvSpPr/>
              <p:nvPr/>
            </p:nvSpPr>
            <p:spPr bwMode="auto">
              <a:xfrm>
                <a:off x="3242" y="1969"/>
                <a:ext cx="327" cy="1310"/>
              </a:xfrm>
              <a:custGeom>
                <a:avLst/>
                <a:gdLst>
                  <a:gd name="T0" fmla="*/ 0 w 576"/>
                  <a:gd name="T1" fmla="*/ 0 h 2304"/>
                  <a:gd name="T2" fmla="*/ 0 w 576"/>
                  <a:gd name="T3" fmla="*/ 1728 h 2304"/>
                  <a:gd name="T4" fmla="*/ 576 w 576"/>
                  <a:gd name="T5" fmla="*/ 2304 h 2304"/>
                  <a:gd name="T6" fmla="*/ 576 w 576"/>
                  <a:gd name="T7" fmla="*/ 576 h 2304"/>
                  <a:gd name="T8" fmla="*/ 0 w 576"/>
                  <a:gd name="T9" fmla="*/ 0 h 2304"/>
                </a:gdLst>
                <a:ahLst/>
                <a:cxnLst>
                  <a:cxn ang="0">
                    <a:pos x="T0" y="T1"/>
                  </a:cxn>
                  <a:cxn ang="0">
                    <a:pos x="T2" y="T3"/>
                  </a:cxn>
                  <a:cxn ang="0">
                    <a:pos x="T4" y="T5"/>
                  </a:cxn>
                  <a:cxn ang="0">
                    <a:pos x="T6" y="T7"/>
                  </a:cxn>
                  <a:cxn ang="0">
                    <a:pos x="T8" y="T9"/>
                  </a:cxn>
                </a:cxnLst>
                <a:rect l="0" t="0" r="r" b="b"/>
                <a:pathLst>
                  <a:path w="576" h="2304">
                    <a:moveTo>
                      <a:pt x="0" y="0"/>
                    </a:moveTo>
                    <a:lnTo>
                      <a:pt x="0" y="1728"/>
                    </a:lnTo>
                    <a:lnTo>
                      <a:pt x="576" y="2304"/>
                    </a:lnTo>
                    <a:lnTo>
                      <a:pt x="576" y="576"/>
                    </a:lnTo>
                    <a:lnTo>
                      <a:pt x="0" y="0"/>
                    </a:lnTo>
                    <a:close/>
                  </a:path>
                </a:pathLst>
              </a:custGeom>
              <a:solidFill>
                <a:schemeClr val="bg2">
                  <a:lumMod val="75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9" name="Text Box 25"/>
            <p:cNvSpPr txBox="1">
              <a:spLocks noChangeArrowheads="1"/>
            </p:cNvSpPr>
            <p:nvPr/>
          </p:nvSpPr>
          <p:spPr bwMode="auto">
            <a:xfrm>
              <a:off x="5137895" y="3723878"/>
              <a:ext cx="1116013" cy="338554"/>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600" b="1" dirty="0">
                  <a:latin typeface="微软雅黑" panose="020B0503020204020204" pitchFamily="34" charset="-122"/>
                  <a:ea typeface="微软雅黑" panose="020B0503020204020204" pitchFamily="34" charset="-122"/>
                </a:rPr>
                <a:t>填加标题</a:t>
              </a:r>
              <a:endParaRPr lang="en-US" altLang="ko-KR" sz="1600" dirty="0">
                <a:latin typeface="Arial Black" panose="020B0A04020102020204" pitchFamily="34" charset="0"/>
              </a:endParaRPr>
            </a:p>
          </p:txBody>
        </p:sp>
      </p:grpSp>
      <p:sp>
        <p:nvSpPr>
          <p:cNvPr id="7" name="Arc 23"/>
          <p:cNvSpPr/>
          <p:nvPr/>
        </p:nvSpPr>
        <p:spPr bwMode="auto">
          <a:xfrm>
            <a:off x="3661396" y="1783184"/>
            <a:ext cx="979488" cy="611188"/>
          </a:xfrm>
          <a:custGeom>
            <a:avLst/>
            <a:gdLst>
              <a:gd name="G0" fmla="+- 21600 0 0"/>
              <a:gd name="G1" fmla="+- 21600 0 0"/>
              <a:gd name="G2" fmla="+- 21600 0 0"/>
              <a:gd name="T0" fmla="*/ 11 w 35703"/>
              <a:gd name="T1" fmla="*/ 22278 h 22278"/>
              <a:gd name="T2" fmla="*/ 35703 w 35703"/>
              <a:gd name="T3" fmla="*/ 5240 h 22278"/>
              <a:gd name="T4" fmla="*/ 21600 w 35703"/>
              <a:gd name="T5" fmla="*/ 21600 h 22278"/>
            </a:gdLst>
            <a:ahLst/>
            <a:cxnLst>
              <a:cxn ang="0">
                <a:pos x="T0" y="T1"/>
              </a:cxn>
              <a:cxn ang="0">
                <a:pos x="T2" y="T3"/>
              </a:cxn>
              <a:cxn ang="0">
                <a:pos x="T4" y="T5"/>
              </a:cxn>
            </a:cxnLst>
            <a:rect l="0" t="0" r="r" b="b"/>
            <a:pathLst>
              <a:path w="35703" h="22278" fill="none" extrusionOk="0">
                <a:moveTo>
                  <a:pt x="10" y="22278"/>
                </a:moveTo>
                <a:cubicBezTo>
                  <a:pt x="3" y="22052"/>
                  <a:pt x="0" y="21826"/>
                  <a:pt x="0" y="21600"/>
                </a:cubicBezTo>
                <a:cubicBezTo>
                  <a:pt x="0" y="9670"/>
                  <a:pt x="9670" y="0"/>
                  <a:pt x="21600" y="0"/>
                </a:cubicBezTo>
                <a:cubicBezTo>
                  <a:pt x="26777" y="-1"/>
                  <a:pt x="31781" y="1859"/>
                  <a:pt x="35703" y="5239"/>
                </a:cubicBezTo>
              </a:path>
              <a:path w="35703" h="22278" stroke="0" extrusionOk="0">
                <a:moveTo>
                  <a:pt x="10" y="22278"/>
                </a:moveTo>
                <a:cubicBezTo>
                  <a:pt x="3" y="22052"/>
                  <a:pt x="0" y="21826"/>
                  <a:pt x="0" y="21600"/>
                </a:cubicBezTo>
                <a:cubicBezTo>
                  <a:pt x="0" y="9670"/>
                  <a:pt x="9670" y="0"/>
                  <a:pt x="21600" y="0"/>
                </a:cubicBezTo>
                <a:cubicBezTo>
                  <a:pt x="26777" y="-1"/>
                  <a:pt x="31781" y="1859"/>
                  <a:pt x="35703" y="5239"/>
                </a:cubicBezTo>
                <a:lnTo>
                  <a:pt x="21600" y="21600"/>
                </a:lnTo>
                <a:close/>
              </a:path>
            </a:pathLst>
          </a:custGeom>
          <a:noFill/>
          <a:ln w="31750" cap="rnd">
            <a:solidFill>
              <a:srgbClr val="3A9707"/>
            </a:solidFill>
            <a:prstDash val="sysDot"/>
            <a:rou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grpSp>
        <p:nvGrpSpPr>
          <p:cNvPr id="28" name="组合 27"/>
          <p:cNvGrpSpPr/>
          <p:nvPr/>
        </p:nvGrpSpPr>
        <p:grpSpPr>
          <a:xfrm>
            <a:off x="2604121" y="2667421"/>
            <a:ext cx="2079625" cy="1560513"/>
            <a:chOff x="2820145" y="2555007"/>
            <a:chExt cx="2079625" cy="1560513"/>
          </a:xfrm>
        </p:grpSpPr>
        <p:grpSp>
          <p:nvGrpSpPr>
            <p:cNvPr id="4" name="Group 12"/>
            <p:cNvGrpSpPr/>
            <p:nvPr/>
          </p:nvGrpSpPr>
          <p:grpSpPr bwMode="auto">
            <a:xfrm>
              <a:off x="2820145" y="2555007"/>
              <a:ext cx="2079625" cy="1560513"/>
              <a:chOff x="2259" y="2296"/>
              <a:chExt cx="1310" cy="983"/>
            </a:xfrm>
          </p:grpSpPr>
          <p:sp>
            <p:nvSpPr>
              <p:cNvPr id="21" name="Freeform 13"/>
              <p:cNvSpPr/>
              <p:nvPr/>
            </p:nvSpPr>
            <p:spPr bwMode="auto">
              <a:xfrm>
                <a:off x="2259" y="2296"/>
                <a:ext cx="1310" cy="328"/>
              </a:xfrm>
              <a:custGeom>
                <a:avLst/>
                <a:gdLst>
                  <a:gd name="T0" fmla="*/ 1728 w 2304"/>
                  <a:gd name="T1" fmla="*/ 0 h 576"/>
                  <a:gd name="T2" fmla="*/ 0 w 2304"/>
                  <a:gd name="T3" fmla="*/ 0 h 576"/>
                  <a:gd name="T4" fmla="*/ 576 w 2304"/>
                  <a:gd name="T5" fmla="*/ 576 h 576"/>
                  <a:gd name="T6" fmla="*/ 2304 w 2304"/>
                  <a:gd name="T7" fmla="*/ 576 h 576"/>
                  <a:gd name="T8" fmla="*/ 1728 w 2304"/>
                  <a:gd name="T9" fmla="*/ 0 h 576"/>
                </a:gdLst>
                <a:ahLst/>
                <a:cxnLst>
                  <a:cxn ang="0">
                    <a:pos x="T0" y="T1"/>
                  </a:cxn>
                  <a:cxn ang="0">
                    <a:pos x="T2" y="T3"/>
                  </a:cxn>
                  <a:cxn ang="0">
                    <a:pos x="T4" y="T5"/>
                  </a:cxn>
                  <a:cxn ang="0">
                    <a:pos x="T6" y="T7"/>
                  </a:cxn>
                  <a:cxn ang="0">
                    <a:pos x="T8" y="T9"/>
                  </a:cxn>
                </a:cxnLst>
                <a:rect l="0" t="0" r="r" b="b"/>
                <a:pathLst>
                  <a:path w="2304" h="576">
                    <a:moveTo>
                      <a:pt x="1728" y="0"/>
                    </a:moveTo>
                    <a:lnTo>
                      <a:pt x="0" y="0"/>
                    </a:lnTo>
                    <a:lnTo>
                      <a:pt x="576" y="576"/>
                    </a:lnTo>
                    <a:lnTo>
                      <a:pt x="2304" y="576"/>
                    </a:lnTo>
                    <a:lnTo>
                      <a:pt x="1728" y="0"/>
                    </a:lnTo>
                    <a:close/>
                  </a:path>
                </a:pathLst>
              </a:custGeom>
              <a:solidFill>
                <a:srgbClr val="03A55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2" name="Rectangle 14"/>
              <p:cNvSpPr>
                <a:spLocks noChangeArrowheads="1"/>
              </p:cNvSpPr>
              <p:nvPr/>
            </p:nvSpPr>
            <p:spPr bwMode="auto">
              <a:xfrm>
                <a:off x="2586" y="2624"/>
                <a:ext cx="983" cy="655"/>
              </a:xfrm>
              <a:prstGeom prst="rect">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3" name="Freeform 15"/>
              <p:cNvSpPr/>
              <p:nvPr/>
            </p:nvSpPr>
            <p:spPr bwMode="auto">
              <a:xfrm>
                <a:off x="2259" y="2296"/>
                <a:ext cx="327" cy="983"/>
              </a:xfrm>
              <a:custGeom>
                <a:avLst/>
                <a:gdLst>
                  <a:gd name="T0" fmla="*/ 0 w 576"/>
                  <a:gd name="T1" fmla="*/ 0 h 1728"/>
                  <a:gd name="T2" fmla="*/ 0 w 576"/>
                  <a:gd name="T3" fmla="*/ 1152 h 1728"/>
                  <a:gd name="T4" fmla="*/ 576 w 576"/>
                  <a:gd name="T5" fmla="*/ 1728 h 1728"/>
                  <a:gd name="T6" fmla="*/ 576 w 576"/>
                  <a:gd name="T7" fmla="*/ 576 h 1728"/>
                  <a:gd name="T8" fmla="*/ 0 w 576"/>
                  <a:gd name="T9" fmla="*/ 0 h 1728"/>
                </a:gdLst>
                <a:ahLst/>
                <a:cxnLst>
                  <a:cxn ang="0">
                    <a:pos x="T0" y="T1"/>
                  </a:cxn>
                  <a:cxn ang="0">
                    <a:pos x="T2" y="T3"/>
                  </a:cxn>
                  <a:cxn ang="0">
                    <a:pos x="T4" y="T5"/>
                  </a:cxn>
                  <a:cxn ang="0">
                    <a:pos x="T6" y="T7"/>
                  </a:cxn>
                  <a:cxn ang="0">
                    <a:pos x="T8" y="T9"/>
                  </a:cxn>
                </a:cxnLst>
                <a:rect l="0" t="0" r="r" b="b"/>
                <a:pathLst>
                  <a:path w="576" h="1728">
                    <a:moveTo>
                      <a:pt x="0" y="0"/>
                    </a:moveTo>
                    <a:lnTo>
                      <a:pt x="0" y="1152"/>
                    </a:lnTo>
                    <a:lnTo>
                      <a:pt x="576" y="1728"/>
                    </a:lnTo>
                    <a:lnTo>
                      <a:pt x="576" y="576"/>
                    </a:lnTo>
                    <a:lnTo>
                      <a:pt x="0" y="0"/>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8" name="Text Box 24"/>
            <p:cNvSpPr txBox="1">
              <a:spLocks noChangeArrowheads="1"/>
            </p:cNvSpPr>
            <p:nvPr/>
          </p:nvSpPr>
          <p:spPr bwMode="auto">
            <a:xfrm>
              <a:off x="3374182" y="3723878"/>
              <a:ext cx="1439863" cy="338554"/>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200" b="1" dirty="0">
                  <a:latin typeface="微软雅黑" panose="020B0503020204020204" pitchFamily="34" charset="-122"/>
                  <a:ea typeface="微软雅黑" panose="020B0503020204020204" pitchFamily="34" charset="-122"/>
                </a:rPr>
                <a:t> </a:t>
              </a:r>
              <a:r>
                <a:rPr lang="zh-CN" altLang="en-US" sz="1600" b="1" dirty="0">
                  <a:latin typeface="微软雅黑" panose="020B0503020204020204" pitchFamily="34" charset="-122"/>
                  <a:ea typeface="微软雅黑" panose="020B0503020204020204" pitchFamily="34" charset="-122"/>
                </a:rPr>
                <a:t>填加标题</a:t>
              </a:r>
              <a:endParaRPr lang="en-US" altLang="ko-KR" sz="1600" dirty="0">
                <a:latin typeface="Arial Black" panose="020B0A04020102020204" pitchFamily="34" charset="0"/>
              </a:endParaRPr>
            </a:p>
          </p:txBody>
        </p:sp>
      </p:grpSp>
      <p:grpSp>
        <p:nvGrpSpPr>
          <p:cNvPr id="27" name="组合 26"/>
          <p:cNvGrpSpPr/>
          <p:nvPr/>
        </p:nvGrpSpPr>
        <p:grpSpPr>
          <a:xfrm>
            <a:off x="1043608" y="3188121"/>
            <a:ext cx="2079625" cy="1039813"/>
            <a:chOff x="1259632" y="3075707"/>
            <a:chExt cx="2079625" cy="1039813"/>
          </a:xfrm>
        </p:grpSpPr>
        <p:grpSp>
          <p:nvGrpSpPr>
            <p:cNvPr id="5" name="Group 16"/>
            <p:cNvGrpSpPr/>
            <p:nvPr/>
          </p:nvGrpSpPr>
          <p:grpSpPr bwMode="auto">
            <a:xfrm>
              <a:off x="1259632" y="3075707"/>
              <a:ext cx="2079625" cy="1039813"/>
              <a:chOff x="1276" y="2624"/>
              <a:chExt cx="1310" cy="655"/>
            </a:xfrm>
          </p:grpSpPr>
          <p:sp>
            <p:nvSpPr>
              <p:cNvPr id="18" name="Freeform 17"/>
              <p:cNvSpPr/>
              <p:nvPr/>
            </p:nvSpPr>
            <p:spPr bwMode="auto">
              <a:xfrm>
                <a:off x="1276" y="2624"/>
                <a:ext cx="1310" cy="328"/>
              </a:xfrm>
              <a:custGeom>
                <a:avLst/>
                <a:gdLst>
                  <a:gd name="T0" fmla="*/ 1728 w 2304"/>
                  <a:gd name="T1" fmla="*/ 0 h 576"/>
                  <a:gd name="T2" fmla="*/ 0 w 2304"/>
                  <a:gd name="T3" fmla="*/ 0 h 576"/>
                  <a:gd name="T4" fmla="*/ 576 w 2304"/>
                  <a:gd name="T5" fmla="*/ 576 h 576"/>
                  <a:gd name="T6" fmla="*/ 2304 w 2304"/>
                  <a:gd name="T7" fmla="*/ 576 h 576"/>
                  <a:gd name="T8" fmla="*/ 1728 w 2304"/>
                  <a:gd name="T9" fmla="*/ 0 h 576"/>
                </a:gdLst>
                <a:ahLst/>
                <a:cxnLst>
                  <a:cxn ang="0">
                    <a:pos x="T0" y="T1"/>
                  </a:cxn>
                  <a:cxn ang="0">
                    <a:pos x="T2" y="T3"/>
                  </a:cxn>
                  <a:cxn ang="0">
                    <a:pos x="T4" y="T5"/>
                  </a:cxn>
                  <a:cxn ang="0">
                    <a:pos x="T6" y="T7"/>
                  </a:cxn>
                  <a:cxn ang="0">
                    <a:pos x="T8" y="T9"/>
                  </a:cxn>
                </a:cxnLst>
                <a:rect l="0" t="0" r="r" b="b"/>
                <a:pathLst>
                  <a:path w="2304" h="576">
                    <a:moveTo>
                      <a:pt x="1728" y="0"/>
                    </a:moveTo>
                    <a:lnTo>
                      <a:pt x="0" y="0"/>
                    </a:lnTo>
                    <a:lnTo>
                      <a:pt x="576" y="576"/>
                    </a:lnTo>
                    <a:lnTo>
                      <a:pt x="2304" y="576"/>
                    </a:lnTo>
                    <a:lnTo>
                      <a:pt x="1728" y="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9" name="Rectangle 18"/>
              <p:cNvSpPr>
                <a:spLocks noChangeArrowheads="1"/>
              </p:cNvSpPr>
              <p:nvPr/>
            </p:nvSpPr>
            <p:spPr bwMode="auto">
              <a:xfrm>
                <a:off x="1603" y="2952"/>
                <a:ext cx="983" cy="32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 name="Freeform 19"/>
              <p:cNvSpPr/>
              <p:nvPr/>
            </p:nvSpPr>
            <p:spPr bwMode="auto">
              <a:xfrm>
                <a:off x="1276" y="2624"/>
                <a:ext cx="327" cy="655"/>
              </a:xfrm>
              <a:custGeom>
                <a:avLst/>
                <a:gdLst>
                  <a:gd name="T0" fmla="*/ 0 w 576"/>
                  <a:gd name="T1" fmla="*/ 0 h 1152"/>
                  <a:gd name="T2" fmla="*/ 0 w 576"/>
                  <a:gd name="T3" fmla="*/ 576 h 1152"/>
                  <a:gd name="T4" fmla="*/ 576 w 576"/>
                  <a:gd name="T5" fmla="*/ 1152 h 1152"/>
                  <a:gd name="T6" fmla="*/ 576 w 576"/>
                  <a:gd name="T7" fmla="*/ 576 h 1152"/>
                  <a:gd name="T8" fmla="*/ 0 w 576"/>
                  <a:gd name="T9" fmla="*/ 0 h 1152"/>
                </a:gdLst>
                <a:ahLst/>
                <a:cxnLst>
                  <a:cxn ang="0">
                    <a:pos x="T0" y="T1"/>
                  </a:cxn>
                  <a:cxn ang="0">
                    <a:pos x="T2" y="T3"/>
                  </a:cxn>
                  <a:cxn ang="0">
                    <a:pos x="T4" y="T5"/>
                  </a:cxn>
                  <a:cxn ang="0">
                    <a:pos x="T6" y="T7"/>
                  </a:cxn>
                  <a:cxn ang="0">
                    <a:pos x="T8" y="T9"/>
                  </a:cxn>
                </a:cxnLst>
                <a:rect l="0" t="0" r="r" b="b"/>
                <a:pathLst>
                  <a:path w="576" h="1152">
                    <a:moveTo>
                      <a:pt x="0" y="0"/>
                    </a:moveTo>
                    <a:lnTo>
                      <a:pt x="0" y="576"/>
                    </a:lnTo>
                    <a:lnTo>
                      <a:pt x="576" y="1152"/>
                    </a:lnTo>
                    <a:lnTo>
                      <a:pt x="576" y="576"/>
                    </a:lnTo>
                    <a:lnTo>
                      <a:pt x="0" y="0"/>
                    </a:lnTo>
                    <a:close/>
                  </a:path>
                </a:pathLst>
              </a:custGeom>
              <a:solidFill>
                <a:srgbClr val="C0C0C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10" name="Text Box 26"/>
            <p:cNvSpPr txBox="1">
              <a:spLocks noChangeArrowheads="1"/>
            </p:cNvSpPr>
            <p:nvPr/>
          </p:nvSpPr>
          <p:spPr bwMode="auto">
            <a:xfrm>
              <a:off x="1980456" y="3723878"/>
              <a:ext cx="1295400" cy="338554"/>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r>
                <a:rPr lang="zh-CN" altLang="en-US" sz="1000" b="1" dirty="0">
                  <a:solidFill>
                    <a:schemeClr val="tx2">
                      <a:lumMod val="75000"/>
                    </a:schemeClr>
                  </a:solidFill>
                  <a:latin typeface="微软雅黑" panose="020B0503020204020204" pitchFamily="34" charset="-122"/>
                  <a:ea typeface="微软雅黑" panose="020B0503020204020204" pitchFamily="34" charset="-122"/>
                </a:rPr>
                <a:t>   </a:t>
              </a:r>
              <a:r>
                <a:rPr lang="zh-CN" altLang="en-US" sz="1600" b="1" dirty="0">
                  <a:solidFill>
                    <a:schemeClr val="tx2">
                      <a:lumMod val="75000"/>
                    </a:schemeClr>
                  </a:solidFill>
                  <a:latin typeface="微软雅黑" panose="020B0503020204020204" pitchFamily="34" charset="-122"/>
                  <a:ea typeface="微软雅黑" panose="020B0503020204020204" pitchFamily="34" charset="-122"/>
                </a:rPr>
                <a:t>填加标题</a:t>
              </a:r>
              <a:endParaRPr lang="en-US" altLang="ko-KR" sz="1600" b="1" dirty="0">
                <a:solidFill>
                  <a:schemeClr val="tx2">
                    <a:lumMod val="75000"/>
                  </a:schemeClr>
                </a:solidFill>
                <a:latin typeface="微软雅黑" panose="020B0503020204020204" pitchFamily="34" charset="-122"/>
                <a:ea typeface="微软雅黑" panose="020B0503020204020204" pitchFamily="34" charset="-122"/>
              </a:endParaRPr>
            </a:p>
          </p:txBody>
        </p:sp>
      </p:grpSp>
      <p:sp>
        <p:nvSpPr>
          <p:cNvPr id="12" name="Arc 28"/>
          <p:cNvSpPr/>
          <p:nvPr/>
        </p:nvSpPr>
        <p:spPr bwMode="auto">
          <a:xfrm>
            <a:off x="2780333" y="1783184"/>
            <a:ext cx="593725" cy="636588"/>
          </a:xfrm>
          <a:custGeom>
            <a:avLst/>
            <a:gdLst>
              <a:gd name="G0" fmla="+- 0 0 0"/>
              <a:gd name="G1" fmla="+- 21591 0 0"/>
              <a:gd name="G2" fmla="+- 21600 0 0"/>
              <a:gd name="T0" fmla="*/ 608 w 21600"/>
              <a:gd name="T1" fmla="*/ 0 h 23193"/>
              <a:gd name="T2" fmla="*/ 21541 w 21600"/>
              <a:gd name="T3" fmla="*/ 23193 h 23193"/>
              <a:gd name="T4" fmla="*/ 0 w 21600"/>
              <a:gd name="T5" fmla="*/ 21591 h 23193"/>
            </a:gdLst>
            <a:ahLst/>
            <a:cxnLst>
              <a:cxn ang="0">
                <a:pos x="T0" y="T1"/>
              </a:cxn>
              <a:cxn ang="0">
                <a:pos x="T2" y="T3"/>
              </a:cxn>
              <a:cxn ang="0">
                <a:pos x="T4" y="T5"/>
              </a:cxn>
            </a:cxnLst>
            <a:rect l="0" t="0" r="r" b="b"/>
            <a:pathLst>
              <a:path w="21600" h="23193" fill="none" extrusionOk="0">
                <a:moveTo>
                  <a:pt x="608" y="-1"/>
                </a:moveTo>
                <a:cubicBezTo>
                  <a:pt x="12295" y="328"/>
                  <a:pt x="21600" y="9898"/>
                  <a:pt x="21600" y="21591"/>
                </a:cubicBezTo>
                <a:cubicBezTo>
                  <a:pt x="21600" y="22125"/>
                  <a:pt x="21580" y="22659"/>
                  <a:pt x="21540" y="23192"/>
                </a:cubicBezTo>
              </a:path>
              <a:path w="21600" h="23193" stroke="0" extrusionOk="0">
                <a:moveTo>
                  <a:pt x="608" y="-1"/>
                </a:moveTo>
                <a:cubicBezTo>
                  <a:pt x="12295" y="328"/>
                  <a:pt x="21600" y="9898"/>
                  <a:pt x="21600" y="21591"/>
                </a:cubicBezTo>
                <a:cubicBezTo>
                  <a:pt x="21600" y="22125"/>
                  <a:pt x="21580" y="22659"/>
                  <a:pt x="21540" y="23192"/>
                </a:cubicBezTo>
                <a:lnTo>
                  <a:pt x="0" y="21591"/>
                </a:lnTo>
                <a:close/>
              </a:path>
            </a:pathLst>
          </a:custGeom>
          <a:noFill/>
          <a:ln w="31750" cap="rnd">
            <a:solidFill>
              <a:srgbClr val="969696"/>
            </a:solidFill>
            <a:prstDash val="sysDot"/>
            <a:rou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grpSp>
        <p:nvGrpSpPr>
          <p:cNvPr id="6" name="Group 20"/>
          <p:cNvGrpSpPr/>
          <p:nvPr/>
        </p:nvGrpSpPr>
        <p:grpSpPr bwMode="auto">
          <a:xfrm>
            <a:off x="1586533" y="1171996"/>
            <a:ext cx="952500" cy="2332038"/>
            <a:chOff x="1618" y="1354"/>
            <a:chExt cx="600" cy="1469"/>
          </a:xfrm>
        </p:grpSpPr>
        <p:sp>
          <p:nvSpPr>
            <p:cNvPr id="16" name="Freeform 21"/>
            <p:cNvSpPr/>
            <p:nvPr/>
          </p:nvSpPr>
          <p:spPr bwMode="auto">
            <a:xfrm>
              <a:off x="1618" y="1594"/>
              <a:ext cx="600" cy="1229"/>
            </a:xfrm>
            <a:custGeom>
              <a:avLst/>
              <a:gdLst>
                <a:gd name="T0" fmla="*/ 844 w 1054"/>
                <a:gd name="T1" fmla="*/ 0 h 2160"/>
                <a:gd name="T2" fmla="*/ 886 w 1054"/>
                <a:gd name="T3" fmla="*/ 4 h 2160"/>
                <a:gd name="T4" fmla="*/ 926 w 1054"/>
                <a:gd name="T5" fmla="*/ 16 h 2160"/>
                <a:gd name="T6" fmla="*/ 962 w 1054"/>
                <a:gd name="T7" fmla="*/ 36 h 2160"/>
                <a:gd name="T8" fmla="*/ 992 w 1054"/>
                <a:gd name="T9" fmla="*/ 62 h 2160"/>
                <a:gd name="T10" fmla="*/ 1018 w 1054"/>
                <a:gd name="T11" fmla="*/ 92 h 2160"/>
                <a:gd name="T12" fmla="*/ 1038 w 1054"/>
                <a:gd name="T13" fmla="*/ 128 h 2160"/>
                <a:gd name="T14" fmla="*/ 1050 w 1054"/>
                <a:gd name="T15" fmla="*/ 168 h 2160"/>
                <a:gd name="T16" fmla="*/ 1054 w 1054"/>
                <a:gd name="T17" fmla="*/ 210 h 2160"/>
                <a:gd name="T18" fmla="*/ 1054 w 1054"/>
                <a:gd name="T19" fmla="*/ 894 h 2160"/>
                <a:gd name="T20" fmla="*/ 1046 w 1054"/>
                <a:gd name="T21" fmla="*/ 936 h 2160"/>
                <a:gd name="T22" fmla="*/ 1024 w 1054"/>
                <a:gd name="T23" fmla="*/ 970 h 2160"/>
                <a:gd name="T24" fmla="*/ 990 w 1054"/>
                <a:gd name="T25" fmla="*/ 992 h 2160"/>
                <a:gd name="T26" fmla="*/ 948 w 1054"/>
                <a:gd name="T27" fmla="*/ 1000 h 2160"/>
                <a:gd name="T28" fmla="*/ 928 w 1054"/>
                <a:gd name="T29" fmla="*/ 998 h 2160"/>
                <a:gd name="T30" fmla="*/ 890 w 1054"/>
                <a:gd name="T31" fmla="*/ 982 h 2160"/>
                <a:gd name="T32" fmla="*/ 862 w 1054"/>
                <a:gd name="T33" fmla="*/ 954 h 2160"/>
                <a:gd name="T34" fmla="*/ 846 w 1054"/>
                <a:gd name="T35" fmla="*/ 916 h 2160"/>
                <a:gd name="T36" fmla="*/ 844 w 1054"/>
                <a:gd name="T37" fmla="*/ 262 h 2160"/>
                <a:gd name="T38" fmla="*/ 790 w 1054"/>
                <a:gd name="T39" fmla="*/ 2040 h 2160"/>
                <a:gd name="T40" fmla="*/ 790 w 1054"/>
                <a:gd name="T41" fmla="*/ 2052 h 2160"/>
                <a:gd name="T42" fmla="*/ 782 w 1054"/>
                <a:gd name="T43" fmla="*/ 2086 h 2160"/>
                <a:gd name="T44" fmla="*/ 756 w 1054"/>
                <a:gd name="T45" fmla="*/ 2124 h 2160"/>
                <a:gd name="T46" fmla="*/ 718 w 1054"/>
                <a:gd name="T47" fmla="*/ 2150 h 2160"/>
                <a:gd name="T48" fmla="*/ 684 w 1054"/>
                <a:gd name="T49" fmla="*/ 2158 h 2160"/>
                <a:gd name="T50" fmla="*/ 672 w 1054"/>
                <a:gd name="T51" fmla="*/ 2160 h 2160"/>
                <a:gd name="T52" fmla="*/ 648 w 1054"/>
                <a:gd name="T53" fmla="*/ 2156 h 2160"/>
                <a:gd name="T54" fmla="*/ 606 w 1054"/>
                <a:gd name="T55" fmla="*/ 2138 h 2160"/>
                <a:gd name="T56" fmla="*/ 574 w 1054"/>
                <a:gd name="T57" fmla="*/ 2106 h 2160"/>
                <a:gd name="T58" fmla="*/ 556 w 1054"/>
                <a:gd name="T59" fmla="*/ 2064 h 2160"/>
                <a:gd name="T60" fmla="*/ 554 w 1054"/>
                <a:gd name="T61" fmla="*/ 2040 h 2160"/>
                <a:gd name="T62" fmla="*/ 500 w 1054"/>
                <a:gd name="T63" fmla="*/ 1000 h 2160"/>
                <a:gd name="T64" fmla="*/ 500 w 1054"/>
                <a:gd name="T65" fmla="*/ 2040 h 2160"/>
                <a:gd name="T66" fmla="*/ 498 w 1054"/>
                <a:gd name="T67" fmla="*/ 2064 h 2160"/>
                <a:gd name="T68" fmla="*/ 480 w 1054"/>
                <a:gd name="T69" fmla="*/ 2106 h 2160"/>
                <a:gd name="T70" fmla="*/ 448 w 1054"/>
                <a:gd name="T71" fmla="*/ 2138 h 2160"/>
                <a:gd name="T72" fmla="*/ 406 w 1054"/>
                <a:gd name="T73" fmla="*/ 2156 h 2160"/>
                <a:gd name="T74" fmla="*/ 382 w 1054"/>
                <a:gd name="T75" fmla="*/ 2160 h 2160"/>
                <a:gd name="T76" fmla="*/ 370 w 1054"/>
                <a:gd name="T77" fmla="*/ 2158 h 2160"/>
                <a:gd name="T78" fmla="*/ 336 w 1054"/>
                <a:gd name="T79" fmla="*/ 2150 h 2160"/>
                <a:gd name="T80" fmla="*/ 298 w 1054"/>
                <a:gd name="T81" fmla="*/ 2124 h 2160"/>
                <a:gd name="T82" fmla="*/ 274 w 1054"/>
                <a:gd name="T83" fmla="*/ 2086 h 2160"/>
                <a:gd name="T84" fmla="*/ 264 w 1054"/>
                <a:gd name="T85" fmla="*/ 2052 h 2160"/>
                <a:gd name="T86" fmla="*/ 264 w 1054"/>
                <a:gd name="T87" fmla="*/ 262 h 2160"/>
                <a:gd name="T88" fmla="*/ 212 w 1054"/>
                <a:gd name="T89" fmla="*/ 894 h 2160"/>
                <a:gd name="T90" fmla="*/ 210 w 1054"/>
                <a:gd name="T91" fmla="*/ 916 h 2160"/>
                <a:gd name="T92" fmla="*/ 194 w 1054"/>
                <a:gd name="T93" fmla="*/ 954 h 2160"/>
                <a:gd name="T94" fmla="*/ 164 w 1054"/>
                <a:gd name="T95" fmla="*/ 982 h 2160"/>
                <a:gd name="T96" fmla="*/ 128 w 1054"/>
                <a:gd name="T97" fmla="*/ 998 h 2160"/>
                <a:gd name="T98" fmla="*/ 106 w 1054"/>
                <a:gd name="T99" fmla="*/ 1000 h 2160"/>
                <a:gd name="T100" fmla="*/ 64 w 1054"/>
                <a:gd name="T101" fmla="*/ 992 h 2160"/>
                <a:gd name="T102" fmla="*/ 32 w 1054"/>
                <a:gd name="T103" fmla="*/ 970 h 2160"/>
                <a:gd name="T104" fmla="*/ 8 w 1054"/>
                <a:gd name="T105" fmla="*/ 936 h 2160"/>
                <a:gd name="T106" fmla="*/ 0 w 1054"/>
                <a:gd name="T107" fmla="*/ 894 h 2160"/>
                <a:gd name="T108" fmla="*/ 0 w 1054"/>
                <a:gd name="T109" fmla="*/ 210 h 2160"/>
                <a:gd name="T110" fmla="*/ 4 w 1054"/>
                <a:gd name="T111" fmla="*/ 168 h 2160"/>
                <a:gd name="T112" fmla="*/ 18 w 1054"/>
                <a:gd name="T113" fmla="*/ 128 h 2160"/>
                <a:gd name="T114" fmla="*/ 36 w 1054"/>
                <a:gd name="T115" fmla="*/ 92 h 2160"/>
                <a:gd name="T116" fmla="*/ 62 w 1054"/>
                <a:gd name="T117" fmla="*/ 62 h 2160"/>
                <a:gd name="T118" fmla="*/ 94 w 1054"/>
                <a:gd name="T119" fmla="*/ 36 h 2160"/>
                <a:gd name="T120" fmla="*/ 130 w 1054"/>
                <a:gd name="T121" fmla="*/ 16 h 2160"/>
                <a:gd name="T122" fmla="*/ 168 w 1054"/>
                <a:gd name="T123" fmla="*/ 4 h 2160"/>
                <a:gd name="T124" fmla="*/ 212 w 1054"/>
                <a:gd name="T125"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4" h="2160">
                  <a:moveTo>
                    <a:pt x="844" y="0"/>
                  </a:moveTo>
                  <a:lnTo>
                    <a:pt x="844" y="0"/>
                  </a:lnTo>
                  <a:lnTo>
                    <a:pt x="864" y="0"/>
                  </a:lnTo>
                  <a:lnTo>
                    <a:pt x="886" y="4"/>
                  </a:lnTo>
                  <a:lnTo>
                    <a:pt x="906" y="8"/>
                  </a:lnTo>
                  <a:lnTo>
                    <a:pt x="926" y="16"/>
                  </a:lnTo>
                  <a:lnTo>
                    <a:pt x="944" y="24"/>
                  </a:lnTo>
                  <a:lnTo>
                    <a:pt x="962" y="36"/>
                  </a:lnTo>
                  <a:lnTo>
                    <a:pt x="978" y="48"/>
                  </a:lnTo>
                  <a:lnTo>
                    <a:pt x="992" y="62"/>
                  </a:lnTo>
                  <a:lnTo>
                    <a:pt x="1006" y="76"/>
                  </a:lnTo>
                  <a:lnTo>
                    <a:pt x="1018" y="92"/>
                  </a:lnTo>
                  <a:lnTo>
                    <a:pt x="1028" y="110"/>
                  </a:lnTo>
                  <a:lnTo>
                    <a:pt x="1038" y="128"/>
                  </a:lnTo>
                  <a:lnTo>
                    <a:pt x="1044" y="148"/>
                  </a:lnTo>
                  <a:lnTo>
                    <a:pt x="1050" y="168"/>
                  </a:lnTo>
                  <a:lnTo>
                    <a:pt x="1052" y="188"/>
                  </a:lnTo>
                  <a:lnTo>
                    <a:pt x="1054" y="210"/>
                  </a:lnTo>
                  <a:lnTo>
                    <a:pt x="1054" y="894"/>
                  </a:lnTo>
                  <a:lnTo>
                    <a:pt x="1054" y="894"/>
                  </a:lnTo>
                  <a:lnTo>
                    <a:pt x="1052" y="916"/>
                  </a:lnTo>
                  <a:lnTo>
                    <a:pt x="1046" y="936"/>
                  </a:lnTo>
                  <a:lnTo>
                    <a:pt x="1036" y="954"/>
                  </a:lnTo>
                  <a:lnTo>
                    <a:pt x="1024" y="970"/>
                  </a:lnTo>
                  <a:lnTo>
                    <a:pt x="1008" y="982"/>
                  </a:lnTo>
                  <a:lnTo>
                    <a:pt x="990" y="992"/>
                  </a:lnTo>
                  <a:lnTo>
                    <a:pt x="970" y="998"/>
                  </a:lnTo>
                  <a:lnTo>
                    <a:pt x="948" y="1000"/>
                  </a:lnTo>
                  <a:lnTo>
                    <a:pt x="948" y="1000"/>
                  </a:lnTo>
                  <a:lnTo>
                    <a:pt x="928" y="998"/>
                  </a:lnTo>
                  <a:lnTo>
                    <a:pt x="908" y="992"/>
                  </a:lnTo>
                  <a:lnTo>
                    <a:pt x="890" y="982"/>
                  </a:lnTo>
                  <a:lnTo>
                    <a:pt x="874" y="970"/>
                  </a:lnTo>
                  <a:lnTo>
                    <a:pt x="862" y="954"/>
                  </a:lnTo>
                  <a:lnTo>
                    <a:pt x="852" y="936"/>
                  </a:lnTo>
                  <a:lnTo>
                    <a:pt x="846" y="916"/>
                  </a:lnTo>
                  <a:lnTo>
                    <a:pt x="844" y="894"/>
                  </a:lnTo>
                  <a:lnTo>
                    <a:pt x="844" y="262"/>
                  </a:lnTo>
                  <a:lnTo>
                    <a:pt x="790" y="262"/>
                  </a:lnTo>
                  <a:lnTo>
                    <a:pt x="790" y="2040"/>
                  </a:lnTo>
                  <a:lnTo>
                    <a:pt x="790" y="2040"/>
                  </a:lnTo>
                  <a:lnTo>
                    <a:pt x="790" y="2052"/>
                  </a:lnTo>
                  <a:lnTo>
                    <a:pt x="788" y="2064"/>
                  </a:lnTo>
                  <a:lnTo>
                    <a:pt x="782" y="2086"/>
                  </a:lnTo>
                  <a:lnTo>
                    <a:pt x="770" y="2106"/>
                  </a:lnTo>
                  <a:lnTo>
                    <a:pt x="756" y="2124"/>
                  </a:lnTo>
                  <a:lnTo>
                    <a:pt x="738" y="2138"/>
                  </a:lnTo>
                  <a:lnTo>
                    <a:pt x="718" y="2150"/>
                  </a:lnTo>
                  <a:lnTo>
                    <a:pt x="696" y="2156"/>
                  </a:lnTo>
                  <a:lnTo>
                    <a:pt x="684" y="2158"/>
                  </a:lnTo>
                  <a:lnTo>
                    <a:pt x="672" y="2160"/>
                  </a:lnTo>
                  <a:lnTo>
                    <a:pt x="672" y="2160"/>
                  </a:lnTo>
                  <a:lnTo>
                    <a:pt x="660" y="2158"/>
                  </a:lnTo>
                  <a:lnTo>
                    <a:pt x="648" y="2156"/>
                  </a:lnTo>
                  <a:lnTo>
                    <a:pt x="626" y="2150"/>
                  </a:lnTo>
                  <a:lnTo>
                    <a:pt x="606" y="2138"/>
                  </a:lnTo>
                  <a:lnTo>
                    <a:pt x="588" y="2124"/>
                  </a:lnTo>
                  <a:lnTo>
                    <a:pt x="574" y="2106"/>
                  </a:lnTo>
                  <a:lnTo>
                    <a:pt x="562" y="2086"/>
                  </a:lnTo>
                  <a:lnTo>
                    <a:pt x="556" y="2064"/>
                  </a:lnTo>
                  <a:lnTo>
                    <a:pt x="554" y="2052"/>
                  </a:lnTo>
                  <a:lnTo>
                    <a:pt x="554" y="2040"/>
                  </a:lnTo>
                  <a:lnTo>
                    <a:pt x="554" y="1000"/>
                  </a:lnTo>
                  <a:lnTo>
                    <a:pt x="500" y="1000"/>
                  </a:lnTo>
                  <a:lnTo>
                    <a:pt x="500" y="2040"/>
                  </a:lnTo>
                  <a:lnTo>
                    <a:pt x="500" y="2040"/>
                  </a:lnTo>
                  <a:lnTo>
                    <a:pt x="500" y="2052"/>
                  </a:lnTo>
                  <a:lnTo>
                    <a:pt x="498" y="2064"/>
                  </a:lnTo>
                  <a:lnTo>
                    <a:pt x="492" y="2086"/>
                  </a:lnTo>
                  <a:lnTo>
                    <a:pt x="480" y="2106"/>
                  </a:lnTo>
                  <a:lnTo>
                    <a:pt x="466" y="2124"/>
                  </a:lnTo>
                  <a:lnTo>
                    <a:pt x="448" y="2138"/>
                  </a:lnTo>
                  <a:lnTo>
                    <a:pt x="428" y="2150"/>
                  </a:lnTo>
                  <a:lnTo>
                    <a:pt x="406" y="2156"/>
                  </a:lnTo>
                  <a:lnTo>
                    <a:pt x="394" y="2158"/>
                  </a:lnTo>
                  <a:lnTo>
                    <a:pt x="382" y="2160"/>
                  </a:lnTo>
                  <a:lnTo>
                    <a:pt x="382" y="2160"/>
                  </a:lnTo>
                  <a:lnTo>
                    <a:pt x="370" y="2158"/>
                  </a:lnTo>
                  <a:lnTo>
                    <a:pt x="358" y="2156"/>
                  </a:lnTo>
                  <a:lnTo>
                    <a:pt x="336" y="2150"/>
                  </a:lnTo>
                  <a:lnTo>
                    <a:pt x="316" y="2138"/>
                  </a:lnTo>
                  <a:lnTo>
                    <a:pt x="298" y="2124"/>
                  </a:lnTo>
                  <a:lnTo>
                    <a:pt x="284" y="2106"/>
                  </a:lnTo>
                  <a:lnTo>
                    <a:pt x="274" y="2086"/>
                  </a:lnTo>
                  <a:lnTo>
                    <a:pt x="266" y="2064"/>
                  </a:lnTo>
                  <a:lnTo>
                    <a:pt x="264" y="2052"/>
                  </a:lnTo>
                  <a:lnTo>
                    <a:pt x="264" y="2040"/>
                  </a:lnTo>
                  <a:lnTo>
                    <a:pt x="264" y="262"/>
                  </a:lnTo>
                  <a:lnTo>
                    <a:pt x="212" y="262"/>
                  </a:lnTo>
                  <a:lnTo>
                    <a:pt x="212" y="894"/>
                  </a:lnTo>
                  <a:lnTo>
                    <a:pt x="212" y="894"/>
                  </a:lnTo>
                  <a:lnTo>
                    <a:pt x="210" y="916"/>
                  </a:lnTo>
                  <a:lnTo>
                    <a:pt x="202" y="936"/>
                  </a:lnTo>
                  <a:lnTo>
                    <a:pt x="194" y="954"/>
                  </a:lnTo>
                  <a:lnTo>
                    <a:pt x="180" y="970"/>
                  </a:lnTo>
                  <a:lnTo>
                    <a:pt x="164" y="982"/>
                  </a:lnTo>
                  <a:lnTo>
                    <a:pt x="146" y="992"/>
                  </a:lnTo>
                  <a:lnTo>
                    <a:pt x="128" y="998"/>
                  </a:lnTo>
                  <a:lnTo>
                    <a:pt x="106" y="1000"/>
                  </a:lnTo>
                  <a:lnTo>
                    <a:pt x="106" y="1000"/>
                  </a:lnTo>
                  <a:lnTo>
                    <a:pt x="84" y="998"/>
                  </a:lnTo>
                  <a:lnTo>
                    <a:pt x="64" y="992"/>
                  </a:lnTo>
                  <a:lnTo>
                    <a:pt x="46" y="982"/>
                  </a:lnTo>
                  <a:lnTo>
                    <a:pt x="32" y="970"/>
                  </a:lnTo>
                  <a:lnTo>
                    <a:pt x="18" y="954"/>
                  </a:lnTo>
                  <a:lnTo>
                    <a:pt x="8" y="936"/>
                  </a:lnTo>
                  <a:lnTo>
                    <a:pt x="2" y="916"/>
                  </a:lnTo>
                  <a:lnTo>
                    <a:pt x="0" y="894"/>
                  </a:lnTo>
                  <a:lnTo>
                    <a:pt x="0" y="210"/>
                  </a:lnTo>
                  <a:lnTo>
                    <a:pt x="0" y="210"/>
                  </a:lnTo>
                  <a:lnTo>
                    <a:pt x="2" y="188"/>
                  </a:lnTo>
                  <a:lnTo>
                    <a:pt x="4" y="168"/>
                  </a:lnTo>
                  <a:lnTo>
                    <a:pt x="10" y="148"/>
                  </a:lnTo>
                  <a:lnTo>
                    <a:pt x="18" y="128"/>
                  </a:lnTo>
                  <a:lnTo>
                    <a:pt x="26" y="110"/>
                  </a:lnTo>
                  <a:lnTo>
                    <a:pt x="36" y="92"/>
                  </a:lnTo>
                  <a:lnTo>
                    <a:pt x="48" y="76"/>
                  </a:lnTo>
                  <a:lnTo>
                    <a:pt x="62" y="62"/>
                  </a:lnTo>
                  <a:lnTo>
                    <a:pt x="78" y="48"/>
                  </a:lnTo>
                  <a:lnTo>
                    <a:pt x="94" y="36"/>
                  </a:lnTo>
                  <a:lnTo>
                    <a:pt x="110" y="24"/>
                  </a:lnTo>
                  <a:lnTo>
                    <a:pt x="130" y="16"/>
                  </a:lnTo>
                  <a:lnTo>
                    <a:pt x="148" y="8"/>
                  </a:lnTo>
                  <a:lnTo>
                    <a:pt x="168" y="4"/>
                  </a:lnTo>
                  <a:lnTo>
                    <a:pt x="190" y="0"/>
                  </a:lnTo>
                  <a:lnTo>
                    <a:pt x="212" y="0"/>
                  </a:lnTo>
                  <a:lnTo>
                    <a:pt x="844" y="0"/>
                  </a:lnTo>
                  <a:close/>
                </a:path>
              </a:pathLst>
            </a:custGeom>
            <a:solidFill>
              <a:srgbClr val="777777"/>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7" name="Freeform 22"/>
            <p:cNvSpPr/>
            <p:nvPr/>
          </p:nvSpPr>
          <p:spPr bwMode="auto">
            <a:xfrm>
              <a:off x="1813" y="1354"/>
              <a:ext cx="210" cy="210"/>
            </a:xfrm>
            <a:custGeom>
              <a:avLst/>
              <a:gdLst>
                <a:gd name="T0" fmla="*/ 370 w 370"/>
                <a:gd name="T1" fmla="*/ 184 h 368"/>
                <a:gd name="T2" fmla="*/ 366 w 370"/>
                <a:gd name="T3" fmla="*/ 222 h 368"/>
                <a:gd name="T4" fmla="*/ 356 w 370"/>
                <a:gd name="T5" fmla="*/ 256 h 368"/>
                <a:gd name="T6" fmla="*/ 338 w 370"/>
                <a:gd name="T7" fmla="*/ 288 h 368"/>
                <a:gd name="T8" fmla="*/ 316 w 370"/>
                <a:gd name="T9" fmla="*/ 314 h 368"/>
                <a:gd name="T10" fmla="*/ 288 w 370"/>
                <a:gd name="T11" fmla="*/ 338 h 368"/>
                <a:gd name="T12" fmla="*/ 256 w 370"/>
                <a:gd name="T13" fmla="*/ 354 h 368"/>
                <a:gd name="T14" fmla="*/ 222 w 370"/>
                <a:gd name="T15" fmla="*/ 364 h 368"/>
                <a:gd name="T16" fmla="*/ 186 w 370"/>
                <a:gd name="T17" fmla="*/ 368 h 368"/>
                <a:gd name="T18" fmla="*/ 166 w 370"/>
                <a:gd name="T19" fmla="*/ 368 h 368"/>
                <a:gd name="T20" fmla="*/ 130 w 370"/>
                <a:gd name="T21" fmla="*/ 360 h 368"/>
                <a:gd name="T22" fmla="*/ 98 w 370"/>
                <a:gd name="T23" fmla="*/ 346 h 368"/>
                <a:gd name="T24" fmla="*/ 68 w 370"/>
                <a:gd name="T25" fmla="*/ 326 h 368"/>
                <a:gd name="T26" fmla="*/ 42 w 370"/>
                <a:gd name="T27" fmla="*/ 302 h 368"/>
                <a:gd name="T28" fmla="*/ 24 w 370"/>
                <a:gd name="T29" fmla="*/ 272 h 368"/>
                <a:gd name="T30" fmla="*/ 10 w 370"/>
                <a:gd name="T31" fmla="*/ 240 h 368"/>
                <a:gd name="T32" fmla="*/ 2 w 370"/>
                <a:gd name="T33" fmla="*/ 204 h 368"/>
                <a:gd name="T34" fmla="*/ 0 w 370"/>
                <a:gd name="T35" fmla="*/ 184 h 368"/>
                <a:gd name="T36" fmla="*/ 4 w 370"/>
                <a:gd name="T37" fmla="*/ 148 h 368"/>
                <a:gd name="T38" fmla="*/ 16 w 370"/>
                <a:gd name="T39" fmla="*/ 112 h 368"/>
                <a:gd name="T40" fmla="*/ 32 w 370"/>
                <a:gd name="T41" fmla="*/ 82 h 368"/>
                <a:gd name="T42" fmla="*/ 54 w 370"/>
                <a:gd name="T43" fmla="*/ 54 h 368"/>
                <a:gd name="T44" fmla="*/ 82 w 370"/>
                <a:gd name="T45" fmla="*/ 32 h 368"/>
                <a:gd name="T46" fmla="*/ 114 w 370"/>
                <a:gd name="T47" fmla="*/ 14 h 368"/>
                <a:gd name="T48" fmla="*/ 148 w 370"/>
                <a:gd name="T49" fmla="*/ 4 h 368"/>
                <a:gd name="T50" fmla="*/ 186 w 370"/>
                <a:gd name="T51" fmla="*/ 0 h 368"/>
                <a:gd name="T52" fmla="*/ 204 w 370"/>
                <a:gd name="T53" fmla="*/ 0 h 368"/>
                <a:gd name="T54" fmla="*/ 240 w 370"/>
                <a:gd name="T55" fmla="*/ 8 h 368"/>
                <a:gd name="T56" fmla="*/ 274 w 370"/>
                <a:gd name="T57" fmla="*/ 22 h 368"/>
                <a:gd name="T58" fmla="*/ 302 w 370"/>
                <a:gd name="T59" fmla="*/ 42 h 368"/>
                <a:gd name="T60" fmla="*/ 328 w 370"/>
                <a:gd name="T61" fmla="*/ 68 h 368"/>
                <a:gd name="T62" fmla="*/ 348 w 370"/>
                <a:gd name="T63" fmla="*/ 96 h 368"/>
                <a:gd name="T64" fmla="*/ 362 w 370"/>
                <a:gd name="T65" fmla="*/ 130 h 368"/>
                <a:gd name="T66" fmla="*/ 368 w 370"/>
                <a:gd name="T67" fmla="*/ 166 h 368"/>
                <a:gd name="T68" fmla="*/ 370 w 370"/>
                <a:gd name="T69" fmla="*/ 18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0" h="368">
                  <a:moveTo>
                    <a:pt x="370" y="184"/>
                  </a:moveTo>
                  <a:lnTo>
                    <a:pt x="370" y="184"/>
                  </a:lnTo>
                  <a:lnTo>
                    <a:pt x="368" y="204"/>
                  </a:lnTo>
                  <a:lnTo>
                    <a:pt x="366" y="222"/>
                  </a:lnTo>
                  <a:lnTo>
                    <a:pt x="362" y="240"/>
                  </a:lnTo>
                  <a:lnTo>
                    <a:pt x="356" y="256"/>
                  </a:lnTo>
                  <a:lnTo>
                    <a:pt x="348" y="272"/>
                  </a:lnTo>
                  <a:lnTo>
                    <a:pt x="338" y="288"/>
                  </a:lnTo>
                  <a:lnTo>
                    <a:pt x="328" y="302"/>
                  </a:lnTo>
                  <a:lnTo>
                    <a:pt x="316" y="314"/>
                  </a:lnTo>
                  <a:lnTo>
                    <a:pt x="302" y="326"/>
                  </a:lnTo>
                  <a:lnTo>
                    <a:pt x="288" y="338"/>
                  </a:lnTo>
                  <a:lnTo>
                    <a:pt x="274" y="346"/>
                  </a:lnTo>
                  <a:lnTo>
                    <a:pt x="256" y="354"/>
                  </a:lnTo>
                  <a:lnTo>
                    <a:pt x="240" y="360"/>
                  </a:lnTo>
                  <a:lnTo>
                    <a:pt x="222" y="364"/>
                  </a:lnTo>
                  <a:lnTo>
                    <a:pt x="204" y="368"/>
                  </a:lnTo>
                  <a:lnTo>
                    <a:pt x="186" y="368"/>
                  </a:lnTo>
                  <a:lnTo>
                    <a:pt x="186" y="368"/>
                  </a:lnTo>
                  <a:lnTo>
                    <a:pt x="166" y="368"/>
                  </a:lnTo>
                  <a:lnTo>
                    <a:pt x="148" y="364"/>
                  </a:lnTo>
                  <a:lnTo>
                    <a:pt x="130" y="360"/>
                  </a:lnTo>
                  <a:lnTo>
                    <a:pt x="114" y="354"/>
                  </a:lnTo>
                  <a:lnTo>
                    <a:pt x="98" y="346"/>
                  </a:lnTo>
                  <a:lnTo>
                    <a:pt x="82" y="338"/>
                  </a:lnTo>
                  <a:lnTo>
                    <a:pt x="68" y="326"/>
                  </a:lnTo>
                  <a:lnTo>
                    <a:pt x="54" y="314"/>
                  </a:lnTo>
                  <a:lnTo>
                    <a:pt x="42" y="302"/>
                  </a:lnTo>
                  <a:lnTo>
                    <a:pt x="32" y="288"/>
                  </a:lnTo>
                  <a:lnTo>
                    <a:pt x="24" y="272"/>
                  </a:lnTo>
                  <a:lnTo>
                    <a:pt x="16" y="256"/>
                  </a:lnTo>
                  <a:lnTo>
                    <a:pt x="10" y="240"/>
                  </a:lnTo>
                  <a:lnTo>
                    <a:pt x="4" y="222"/>
                  </a:lnTo>
                  <a:lnTo>
                    <a:pt x="2" y="204"/>
                  </a:lnTo>
                  <a:lnTo>
                    <a:pt x="0" y="184"/>
                  </a:lnTo>
                  <a:lnTo>
                    <a:pt x="0" y="184"/>
                  </a:lnTo>
                  <a:lnTo>
                    <a:pt x="2" y="166"/>
                  </a:lnTo>
                  <a:lnTo>
                    <a:pt x="4" y="148"/>
                  </a:lnTo>
                  <a:lnTo>
                    <a:pt x="10" y="130"/>
                  </a:lnTo>
                  <a:lnTo>
                    <a:pt x="16" y="112"/>
                  </a:lnTo>
                  <a:lnTo>
                    <a:pt x="24" y="96"/>
                  </a:lnTo>
                  <a:lnTo>
                    <a:pt x="32" y="82"/>
                  </a:lnTo>
                  <a:lnTo>
                    <a:pt x="42" y="68"/>
                  </a:lnTo>
                  <a:lnTo>
                    <a:pt x="54" y="54"/>
                  </a:lnTo>
                  <a:lnTo>
                    <a:pt x="68" y="42"/>
                  </a:lnTo>
                  <a:lnTo>
                    <a:pt x="82" y="32"/>
                  </a:lnTo>
                  <a:lnTo>
                    <a:pt x="98" y="22"/>
                  </a:lnTo>
                  <a:lnTo>
                    <a:pt x="114" y="14"/>
                  </a:lnTo>
                  <a:lnTo>
                    <a:pt x="130" y="8"/>
                  </a:lnTo>
                  <a:lnTo>
                    <a:pt x="148" y="4"/>
                  </a:lnTo>
                  <a:lnTo>
                    <a:pt x="166" y="0"/>
                  </a:lnTo>
                  <a:lnTo>
                    <a:pt x="186" y="0"/>
                  </a:lnTo>
                  <a:lnTo>
                    <a:pt x="186" y="0"/>
                  </a:lnTo>
                  <a:lnTo>
                    <a:pt x="204" y="0"/>
                  </a:lnTo>
                  <a:lnTo>
                    <a:pt x="222" y="4"/>
                  </a:lnTo>
                  <a:lnTo>
                    <a:pt x="240" y="8"/>
                  </a:lnTo>
                  <a:lnTo>
                    <a:pt x="256" y="14"/>
                  </a:lnTo>
                  <a:lnTo>
                    <a:pt x="274" y="22"/>
                  </a:lnTo>
                  <a:lnTo>
                    <a:pt x="288" y="32"/>
                  </a:lnTo>
                  <a:lnTo>
                    <a:pt x="302" y="42"/>
                  </a:lnTo>
                  <a:lnTo>
                    <a:pt x="316" y="54"/>
                  </a:lnTo>
                  <a:lnTo>
                    <a:pt x="328" y="68"/>
                  </a:lnTo>
                  <a:lnTo>
                    <a:pt x="338" y="82"/>
                  </a:lnTo>
                  <a:lnTo>
                    <a:pt x="348" y="96"/>
                  </a:lnTo>
                  <a:lnTo>
                    <a:pt x="356" y="112"/>
                  </a:lnTo>
                  <a:lnTo>
                    <a:pt x="362" y="130"/>
                  </a:lnTo>
                  <a:lnTo>
                    <a:pt x="366" y="148"/>
                  </a:lnTo>
                  <a:lnTo>
                    <a:pt x="368" y="166"/>
                  </a:lnTo>
                  <a:lnTo>
                    <a:pt x="370" y="184"/>
                  </a:lnTo>
                  <a:lnTo>
                    <a:pt x="370" y="184"/>
                  </a:lnTo>
                  <a:close/>
                </a:path>
              </a:pathLst>
            </a:custGeom>
            <a:solidFill>
              <a:srgbClr val="777777"/>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grpSp>
      <p:sp>
        <p:nvSpPr>
          <p:cNvPr id="30" name="Text Box 45"/>
          <p:cNvSpPr txBox="1">
            <a:spLocks noChangeArrowheads="1"/>
          </p:cNvSpPr>
          <p:nvPr/>
        </p:nvSpPr>
        <p:spPr bwMode="auto">
          <a:xfrm>
            <a:off x="6515992" y="2667422"/>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31" name="Text Box 45"/>
          <p:cNvSpPr txBox="1">
            <a:spLocks noChangeArrowheads="1"/>
          </p:cNvSpPr>
          <p:nvPr/>
        </p:nvSpPr>
        <p:spPr bwMode="auto">
          <a:xfrm>
            <a:off x="6515992" y="3565466"/>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750"/>
                                        <p:tgtEl>
                                          <p:spTgt spid="27"/>
                                        </p:tgtEl>
                                      </p:cBhvr>
                                    </p:animEffect>
                                    <p:anim calcmode="lin" valueType="num">
                                      <p:cBhvr>
                                        <p:cTn id="8" dur="750" fill="hold"/>
                                        <p:tgtEl>
                                          <p:spTgt spid="27"/>
                                        </p:tgtEl>
                                        <p:attrNameLst>
                                          <p:attrName>ppt_x</p:attrName>
                                        </p:attrNameLst>
                                      </p:cBhvr>
                                      <p:tavLst>
                                        <p:tav tm="0">
                                          <p:val>
                                            <p:strVal val="#ppt_x"/>
                                          </p:val>
                                        </p:tav>
                                        <p:tav tm="100000">
                                          <p:val>
                                            <p:strVal val="#ppt_x"/>
                                          </p:val>
                                        </p:tav>
                                      </p:tavLst>
                                    </p:anim>
                                    <p:anim calcmode="lin" valueType="num">
                                      <p:cBhvr>
                                        <p:cTn id="9" dur="750" fill="hold"/>
                                        <p:tgtEl>
                                          <p:spTgt spid="2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750"/>
                                        <p:tgtEl>
                                          <p:spTgt spid="28"/>
                                        </p:tgtEl>
                                      </p:cBhvr>
                                    </p:animEffect>
                                    <p:anim calcmode="lin" valueType="num">
                                      <p:cBhvr>
                                        <p:cTn id="14" dur="750" fill="hold"/>
                                        <p:tgtEl>
                                          <p:spTgt spid="28"/>
                                        </p:tgtEl>
                                        <p:attrNameLst>
                                          <p:attrName>ppt_x</p:attrName>
                                        </p:attrNameLst>
                                      </p:cBhvr>
                                      <p:tavLst>
                                        <p:tav tm="0">
                                          <p:val>
                                            <p:strVal val="#ppt_x"/>
                                          </p:val>
                                        </p:tav>
                                        <p:tav tm="100000">
                                          <p:val>
                                            <p:strVal val="#ppt_x"/>
                                          </p:val>
                                        </p:tav>
                                      </p:tavLst>
                                    </p:anim>
                                    <p:anim calcmode="lin" valueType="num">
                                      <p:cBhvr>
                                        <p:cTn id="15" dur="750" fill="hold"/>
                                        <p:tgtEl>
                                          <p:spTgt spid="2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750"/>
                                        <p:tgtEl>
                                          <p:spTgt spid="29"/>
                                        </p:tgtEl>
                                      </p:cBhvr>
                                    </p:animEffect>
                                    <p:anim calcmode="lin" valueType="num">
                                      <p:cBhvr>
                                        <p:cTn id="20" dur="750" fill="hold"/>
                                        <p:tgtEl>
                                          <p:spTgt spid="29"/>
                                        </p:tgtEl>
                                        <p:attrNameLst>
                                          <p:attrName>ppt_x</p:attrName>
                                        </p:attrNameLst>
                                      </p:cBhvr>
                                      <p:tavLst>
                                        <p:tav tm="0">
                                          <p:val>
                                            <p:strVal val="#ppt_x"/>
                                          </p:val>
                                        </p:tav>
                                        <p:tav tm="100000">
                                          <p:val>
                                            <p:strVal val="#ppt_x"/>
                                          </p:val>
                                        </p:tav>
                                      </p:tavLst>
                                    </p:anim>
                                    <p:anim calcmode="lin" valueType="num">
                                      <p:cBhvr>
                                        <p:cTn id="21" dur="750" fill="hold"/>
                                        <p:tgtEl>
                                          <p:spTgt spid="29"/>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10" presetClass="entr" presetSubtype="0" fill="hold"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left)">
                                      <p:cBhvr>
                                        <p:cTn id="35" dur="500"/>
                                        <p:tgtEl>
                                          <p:spTgt spid="7"/>
                                        </p:tgtEl>
                                      </p:cBhvr>
                                    </p:animEffect>
                                  </p:childTnLst>
                                </p:cTn>
                              </p:par>
                            </p:childTnLst>
                          </p:cTn>
                        </p:par>
                        <p:par>
                          <p:cTn id="36" fill="hold">
                            <p:stCondLst>
                              <p:cond delay="500"/>
                            </p:stCondLst>
                            <p:childTnLst>
                              <p:par>
                                <p:cTn id="37" presetID="42" presetClass="entr" presetSubtype="0"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anim calcmode="lin" valueType="num">
                                      <p:cBhvr>
                                        <p:cTn id="40" dur="500" fill="hold"/>
                                        <p:tgtEl>
                                          <p:spTgt spid="30"/>
                                        </p:tgtEl>
                                        <p:attrNameLst>
                                          <p:attrName>ppt_x</p:attrName>
                                        </p:attrNameLst>
                                      </p:cBhvr>
                                      <p:tavLst>
                                        <p:tav tm="0">
                                          <p:val>
                                            <p:strVal val="#ppt_x"/>
                                          </p:val>
                                        </p:tav>
                                        <p:tav tm="100000">
                                          <p:val>
                                            <p:strVal val="#ppt_x"/>
                                          </p:val>
                                        </p:tav>
                                      </p:tavLst>
                                    </p:anim>
                                    <p:anim calcmode="lin" valueType="num">
                                      <p:cBhvr>
                                        <p:cTn id="41" dur="500" fill="hold"/>
                                        <p:tgtEl>
                                          <p:spTgt spid="30"/>
                                        </p:tgtEl>
                                        <p:attrNameLst>
                                          <p:attrName>ppt_y</p:attrName>
                                        </p:attrNameLst>
                                      </p:cBhvr>
                                      <p:tavLst>
                                        <p:tav tm="0">
                                          <p:val>
                                            <p:strVal val="#ppt_y+.1"/>
                                          </p:val>
                                        </p:tav>
                                        <p:tav tm="100000">
                                          <p:val>
                                            <p:strVal val="#ppt_y"/>
                                          </p:val>
                                        </p:tav>
                                      </p:tavLst>
                                    </p:anim>
                                  </p:childTnLst>
                                </p:cTn>
                              </p:par>
                            </p:childTnLst>
                          </p:cTn>
                        </p:par>
                        <p:par>
                          <p:cTn id="42" fill="hold">
                            <p:stCondLst>
                              <p:cond delay="1000"/>
                            </p:stCondLst>
                            <p:childTnLst>
                              <p:par>
                                <p:cTn id="43" presetID="42" presetClass="entr" presetSubtype="0" fill="hold" grpId="0" nodeType="after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anim calcmode="lin" valueType="num">
                                      <p:cBhvr>
                                        <p:cTn id="46" dur="500" fill="hold"/>
                                        <p:tgtEl>
                                          <p:spTgt spid="31"/>
                                        </p:tgtEl>
                                        <p:attrNameLst>
                                          <p:attrName>ppt_x</p:attrName>
                                        </p:attrNameLst>
                                      </p:cBhvr>
                                      <p:tavLst>
                                        <p:tav tm="0">
                                          <p:val>
                                            <p:strVal val="#ppt_x"/>
                                          </p:val>
                                        </p:tav>
                                        <p:tav tm="100000">
                                          <p:val>
                                            <p:strVal val="#ppt_x"/>
                                          </p:val>
                                        </p:tav>
                                      </p:tavLst>
                                    </p:anim>
                                    <p:anim calcmode="lin" valueType="num">
                                      <p:cBhvr>
                                        <p:cTn id="47" dur="5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30" grpId="0"/>
      <p:bldP spid="3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组合 25"/>
          <p:cNvGrpSpPr/>
          <p:nvPr/>
        </p:nvGrpSpPr>
        <p:grpSpPr>
          <a:xfrm>
            <a:off x="2139251" y="1783281"/>
            <a:ext cx="2150238" cy="2151719"/>
            <a:chOff x="2139251" y="1783281"/>
            <a:chExt cx="2150238" cy="2151719"/>
          </a:xfrm>
        </p:grpSpPr>
        <p:sp>
          <p:nvSpPr>
            <p:cNvPr id="10" name="Oval 12"/>
            <p:cNvSpPr>
              <a:spLocks noChangeArrowheads="1"/>
            </p:cNvSpPr>
            <p:nvPr/>
          </p:nvSpPr>
          <p:spPr bwMode="auto">
            <a:xfrm>
              <a:off x="2139251" y="1783281"/>
              <a:ext cx="2150238" cy="2151719"/>
            </a:xfrm>
            <a:prstGeom prst="ellipse">
              <a:avLst/>
            </a:prstGeom>
            <a:solidFill>
              <a:srgbClr val="03A550"/>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accent2"/>
                </a:solidFill>
              </a:endParaRPr>
            </a:p>
          </p:txBody>
        </p:sp>
        <p:grpSp>
          <p:nvGrpSpPr>
            <p:cNvPr id="11" name="Group 13"/>
            <p:cNvGrpSpPr/>
            <p:nvPr/>
          </p:nvGrpSpPr>
          <p:grpSpPr bwMode="auto">
            <a:xfrm>
              <a:off x="2277068" y="1829219"/>
              <a:ext cx="1870158" cy="607579"/>
              <a:chOff x="1431" y="1843"/>
              <a:chExt cx="907" cy="295"/>
            </a:xfrm>
          </p:grpSpPr>
          <p:sp>
            <p:nvSpPr>
              <p:cNvPr id="12" name="Freeform 14"/>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accent2"/>
                  </a:solidFill>
                </a:endParaRPr>
              </a:p>
            </p:txBody>
          </p:sp>
          <p:sp>
            <p:nvSpPr>
              <p:cNvPr id="13" name="Oval 15"/>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accent2"/>
                  </a:solidFill>
                </a:endParaRPr>
              </a:p>
            </p:txBody>
          </p:sp>
        </p:grpSp>
      </p:grpSp>
      <p:sp>
        <p:nvSpPr>
          <p:cNvPr id="14" name="Text Box 16"/>
          <p:cNvSpPr txBox="1">
            <a:spLocks noChangeArrowheads="1"/>
          </p:cNvSpPr>
          <p:nvPr/>
        </p:nvSpPr>
        <p:spPr bwMode="auto">
          <a:xfrm>
            <a:off x="2411760" y="2624594"/>
            <a:ext cx="162095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2800" b="1" dirty="0">
                <a:latin typeface="微软雅黑" panose="020B0503020204020204" pitchFamily="34" charset="-122"/>
                <a:ea typeface="微软雅黑" panose="020B0503020204020204" pitchFamily="34" charset="-122"/>
              </a:rPr>
              <a:t>填加标题</a:t>
            </a:r>
            <a:endParaRPr lang="en-US" altLang="ko-KR" sz="2800" b="1" dirty="0">
              <a:latin typeface="微软雅黑" panose="020B0503020204020204" pitchFamily="34" charset="-122"/>
              <a:ea typeface="微软雅黑" panose="020B0503020204020204" pitchFamily="34" charset="-122"/>
            </a:endParaRPr>
          </a:p>
        </p:txBody>
      </p:sp>
      <p:grpSp>
        <p:nvGrpSpPr>
          <p:cNvPr id="27" name="组合 26"/>
          <p:cNvGrpSpPr/>
          <p:nvPr/>
        </p:nvGrpSpPr>
        <p:grpSpPr>
          <a:xfrm>
            <a:off x="1196762" y="843756"/>
            <a:ext cx="4033732" cy="4032250"/>
            <a:chOff x="1196762" y="843756"/>
            <a:chExt cx="4033732" cy="4032250"/>
          </a:xfrm>
        </p:grpSpPr>
        <p:sp>
          <p:nvSpPr>
            <p:cNvPr id="2" name="Freeform 4"/>
            <p:cNvSpPr/>
            <p:nvPr/>
          </p:nvSpPr>
          <p:spPr bwMode="auto">
            <a:xfrm>
              <a:off x="3298096" y="843756"/>
              <a:ext cx="1280362" cy="1004728"/>
            </a:xfrm>
            <a:custGeom>
              <a:avLst/>
              <a:gdLst>
                <a:gd name="T0" fmla="*/ 864 w 864"/>
                <a:gd name="T1" fmla="*/ 357 h 678"/>
                <a:gd name="T2" fmla="*/ 864 w 864"/>
                <a:gd name="T3" fmla="*/ 357 h 678"/>
                <a:gd name="T4" fmla="*/ 817 w 864"/>
                <a:gd name="T5" fmla="*/ 317 h 678"/>
                <a:gd name="T6" fmla="*/ 770 w 864"/>
                <a:gd name="T7" fmla="*/ 277 h 678"/>
                <a:gd name="T8" fmla="*/ 720 w 864"/>
                <a:gd name="T9" fmla="*/ 240 h 678"/>
                <a:gd name="T10" fmla="*/ 670 w 864"/>
                <a:gd name="T11" fmla="*/ 207 h 678"/>
                <a:gd name="T12" fmla="*/ 617 w 864"/>
                <a:gd name="T13" fmla="*/ 177 h 678"/>
                <a:gd name="T14" fmla="*/ 567 w 864"/>
                <a:gd name="T15" fmla="*/ 147 h 678"/>
                <a:gd name="T16" fmla="*/ 510 w 864"/>
                <a:gd name="T17" fmla="*/ 124 h 678"/>
                <a:gd name="T18" fmla="*/ 457 w 864"/>
                <a:gd name="T19" fmla="*/ 97 h 678"/>
                <a:gd name="T20" fmla="*/ 400 w 864"/>
                <a:gd name="T21" fmla="*/ 77 h 678"/>
                <a:gd name="T22" fmla="*/ 347 w 864"/>
                <a:gd name="T23" fmla="*/ 60 h 678"/>
                <a:gd name="T24" fmla="*/ 290 w 864"/>
                <a:gd name="T25" fmla="*/ 43 h 678"/>
                <a:gd name="T26" fmla="*/ 233 w 864"/>
                <a:gd name="T27" fmla="*/ 30 h 678"/>
                <a:gd name="T28" fmla="*/ 173 w 864"/>
                <a:gd name="T29" fmla="*/ 17 h 678"/>
                <a:gd name="T30" fmla="*/ 116 w 864"/>
                <a:gd name="T31" fmla="*/ 10 h 678"/>
                <a:gd name="T32" fmla="*/ 56 w 864"/>
                <a:gd name="T33" fmla="*/ 3 h 678"/>
                <a:gd name="T34" fmla="*/ 0 w 864"/>
                <a:gd name="T35" fmla="*/ 0 h 678"/>
                <a:gd name="T36" fmla="*/ 0 w 864"/>
                <a:gd name="T37" fmla="*/ 454 h 678"/>
                <a:gd name="T38" fmla="*/ 0 w 864"/>
                <a:gd name="T39" fmla="*/ 454 h 678"/>
                <a:gd name="T40" fmla="*/ 73 w 864"/>
                <a:gd name="T41" fmla="*/ 461 h 678"/>
                <a:gd name="T42" fmla="*/ 146 w 864"/>
                <a:gd name="T43" fmla="*/ 474 h 678"/>
                <a:gd name="T44" fmla="*/ 217 w 864"/>
                <a:gd name="T45" fmla="*/ 494 h 678"/>
                <a:gd name="T46" fmla="*/ 287 w 864"/>
                <a:gd name="T47" fmla="*/ 521 h 678"/>
                <a:gd name="T48" fmla="*/ 353 w 864"/>
                <a:gd name="T49" fmla="*/ 551 h 678"/>
                <a:gd name="T50" fmla="*/ 420 w 864"/>
                <a:gd name="T51" fmla="*/ 588 h 678"/>
                <a:gd name="T52" fmla="*/ 483 w 864"/>
                <a:gd name="T53" fmla="*/ 631 h 678"/>
                <a:gd name="T54" fmla="*/ 543 w 864"/>
                <a:gd name="T55" fmla="*/ 678 h 678"/>
                <a:gd name="T56" fmla="*/ 864 w 864"/>
                <a:gd name="T57" fmla="*/ 35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4" h="678">
                  <a:moveTo>
                    <a:pt x="864" y="357"/>
                  </a:moveTo>
                  <a:lnTo>
                    <a:pt x="864" y="357"/>
                  </a:lnTo>
                  <a:lnTo>
                    <a:pt x="817" y="317"/>
                  </a:lnTo>
                  <a:lnTo>
                    <a:pt x="770" y="277"/>
                  </a:lnTo>
                  <a:lnTo>
                    <a:pt x="720" y="240"/>
                  </a:lnTo>
                  <a:lnTo>
                    <a:pt x="670" y="207"/>
                  </a:lnTo>
                  <a:lnTo>
                    <a:pt x="617" y="177"/>
                  </a:lnTo>
                  <a:lnTo>
                    <a:pt x="567" y="147"/>
                  </a:lnTo>
                  <a:lnTo>
                    <a:pt x="510" y="124"/>
                  </a:lnTo>
                  <a:lnTo>
                    <a:pt x="457" y="97"/>
                  </a:lnTo>
                  <a:lnTo>
                    <a:pt x="400" y="77"/>
                  </a:lnTo>
                  <a:lnTo>
                    <a:pt x="347" y="60"/>
                  </a:lnTo>
                  <a:lnTo>
                    <a:pt x="290" y="43"/>
                  </a:lnTo>
                  <a:lnTo>
                    <a:pt x="233" y="30"/>
                  </a:lnTo>
                  <a:lnTo>
                    <a:pt x="173" y="17"/>
                  </a:lnTo>
                  <a:lnTo>
                    <a:pt x="116" y="10"/>
                  </a:lnTo>
                  <a:lnTo>
                    <a:pt x="56" y="3"/>
                  </a:lnTo>
                  <a:lnTo>
                    <a:pt x="0" y="0"/>
                  </a:lnTo>
                  <a:lnTo>
                    <a:pt x="0" y="454"/>
                  </a:lnTo>
                  <a:lnTo>
                    <a:pt x="0" y="454"/>
                  </a:lnTo>
                  <a:lnTo>
                    <a:pt x="73" y="461"/>
                  </a:lnTo>
                  <a:lnTo>
                    <a:pt x="146" y="474"/>
                  </a:lnTo>
                  <a:lnTo>
                    <a:pt x="217" y="494"/>
                  </a:lnTo>
                  <a:lnTo>
                    <a:pt x="287" y="521"/>
                  </a:lnTo>
                  <a:lnTo>
                    <a:pt x="353" y="551"/>
                  </a:lnTo>
                  <a:lnTo>
                    <a:pt x="420" y="588"/>
                  </a:lnTo>
                  <a:lnTo>
                    <a:pt x="483" y="631"/>
                  </a:lnTo>
                  <a:lnTo>
                    <a:pt x="543" y="678"/>
                  </a:lnTo>
                  <a:lnTo>
                    <a:pt x="864" y="357"/>
                  </a:lnTo>
                  <a:close/>
                </a:path>
              </a:pathLst>
            </a:custGeom>
            <a:solidFill>
              <a:srgbClr val="9E9E9E"/>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accent2"/>
                </a:solidFill>
              </a:endParaRPr>
            </a:p>
          </p:txBody>
        </p:sp>
        <p:sp>
          <p:nvSpPr>
            <p:cNvPr id="3" name="Freeform 5"/>
            <p:cNvSpPr/>
            <p:nvPr/>
          </p:nvSpPr>
          <p:spPr bwMode="auto">
            <a:xfrm>
              <a:off x="4222802" y="1491346"/>
              <a:ext cx="1007692" cy="1281844"/>
            </a:xfrm>
            <a:custGeom>
              <a:avLst/>
              <a:gdLst>
                <a:gd name="T0" fmla="*/ 0 w 680"/>
                <a:gd name="T1" fmla="*/ 321 h 865"/>
                <a:gd name="T2" fmla="*/ 0 w 680"/>
                <a:gd name="T3" fmla="*/ 321 h 865"/>
                <a:gd name="T4" fmla="*/ 50 w 680"/>
                <a:gd name="T5" fmla="*/ 384 h 865"/>
                <a:gd name="T6" fmla="*/ 90 w 680"/>
                <a:gd name="T7" fmla="*/ 444 h 865"/>
                <a:gd name="T8" fmla="*/ 130 w 680"/>
                <a:gd name="T9" fmla="*/ 511 h 865"/>
                <a:gd name="T10" fmla="*/ 160 w 680"/>
                <a:gd name="T11" fmla="*/ 581 h 865"/>
                <a:gd name="T12" fmla="*/ 183 w 680"/>
                <a:gd name="T13" fmla="*/ 651 h 865"/>
                <a:gd name="T14" fmla="*/ 203 w 680"/>
                <a:gd name="T15" fmla="*/ 722 h 865"/>
                <a:gd name="T16" fmla="*/ 216 w 680"/>
                <a:gd name="T17" fmla="*/ 795 h 865"/>
                <a:gd name="T18" fmla="*/ 223 w 680"/>
                <a:gd name="T19" fmla="*/ 865 h 865"/>
                <a:gd name="T20" fmla="*/ 680 w 680"/>
                <a:gd name="T21" fmla="*/ 865 h 865"/>
                <a:gd name="T22" fmla="*/ 680 w 680"/>
                <a:gd name="T23" fmla="*/ 865 h 865"/>
                <a:gd name="T24" fmla="*/ 677 w 680"/>
                <a:gd name="T25" fmla="*/ 808 h 865"/>
                <a:gd name="T26" fmla="*/ 670 w 680"/>
                <a:gd name="T27" fmla="*/ 752 h 865"/>
                <a:gd name="T28" fmla="*/ 660 w 680"/>
                <a:gd name="T29" fmla="*/ 691 h 865"/>
                <a:gd name="T30" fmla="*/ 650 w 680"/>
                <a:gd name="T31" fmla="*/ 635 h 865"/>
                <a:gd name="T32" fmla="*/ 637 w 680"/>
                <a:gd name="T33" fmla="*/ 578 h 865"/>
                <a:gd name="T34" fmla="*/ 620 w 680"/>
                <a:gd name="T35" fmla="*/ 521 h 865"/>
                <a:gd name="T36" fmla="*/ 600 w 680"/>
                <a:gd name="T37" fmla="*/ 464 h 865"/>
                <a:gd name="T38" fmla="*/ 580 w 680"/>
                <a:gd name="T39" fmla="*/ 408 h 865"/>
                <a:gd name="T40" fmla="*/ 557 w 680"/>
                <a:gd name="T41" fmla="*/ 354 h 865"/>
                <a:gd name="T42" fmla="*/ 530 w 680"/>
                <a:gd name="T43" fmla="*/ 301 h 865"/>
                <a:gd name="T44" fmla="*/ 500 w 680"/>
                <a:gd name="T45" fmla="*/ 247 h 865"/>
                <a:gd name="T46" fmla="*/ 470 w 680"/>
                <a:gd name="T47" fmla="*/ 197 h 865"/>
                <a:gd name="T48" fmla="*/ 436 w 680"/>
                <a:gd name="T49" fmla="*/ 144 h 865"/>
                <a:gd name="T50" fmla="*/ 400 w 680"/>
                <a:gd name="T51" fmla="*/ 97 h 865"/>
                <a:gd name="T52" fmla="*/ 363 w 680"/>
                <a:gd name="T53" fmla="*/ 47 h 865"/>
                <a:gd name="T54" fmla="*/ 320 w 680"/>
                <a:gd name="T55" fmla="*/ 0 h 865"/>
                <a:gd name="T56" fmla="*/ 0 w 680"/>
                <a:gd name="T57" fmla="*/ 321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865">
                  <a:moveTo>
                    <a:pt x="0" y="321"/>
                  </a:moveTo>
                  <a:lnTo>
                    <a:pt x="0" y="321"/>
                  </a:lnTo>
                  <a:lnTo>
                    <a:pt x="50" y="384"/>
                  </a:lnTo>
                  <a:lnTo>
                    <a:pt x="90" y="444"/>
                  </a:lnTo>
                  <a:lnTo>
                    <a:pt x="130" y="511"/>
                  </a:lnTo>
                  <a:lnTo>
                    <a:pt x="160" y="581"/>
                  </a:lnTo>
                  <a:lnTo>
                    <a:pt x="183" y="651"/>
                  </a:lnTo>
                  <a:lnTo>
                    <a:pt x="203" y="722"/>
                  </a:lnTo>
                  <a:lnTo>
                    <a:pt x="216" y="795"/>
                  </a:lnTo>
                  <a:lnTo>
                    <a:pt x="223" y="865"/>
                  </a:lnTo>
                  <a:lnTo>
                    <a:pt x="680" y="865"/>
                  </a:lnTo>
                  <a:lnTo>
                    <a:pt x="680" y="865"/>
                  </a:lnTo>
                  <a:lnTo>
                    <a:pt x="677" y="808"/>
                  </a:lnTo>
                  <a:lnTo>
                    <a:pt x="670" y="752"/>
                  </a:lnTo>
                  <a:lnTo>
                    <a:pt x="660" y="691"/>
                  </a:lnTo>
                  <a:lnTo>
                    <a:pt x="650" y="635"/>
                  </a:lnTo>
                  <a:lnTo>
                    <a:pt x="637" y="578"/>
                  </a:lnTo>
                  <a:lnTo>
                    <a:pt x="620" y="521"/>
                  </a:lnTo>
                  <a:lnTo>
                    <a:pt x="600" y="464"/>
                  </a:lnTo>
                  <a:lnTo>
                    <a:pt x="580" y="408"/>
                  </a:lnTo>
                  <a:lnTo>
                    <a:pt x="557" y="354"/>
                  </a:lnTo>
                  <a:lnTo>
                    <a:pt x="530" y="301"/>
                  </a:lnTo>
                  <a:lnTo>
                    <a:pt x="500" y="247"/>
                  </a:lnTo>
                  <a:lnTo>
                    <a:pt x="470" y="197"/>
                  </a:lnTo>
                  <a:lnTo>
                    <a:pt x="436" y="144"/>
                  </a:lnTo>
                  <a:lnTo>
                    <a:pt x="400" y="97"/>
                  </a:lnTo>
                  <a:lnTo>
                    <a:pt x="363" y="47"/>
                  </a:lnTo>
                  <a:lnTo>
                    <a:pt x="320" y="0"/>
                  </a:lnTo>
                  <a:lnTo>
                    <a:pt x="0" y="321"/>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4" name="Freeform 6"/>
            <p:cNvSpPr/>
            <p:nvPr/>
          </p:nvSpPr>
          <p:spPr bwMode="auto">
            <a:xfrm>
              <a:off x="4222802" y="2942127"/>
              <a:ext cx="1007692" cy="1286289"/>
            </a:xfrm>
            <a:custGeom>
              <a:avLst/>
              <a:gdLst>
                <a:gd name="T0" fmla="*/ 223 w 680"/>
                <a:gd name="T1" fmla="*/ 0 h 868"/>
                <a:gd name="T2" fmla="*/ 223 w 680"/>
                <a:gd name="T3" fmla="*/ 0 h 868"/>
                <a:gd name="T4" fmla="*/ 216 w 680"/>
                <a:gd name="T5" fmla="*/ 73 h 868"/>
                <a:gd name="T6" fmla="*/ 203 w 680"/>
                <a:gd name="T7" fmla="*/ 146 h 868"/>
                <a:gd name="T8" fmla="*/ 183 w 680"/>
                <a:gd name="T9" fmla="*/ 217 h 868"/>
                <a:gd name="T10" fmla="*/ 160 w 680"/>
                <a:gd name="T11" fmla="*/ 287 h 868"/>
                <a:gd name="T12" fmla="*/ 130 w 680"/>
                <a:gd name="T13" fmla="*/ 357 h 868"/>
                <a:gd name="T14" fmla="*/ 90 w 680"/>
                <a:gd name="T15" fmla="*/ 420 h 868"/>
                <a:gd name="T16" fmla="*/ 50 w 680"/>
                <a:gd name="T17" fmla="*/ 484 h 868"/>
                <a:gd name="T18" fmla="*/ 0 w 680"/>
                <a:gd name="T19" fmla="*/ 544 h 868"/>
                <a:gd name="T20" fmla="*/ 320 w 680"/>
                <a:gd name="T21" fmla="*/ 868 h 868"/>
                <a:gd name="T22" fmla="*/ 320 w 680"/>
                <a:gd name="T23" fmla="*/ 868 h 868"/>
                <a:gd name="T24" fmla="*/ 363 w 680"/>
                <a:gd name="T25" fmla="*/ 821 h 868"/>
                <a:gd name="T26" fmla="*/ 400 w 680"/>
                <a:gd name="T27" fmla="*/ 771 h 868"/>
                <a:gd name="T28" fmla="*/ 436 w 680"/>
                <a:gd name="T29" fmla="*/ 724 h 868"/>
                <a:gd name="T30" fmla="*/ 470 w 680"/>
                <a:gd name="T31" fmla="*/ 671 h 868"/>
                <a:gd name="T32" fmla="*/ 500 w 680"/>
                <a:gd name="T33" fmla="*/ 621 h 868"/>
                <a:gd name="T34" fmla="*/ 530 w 680"/>
                <a:gd name="T35" fmla="*/ 567 h 868"/>
                <a:gd name="T36" fmla="*/ 557 w 680"/>
                <a:gd name="T37" fmla="*/ 514 h 868"/>
                <a:gd name="T38" fmla="*/ 580 w 680"/>
                <a:gd name="T39" fmla="*/ 460 h 868"/>
                <a:gd name="T40" fmla="*/ 600 w 680"/>
                <a:gd name="T41" fmla="*/ 404 h 868"/>
                <a:gd name="T42" fmla="*/ 620 w 680"/>
                <a:gd name="T43" fmla="*/ 347 h 868"/>
                <a:gd name="T44" fmla="*/ 637 w 680"/>
                <a:gd name="T45" fmla="*/ 290 h 868"/>
                <a:gd name="T46" fmla="*/ 650 w 680"/>
                <a:gd name="T47" fmla="*/ 233 h 868"/>
                <a:gd name="T48" fmla="*/ 660 w 680"/>
                <a:gd name="T49" fmla="*/ 177 h 868"/>
                <a:gd name="T50" fmla="*/ 670 w 680"/>
                <a:gd name="T51" fmla="*/ 116 h 868"/>
                <a:gd name="T52" fmla="*/ 677 w 680"/>
                <a:gd name="T53" fmla="*/ 60 h 868"/>
                <a:gd name="T54" fmla="*/ 680 w 680"/>
                <a:gd name="T55" fmla="*/ 0 h 868"/>
                <a:gd name="T56" fmla="*/ 223 w 680"/>
                <a:gd name="T57" fmla="*/ 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868">
                  <a:moveTo>
                    <a:pt x="223" y="0"/>
                  </a:moveTo>
                  <a:lnTo>
                    <a:pt x="223" y="0"/>
                  </a:lnTo>
                  <a:lnTo>
                    <a:pt x="216" y="73"/>
                  </a:lnTo>
                  <a:lnTo>
                    <a:pt x="203" y="146"/>
                  </a:lnTo>
                  <a:lnTo>
                    <a:pt x="183" y="217"/>
                  </a:lnTo>
                  <a:lnTo>
                    <a:pt x="160" y="287"/>
                  </a:lnTo>
                  <a:lnTo>
                    <a:pt x="130" y="357"/>
                  </a:lnTo>
                  <a:lnTo>
                    <a:pt x="90" y="420"/>
                  </a:lnTo>
                  <a:lnTo>
                    <a:pt x="50" y="484"/>
                  </a:lnTo>
                  <a:lnTo>
                    <a:pt x="0" y="544"/>
                  </a:lnTo>
                  <a:lnTo>
                    <a:pt x="320" y="868"/>
                  </a:lnTo>
                  <a:lnTo>
                    <a:pt x="320" y="868"/>
                  </a:lnTo>
                  <a:lnTo>
                    <a:pt x="363" y="821"/>
                  </a:lnTo>
                  <a:lnTo>
                    <a:pt x="400" y="771"/>
                  </a:lnTo>
                  <a:lnTo>
                    <a:pt x="436" y="724"/>
                  </a:lnTo>
                  <a:lnTo>
                    <a:pt x="470" y="671"/>
                  </a:lnTo>
                  <a:lnTo>
                    <a:pt x="500" y="621"/>
                  </a:lnTo>
                  <a:lnTo>
                    <a:pt x="530" y="567"/>
                  </a:lnTo>
                  <a:lnTo>
                    <a:pt x="557" y="514"/>
                  </a:lnTo>
                  <a:lnTo>
                    <a:pt x="580" y="460"/>
                  </a:lnTo>
                  <a:lnTo>
                    <a:pt x="600" y="404"/>
                  </a:lnTo>
                  <a:lnTo>
                    <a:pt x="620" y="347"/>
                  </a:lnTo>
                  <a:lnTo>
                    <a:pt x="637" y="290"/>
                  </a:lnTo>
                  <a:lnTo>
                    <a:pt x="650" y="233"/>
                  </a:lnTo>
                  <a:lnTo>
                    <a:pt x="660" y="177"/>
                  </a:lnTo>
                  <a:lnTo>
                    <a:pt x="670" y="116"/>
                  </a:lnTo>
                  <a:lnTo>
                    <a:pt x="677" y="60"/>
                  </a:lnTo>
                  <a:lnTo>
                    <a:pt x="680" y="0"/>
                  </a:lnTo>
                  <a:lnTo>
                    <a:pt x="223" y="0"/>
                  </a:lnTo>
                  <a:close/>
                </a:path>
              </a:pathLst>
            </a:custGeom>
            <a:solidFill>
              <a:srgbClr val="9E9E9E"/>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 name="Freeform 7"/>
            <p:cNvSpPr/>
            <p:nvPr/>
          </p:nvSpPr>
          <p:spPr bwMode="auto">
            <a:xfrm>
              <a:off x="3298096" y="3871278"/>
              <a:ext cx="1280362" cy="1004728"/>
            </a:xfrm>
            <a:custGeom>
              <a:avLst/>
              <a:gdLst>
                <a:gd name="T0" fmla="*/ 543 w 864"/>
                <a:gd name="T1" fmla="*/ 0 h 678"/>
                <a:gd name="T2" fmla="*/ 543 w 864"/>
                <a:gd name="T3" fmla="*/ 0 h 678"/>
                <a:gd name="T4" fmla="*/ 483 w 864"/>
                <a:gd name="T5" fmla="*/ 47 h 678"/>
                <a:gd name="T6" fmla="*/ 420 w 864"/>
                <a:gd name="T7" fmla="*/ 90 h 678"/>
                <a:gd name="T8" fmla="*/ 353 w 864"/>
                <a:gd name="T9" fmla="*/ 127 h 678"/>
                <a:gd name="T10" fmla="*/ 287 w 864"/>
                <a:gd name="T11" fmla="*/ 157 h 678"/>
                <a:gd name="T12" fmla="*/ 217 w 864"/>
                <a:gd name="T13" fmla="*/ 184 h 678"/>
                <a:gd name="T14" fmla="*/ 146 w 864"/>
                <a:gd name="T15" fmla="*/ 204 h 678"/>
                <a:gd name="T16" fmla="*/ 73 w 864"/>
                <a:gd name="T17" fmla="*/ 217 h 678"/>
                <a:gd name="T18" fmla="*/ 0 w 864"/>
                <a:gd name="T19" fmla="*/ 224 h 678"/>
                <a:gd name="T20" fmla="*/ 0 w 864"/>
                <a:gd name="T21" fmla="*/ 678 h 678"/>
                <a:gd name="T22" fmla="*/ 0 w 864"/>
                <a:gd name="T23" fmla="*/ 678 h 678"/>
                <a:gd name="T24" fmla="*/ 56 w 864"/>
                <a:gd name="T25" fmla="*/ 675 h 678"/>
                <a:gd name="T26" fmla="*/ 116 w 864"/>
                <a:gd name="T27" fmla="*/ 668 h 678"/>
                <a:gd name="T28" fmla="*/ 173 w 864"/>
                <a:gd name="T29" fmla="*/ 661 h 678"/>
                <a:gd name="T30" fmla="*/ 233 w 864"/>
                <a:gd name="T31" fmla="*/ 648 h 678"/>
                <a:gd name="T32" fmla="*/ 290 w 864"/>
                <a:gd name="T33" fmla="*/ 635 h 678"/>
                <a:gd name="T34" fmla="*/ 347 w 864"/>
                <a:gd name="T35" fmla="*/ 618 h 678"/>
                <a:gd name="T36" fmla="*/ 400 w 864"/>
                <a:gd name="T37" fmla="*/ 601 h 678"/>
                <a:gd name="T38" fmla="*/ 457 w 864"/>
                <a:gd name="T39" fmla="*/ 581 h 678"/>
                <a:gd name="T40" fmla="*/ 510 w 864"/>
                <a:gd name="T41" fmla="*/ 554 h 678"/>
                <a:gd name="T42" fmla="*/ 567 w 864"/>
                <a:gd name="T43" fmla="*/ 531 h 678"/>
                <a:gd name="T44" fmla="*/ 617 w 864"/>
                <a:gd name="T45" fmla="*/ 501 h 678"/>
                <a:gd name="T46" fmla="*/ 670 w 864"/>
                <a:gd name="T47" fmla="*/ 471 h 678"/>
                <a:gd name="T48" fmla="*/ 720 w 864"/>
                <a:gd name="T49" fmla="*/ 438 h 678"/>
                <a:gd name="T50" fmla="*/ 770 w 864"/>
                <a:gd name="T51" fmla="*/ 401 h 678"/>
                <a:gd name="T52" fmla="*/ 817 w 864"/>
                <a:gd name="T53" fmla="*/ 361 h 678"/>
                <a:gd name="T54" fmla="*/ 864 w 864"/>
                <a:gd name="T55" fmla="*/ 321 h 678"/>
                <a:gd name="T56" fmla="*/ 543 w 864"/>
                <a:gd name="T57" fmla="*/ 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4" h="678">
                  <a:moveTo>
                    <a:pt x="543" y="0"/>
                  </a:moveTo>
                  <a:lnTo>
                    <a:pt x="543" y="0"/>
                  </a:lnTo>
                  <a:lnTo>
                    <a:pt x="483" y="47"/>
                  </a:lnTo>
                  <a:lnTo>
                    <a:pt x="420" y="90"/>
                  </a:lnTo>
                  <a:lnTo>
                    <a:pt x="353" y="127"/>
                  </a:lnTo>
                  <a:lnTo>
                    <a:pt x="287" y="157"/>
                  </a:lnTo>
                  <a:lnTo>
                    <a:pt x="217" y="184"/>
                  </a:lnTo>
                  <a:lnTo>
                    <a:pt x="146" y="204"/>
                  </a:lnTo>
                  <a:lnTo>
                    <a:pt x="73" y="217"/>
                  </a:lnTo>
                  <a:lnTo>
                    <a:pt x="0" y="224"/>
                  </a:lnTo>
                  <a:lnTo>
                    <a:pt x="0" y="678"/>
                  </a:lnTo>
                  <a:lnTo>
                    <a:pt x="0" y="678"/>
                  </a:lnTo>
                  <a:lnTo>
                    <a:pt x="56" y="675"/>
                  </a:lnTo>
                  <a:lnTo>
                    <a:pt x="116" y="668"/>
                  </a:lnTo>
                  <a:lnTo>
                    <a:pt x="173" y="661"/>
                  </a:lnTo>
                  <a:lnTo>
                    <a:pt x="233" y="648"/>
                  </a:lnTo>
                  <a:lnTo>
                    <a:pt x="290" y="635"/>
                  </a:lnTo>
                  <a:lnTo>
                    <a:pt x="347" y="618"/>
                  </a:lnTo>
                  <a:lnTo>
                    <a:pt x="400" y="601"/>
                  </a:lnTo>
                  <a:lnTo>
                    <a:pt x="457" y="581"/>
                  </a:lnTo>
                  <a:lnTo>
                    <a:pt x="510" y="554"/>
                  </a:lnTo>
                  <a:lnTo>
                    <a:pt x="567" y="531"/>
                  </a:lnTo>
                  <a:lnTo>
                    <a:pt x="617" y="501"/>
                  </a:lnTo>
                  <a:lnTo>
                    <a:pt x="670" y="471"/>
                  </a:lnTo>
                  <a:lnTo>
                    <a:pt x="720" y="438"/>
                  </a:lnTo>
                  <a:lnTo>
                    <a:pt x="770" y="401"/>
                  </a:lnTo>
                  <a:lnTo>
                    <a:pt x="817" y="361"/>
                  </a:lnTo>
                  <a:lnTo>
                    <a:pt x="864" y="321"/>
                  </a:lnTo>
                  <a:lnTo>
                    <a:pt x="543" y="0"/>
                  </a:lnTo>
                  <a:close/>
                </a:path>
              </a:pathLst>
            </a:custGeom>
            <a:solidFill>
              <a:schemeClr val="bg2">
                <a:lumMod val="60000"/>
                <a:lumOff val="40000"/>
                <a:alpha val="10001"/>
              </a:schemeClr>
            </a:solidFill>
            <a:ln w="19050" cap="rnd" cmpd="sng">
              <a:solidFill>
                <a:srgbClr val="9E9E9E"/>
              </a:solidFill>
              <a:prstDash val="sysDot"/>
              <a:round/>
              <a:headEnd type="none" w="med" len="med"/>
              <a:tailEnd type="none" w="med" len="med"/>
            </a:ln>
            <a:effectLst/>
          </p:spPr>
          <p:txBody>
            <a:bodyPr wrap="none" anchor="ctr"/>
            <a:lstStyle/>
            <a:p>
              <a:endParaRPr lang="zh-CN" altLang="en-US">
                <a:solidFill>
                  <a:schemeClr val="accent2"/>
                </a:solidFill>
              </a:endParaRPr>
            </a:p>
          </p:txBody>
        </p:sp>
        <p:sp>
          <p:nvSpPr>
            <p:cNvPr id="6" name="Freeform 8"/>
            <p:cNvSpPr/>
            <p:nvPr/>
          </p:nvSpPr>
          <p:spPr bwMode="auto">
            <a:xfrm>
              <a:off x="1848798" y="3871278"/>
              <a:ext cx="1280362" cy="1004728"/>
            </a:xfrm>
            <a:custGeom>
              <a:avLst/>
              <a:gdLst>
                <a:gd name="T0" fmla="*/ 0 w 864"/>
                <a:gd name="T1" fmla="*/ 321 h 678"/>
                <a:gd name="T2" fmla="*/ 0 w 864"/>
                <a:gd name="T3" fmla="*/ 321 h 678"/>
                <a:gd name="T4" fmla="*/ 47 w 864"/>
                <a:gd name="T5" fmla="*/ 361 h 678"/>
                <a:gd name="T6" fmla="*/ 94 w 864"/>
                <a:gd name="T7" fmla="*/ 401 h 678"/>
                <a:gd name="T8" fmla="*/ 144 w 864"/>
                <a:gd name="T9" fmla="*/ 438 h 678"/>
                <a:gd name="T10" fmla="*/ 194 w 864"/>
                <a:gd name="T11" fmla="*/ 471 h 678"/>
                <a:gd name="T12" fmla="*/ 244 w 864"/>
                <a:gd name="T13" fmla="*/ 501 h 678"/>
                <a:gd name="T14" fmla="*/ 297 w 864"/>
                <a:gd name="T15" fmla="*/ 531 h 678"/>
                <a:gd name="T16" fmla="*/ 351 w 864"/>
                <a:gd name="T17" fmla="*/ 554 h 678"/>
                <a:gd name="T18" fmla="*/ 407 w 864"/>
                <a:gd name="T19" fmla="*/ 581 h 678"/>
                <a:gd name="T20" fmla="*/ 461 w 864"/>
                <a:gd name="T21" fmla="*/ 601 h 678"/>
                <a:gd name="T22" fmla="*/ 517 w 864"/>
                <a:gd name="T23" fmla="*/ 618 h 678"/>
                <a:gd name="T24" fmla="*/ 574 w 864"/>
                <a:gd name="T25" fmla="*/ 635 h 678"/>
                <a:gd name="T26" fmla="*/ 631 w 864"/>
                <a:gd name="T27" fmla="*/ 648 h 678"/>
                <a:gd name="T28" fmla="*/ 691 w 864"/>
                <a:gd name="T29" fmla="*/ 661 h 678"/>
                <a:gd name="T30" fmla="*/ 748 w 864"/>
                <a:gd name="T31" fmla="*/ 668 h 678"/>
                <a:gd name="T32" fmla="*/ 804 w 864"/>
                <a:gd name="T33" fmla="*/ 675 h 678"/>
                <a:gd name="T34" fmla="*/ 864 w 864"/>
                <a:gd name="T35" fmla="*/ 678 h 678"/>
                <a:gd name="T36" fmla="*/ 864 w 864"/>
                <a:gd name="T37" fmla="*/ 224 h 678"/>
                <a:gd name="T38" fmla="*/ 864 w 864"/>
                <a:gd name="T39" fmla="*/ 224 h 678"/>
                <a:gd name="T40" fmla="*/ 791 w 864"/>
                <a:gd name="T41" fmla="*/ 217 h 678"/>
                <a:gd name="T42" fmla="*/ 718 w 864"/>
                <a:gd name="T43" fmla="*/ 204 h 678"/>
                <a:gd name="T44" fmla="*/ 647 w 864"/>
                <a:gd name="T45" fmla="*/ 184 h 678"/>
                <a:gd name="T46" fmla="*/ 577 w 864"/>
                <a:gd name="T47" fmla="*/ 157 h 678"/>
                <a:gd name="T48" fmla="*/ 511 w 864"/>
                <a:gd name="T49" fmla="*/ 127 h 678"/>
                <a:gd name="T50" fmla="*/ 444 w 864"/>
                <a:gd name="T51" fmla="*/ 90 h 678"/>
                <a:gd name="T52" fmla="*/ 381 w 864"/>
                <a:gd name="T53" fmla="*/ 47 h 678"/>
                <a:gd name="T54" fmla="*/ 321 w 864"/>
                <a:gd name="T55" fmla="*/ 0 h 678"/>
                <a:gd name="T56" fmla="*/ 0 w 864"/>
                <a:gd name="T57" fmla="*/ 321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4" h="678">
                  <a:moveTo>
                    <a:pt x="0" y="321"/>
                  </a:moveTo>
                  <a:lnTo>
                    <a:pt x="0" y="321"/>
                  </a:lnTo>
                  <a:lnTo>
                    <a:pt x="47" y="361"/>
                  </a:lnTo>
                  <a:lnTo>
                    <a:pt x="94" y="401"/>
                  </a:lnTo>
                  <a:lnTo>
                    <a:pt x="144" y="438"/>
                  </a:lnTo>
                  <a:lnTo>
                    <a:pt x="194" y="471"/>
                  </a:lnTo>
                  <a:lnTo>
                    <a:pt x="244" y="501"/>
                  </a:lnTo>
                  <a:lnTo>
                    <a:pt x="297" y="531"/>
                  </a:lnTo>
                  <a:lnTo>
                    <a:pt x="351" y="554"/>
                  </a:lnTo>
                  <a:lnTo>
                    <a:pt x="407" y="581"/>
                  </a:lnTo>
                  <a:lnTo>
                    <a:pt x="461" y="601"/>
                  </a:lnTo>
                  <a:lnTo>
                    <a:pt x="517" y="618"/>
                  </a:lnTo>
                  <a:lnTo>
                    <a:pt x="574" y="635"/>
                  </a:lnTo>
                  <a:lnTo>
                    <a:pt x="631" y="648"/>
                  </a:lnTo>
                  <a:lnTo>
                    <a:pt x="691" y="661"/>
                  </a:lnTo>
                  <a:lnTo>
                    <a:pt x="748" y="668"/>
                  </a:lnTo>
                  <a:lnTo>
                    <a:pt x="804" y="675"/>
                  </a:lnTo>
                  <a:lnTo>
                    <a:pt x="864" y="678"/>
                  </a:lnTo>
                  <a:lnTo>
                    <a:pt x="864" y="224"/>
                  </a:lnTo>
                  <a:lnTo>
                    <a:pt x="864" y="224"/>
                  </a:lnTo>
                  <a:lnTo>
                    <a:pt x="791" y="217"/>
                  </a:lnTo>
                  <a:lnTo>
                    <a:pt x="718" y="204"/>
                  </a:lnTo>
                  <a:lnTo>
                    <a:pt x="647" y="184"/>
                  </a:lnTo>
                  <a:lnTo>
                    <a:pt x="577" y="157"/>
                  </a:lnTo>
                  <a:lnTo>
                    <a:pt x="511" y="127"/>
                  </a:lnTo>
                  <a:lnTo>
                    <a:pt x="444" y="90"/>
                  </a:lnTo>
                  <a:lnTo>
                    <a:pt x="381" y="47"/>
                  </a:lnTo>
                  <a:lnTo>
                    <a:pt x="321" y="0"/>
                  </a:lnTo>
                  <a:lnTo>
                    <a:pt x="0" y="321"/>
                  </a:lnTo>
                  <a:close/>
                </a:path>
              </a:pathLst>
            </a:custGeom>
            <a:solidFill>
              <a:schemeClr val="bg2">
                <a:lumMod val="60000"/>
                <a:lumOff val="40000"/>
                <a:alpha val="10001"/>
              </a:schemeClr>
            </a:solidFill>
            <a:ln w="19050" cap="rnd" cmpd="sng">
              <a:solidFill>
                <a:srgbClr val="9E9E9E"/>
              </a:solidFill>
              <a:prstDash val="sysDot"/>
              <a:round/>
              <a:headEnd type="none" w="med" len="med"/>
              <a:tailEnd type="none" w="med" len="med"/>
            </a:ln>
            <a:effectLst/>
          </p:spPr>
          <p:txBody>
            <a:bodyPr wrap="none" anchor="ctr"/>
            <a:lstStyle/>
            <a:p>
              <a:endParaRPr lang="zh-CN" altLang="en-US">
                <a:solidFill>
                  <a:schemeClr val="accent2"/>
                </a:solidFill>
              </a:endParaRPr>
            </a:p>
          </p:txBody>
        </p:sp>
        <p:sp>
          <p:nvSpPr>
            <p:cNvPr id="7" name="Freeform 9"/>
            <p:cNvSpPr/>
            <p:nvPr/>
          </p:nvSpPr>
          <p:spPr bwMode="auto">
            <a:xfrm>
              <a:off x="1196762" y="2942127"/>
              <a:ext cx="1009174" cy="1286289"/>
            </a:xfrm>
            <a:custGeom>
              <a:avLst/>
              <a:gdLst>
                <a:gd name="T0" fmla="*/ 454 w 681"/>
                <a:gd name="T1" fmla="*/ 0 h 868"/>
                <a:gd name="T2" fmla="*/ 0 w 681"/>
                <a:gd name="T3" fmla="*/ 0 h 868"/>
                <a:gd name="T4" fmla="*/ 0 w 681"/>
                <a:gd name="T5" fmla="*/ 0 h 868"/>
                <a:gd name="T6" fmla="*/ 3 w 681"/>
                <a:gd name="T7" fmla="*/ 60 h 868"/>
                <a:gd name="T8" fmla="*/ 10 w 681"/>
                <a:gd name="T9" fmla="*/ 116 h 868"/>
                <a:gd name="T10" fmla="*/ 20 w 681"/>
                <a:gd name="T11" fmla="*/ 177 h 868"/>
                <a:gd name="T12" fmla="*/ 30 w 681"/>
                <a:gd name="T13" fmla="*/ 233 h 868"/>
                <a:gd name="T14" fmla="*/ 43 w 681"/>
                <a:gd name="T15" fmla="*/ 290 h 868"/>
                <a:gd name="T16" fmla="*/ 60 w 681"/>
                <a:gd name="T17" fmla="*/ 347 h 868"/>
                <a:gd name="T18" fmla="*/ 80 w 681"/>
                <a:gd name="T19" fmla="*/ 404 h 868"/>
                <a:gd name="T20" fmla="*/ 100 w 681"/>
                <a:gd name="T21" fmla="*/ 460 h 868"/>
                <a:gd name="T22" fmla="*/ 123 w 681"/>
                <a:gd name="T23" fmla="*/ 514 h 868"/>
                <a:gd name="T24" fmla="*/ 150 w 681"/>
                <a:gd name="T25" fmla="*/ 567 h 868"/>
                <a:gd name="T26" fmla="*/ 177 w 681"/>
                <a:gd name="T27" fmla="*/ 621 h 868"/>
                <a:gd name="T28" fmla="*/ 210 w 681"/>
                <a:gd name="T29" fmla="*/ 671 h 868"/>
                <a:gd name="T30" fmla="*/ 244 w 681"/>
                <a:gd name="T31" fmla="*/ 724 h 868"/>
                <a:gd name="T32" fmla="*/ 280 w 681"/>
                <a:gd name="T33" fmla="*/ 771 h 868"/>
                <a:gd name="T34" fmla="*/ 317 w 681"/>
                <a:gd name="T35" fmla="*/ 821 h 868"/>
                <a:gd name="T36" fmla="*/ 360 w 681"/>
                <a:gd name="T37" fmla="*/ 868 h 868"/>
                <a:gd name="T38" fmla="*/ 681 w 681"/>
                <a:gd name="T39" fmla="*/ 544 h 868"/>
                <a:gd name="T40" fmla="*/ 681 w 681"/>
                <a:gd name="T41" fmla="*/ 544 h 868"/>
                <a:gd name="T42" fmla="*/ 630 w 681"/>
                <a:gd name="T43" fmla="*/ 484 h 868"/>
                <a:gd name="T44" fmla="*/ 587 w 681"/>
                <a:gd name="T45" fmla="*/ 420 h 868"/>
                <a:gd name="T46" fmla="*/ 550 w 681"/>
                <a:gd name="T47" fmla="*/ 357 h 868"/>
                <a:gd name="T48" fmla="*/ 520 w 681"/>
                <a:gd name="T49" fmla="*/ 287 h 868"/>
                <a:gd name="T50" fmla="*/ 494 w 681"/>
                <a:gd name="T51" fmla="*/ 217 h 868"/>
                <a:gd name="T52" fmla="*/ 477 w 681"/>
                <a:gd name="T53" fmla="*/ 146 h 868"/>
                <a:gd name="T54" fmla="*/ 464 w 681"/>
                <a:gd name="T55" fmla="*/ 73 h 868"/>
                <a:gd name="T56" fmla="*/ 454 w 681"/>
                <a:gd name="T57" fmla="*/ 0 h 868"/>
                <a:gd name="T58" fmla="*/ 454 w 681"/>
                <a:gd name="T59" fmla="*/ 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1" h="868">
                  <a:moveTo>
                    <a:pt x="454" y="0"/>
                  </a:moveTo>
                  <a:lnTo>
                    <a:pt x="0" y="0"/>
                  </a:lnTo>
                  <a:lnTo>
                    <a:pt x="0" y="0"/>
                  </a:lnTo>
                  <a:lnTo>
                    <a:pt x="3" y="60"/>
                  </a:lnTo>
                  <a:lnTo>
                    <a:pt x="10" y="116"/>
                  </a:lnTo>
                  <a:lnTo>
                    <a:pt x="20" y="177"/>
                  </a:lnTo>
                  <a:lnTo>
                    <a:pt x="30" y="233"/>
                  </a:lnTo>
                  <a:lnTo>
                    <a:pt x="43" y="290"/>
                  </a:lnTo>
                  <a:lnTo>
                    <a:pt x="60" y="347"/>
                  </a:lnTo>
                  <a:lnTo>
                    <a:pt x="80" y="404"/>
                  </a:lnTo>
                  <a:lnTo>
                    <a:pt x="100" y="460"/>
                  </a:lnTo>
                  <a:lnTo>
                    <a:pt x="123" y="514"/>
                  </a:lnTo>
                  <a:lnTo>
                    <a:pt x="150" y="567"/>
                  </a:lnTo>
                  <a:lnTo>
                    <a:pt x="177" y="621"/>
                  </a:lnTo>
                  <a:lnTo>
                    <a:pt x="210" y="671"/>
                  </a:lnTo>
                  <a:lnTo>
                    <a:pt x="244" y="724"/>
                  </a:lnTo>
                  <a:lnTo>
                    <a:pt x="280" y="771"/>
                  </a:lnTo>
                  <a:lnTo>
                    <a:pt x="317" y="821"/>
                  </a:lnTo>
                  <a:lnTo>
                    <a:pt x="360" y="868"/>
                  </a:lnTo>
                  <a:lnTo>
                    <a:pt x="681" y="544"/>
                  </a:lnTo>
                  <a:lnTo>
                    <a:pt x="681" y="544"/>
                  </a:lnTo>
                  <a:lnTo>
                    <a:pt x="630" y="484"/>
                  </a:lnTo>
                  <a:lnTo>
                    <a:pt x="587" y="420"/>
                  </a:lnTo>
                  <a:lnTo>
                    <a:pt x="550" y="357"/>
                  </a:lnTo>
                  <a:lnTo>
                    <a:pt x="520" y="287"/>
                  </a:lnTo>
                  <a:lnTo>
                    <a:pt x="494" y="217"/>
                  </a:lnTo>
                  <a:lnTo>
                    <a:pt x="477" y="146"/>
                  </a:lnTo>
                  <a:lnTo>
                    <a:pt x="464" y="73"/>
                  </a:lnTo>
                  <a:lnTo>
                    <a:pt x="454" y="0"/>
                  </a:lnTo>
                  <a:lnTo>
                    <a:pt x="454" y="0"/>
                  </a:lnTo>
                  <a:close/>
                </a:path>
              </a:pathLst>
            </a:custGeom>
            <a:solidFill>
              <a:schemeClr val="bg2">
                <a:lumMod val="60000"/>
                <a:lumOff val="40000"/>
                <a:alpha val="10001"/>
              </a:schemeClr>
            </a:solidFill>
            <a:ln w="19050" cap="rnd" cmpd="sng">
              <a:solidFill>
                <a:srgbClr val="9E9E9E"/>
              </a:solidFill>
              <a:prstDash val="sysDot"/>
              <a:round/>
              <a:headEnd type="none" w="med" len="med"/>
              <a:tailEnd type="none" w="med" len="med"/>
            </a:ln>
            <a:effectLst/>
          </p:spPr>
          <p:txBody>
            <a:bodyPr wrap="none" anchor="ctr"/>
            <a:lstStyle/>
            <a:p>
              <a:endParaRPr lang="zh-CN" altLang="en-US">
                <a:solidFill>
                  <a:schemeClr val="accent2"/>
                </a:solidFill>
              </a:endParaRPr>
            </a:p>
          </p:txBody>
        </p:sp>
        <p:sp>
          <p:nvSpPr>
            <p:cNvPr id="8" name="Freeform 10"/>
            <p:cNvSpPr/>
            <p:nvPr/>
          </p:nvSpPr>
          <p:spPr bwMode="auto">
            <a:xfrm>
              <a:off x="1196762" y="1491346"/>
              <a:ext cx="1009174" cy="1281844"/>
            </a:xfrm>
            <a:custGeom>
              <a:avLst/>
              <a:gdLst>
                <a:gd name="T0" fmla="*/ 454 w 681"/>
                <a:gd name="T1" fmla="*/ 865 h 865"/>
                <a:gd name="T2" fmla="*/ 454 w 681"/>
                <a:gd name="T3" fmla="*/ 865 h 865"/>
                <a:gd name="T4" fmla="*/ 464 w 681"/>
                <a:gd name="T5" fmla="*/ 795 h 865"/>
                <a:gd name="T6" fmla="*/ 477 w 681"/>
                <a:gd name="T7" fmla="*/ 722 h 865"/>
                <a:gd name="T8" fmla="*/ 494 w 681"/>
                <a:gd name="T9" fmla="*/ 651 h 865"/>
                <a:gd name="T10" fmla="*/ 520 w 681"/>
                <a:gd name="T11" fmla="*/ 581 h 865"/>
                <a:gd name="T12" fmla="*/ 550 w 681"/>
                <a:gd name="T13" fmla="*/ 511 h 865"/>
                <a:gd name="T14" fmla="*/ 587 w 681"/>
                <a:gd name="T15" fmla="*/ 444 h 865"/>
                <a:gd name="T16" fmla="*/ 630 w 681"/>
                <a:gd name="T17" fmla="*/ 384 h 865"/>
                <a:gd name="T18" fmla="*/ 681 w 681"/>
                <a:gd name="T19" fmla="*/ 321 h 865"/>
                <a:gd name="T20" fmla="*/ 360 w 681"/>
                <a:gd name="T21" fmla="*/ 0 h 865"/>
                <a:gd name="T22" fmla="*/ 360 w 681"/>
                <a:gd name="T23" fmla="*/ 0 h 865"/>
                <a:gd name="T24" fmla="*/ 317 w 681"/>
                <a:gd name="T25" fmla="*/ 47 h 865"/>
                <a:gd name="T26" fmla="*/ 280 w 681"/>
                <a:gd name="T27" fmla="*/ 97 h 865"/>
                <a:gd name="T28" fmla="*/ 244 w 681"/>
                <a:gd name="T29" fmla="*/ 144 h 865"/>
                <a:gd name="T30" fmla="*/ 210 w 681"/>
                <a:gd name="T31" fmla="*/ 197 h 865"/>
                <a:gd name="T32" fmla="*/ 177 w 681"/>
                <a:gd name="T33" fmla="*/ 247 h 865"/>
                <a:gd name="T34" fmla="*/ 150 w 681"/>
                <a:gd name="T35" fmla="*/ 301 h 865"/>
                <a:gd name="T36" fmla="*/ 123 w 681"/>
                <a:gd name="T37" fmla="*/ 354 h 865"/>
                <a:gd name="T38" fmla="*/ 100 w 681"/>
                <a:gd name="T39" fmla="*/ 408 h 865"/>
                <a:gd name="T40" fmla="*/ 80 w 681"/>
                <a:gd name="T41" fmla="*/ 464 h 865"/>
                <a:gd name="T42" fmla="*/ 60 w 681"/>
                <a:gd name="T43" fmla="*/ 521 h 865"/>
                <a:gd name="T44" fmla="*/ 43 w 681"/>
                <a:gd name="T45" fmla="*/ 578 h 865"/>
                <a:gd name="T46" fmla="*/ 30 w 681"/>
                <a:gd name="T47" fmla="*/ 635 h 865"/>
                <a:gd name="T48" fmla="*/ 20 w 681"/>
                <a:gd name="T49" fmla="*/ 691 h 865"/>
                <a:gd name="T50" fmla="*/ 10 w 681"/>
                <a:gd name="T51" fmla="*/ 752 h 865"/>
                <a:gd name="T52" fmla="*/ 3 w 681"/>
                <a:gd name="T53" fmla="*/ 808 h 865"/>
                <a:gd name="T54" fmla="*/ 0 w 681"/>
                <a:gd name="T55" fmla="*/ 865 h 865"/>
                <a:gd name="T56" fmla="*/ 454 w 681"/>
                <a:gd name="T57" fmla="*/ 865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1" h="865">
                  <a:moveTo>
                    <a:pt x="454" y="865"/>
                  </a:moveTo>
                  <a:lnTo>
                    <a:pt x="454" y="865"/>
                  </a:lnTo>
                  <a:lnTo>
                    <a:pt x="464" y="795"/>
                  </a:lnTo>
                  <a:lnTo>
                    <a:pt x="477" y="722"/>
                  </a:lnTo>
                  <a:lnTo>
                    <a:pt x="494" y="651"/>
                  </a:lnTo>
                  <a:lnTo>
                    <a:pt x="520" y="581"/>
                  </a:lnTo>
                  <a:lnTo>
                    <a:pt x="550" y="511"/>
                  </a:lnTo>
                  <a:lnTo>
                    <a:pt x="587" y="444"/>
                  </a:lnTo>
                  <a:lnTo>
                    <a:pt x="630" y="384"/>
                  </a:lnTo>
                  <a:lnTo>
                    <a:pt x="681" y="321"/>
                  </a:lnTo>
                  <a:lnTo>
                    <a:pt x="360" y="0"/>
                  </a:lnTo>
                  <a:lnTo>
                    <a:pt x="360" y="0"/>
                  </a:lnTo>
                  <a:lnTo>
                    <a:pt x="317" y="47"/>
                  </a:lnTo>
                  <a:lnTo>
                    <a:pt x="280" y="97"/>
                  </a:lnTo>
                  <a:lnTo>
                    <a:pt x="244" y="144"/>
                  </a:lnTo>
                  <a:lnTo>
                    <a:pt x="210" y="197"/>
                  </a:lnTo>
                  <a:lnTo>
                    <a:pt x="177" y="247"/>
                  </a:lnTo>
                  <a:lnTo>
                    <a:pt x="150" y="301"/>
                  </a:lnTo>
                  <a:lnTo>
                    <a:pt x="123" y="354"/>
                  </a:lnTo>
                  <a:lnTo>
                    <a:pt x="100" y="408"/>
                  </a:lnTo>
                  <a:lnTo>
                    <a:pt x="80" y="464"/>
                  </a:lnTo>
                  <a:lnTo>
                    <a:pt x="60" y="521"/>
                  </a:lnTo>
                  <a:lnTo>
                    <a:pt x="43" y="578"/>
                  </a:lnTo>
                  <a:lnTo>
                    <a:pt x="30" y="635"/>
                  </a:lnTo>
                  <a:lnTo>
                    <a:pt x="20" y="691"/>
                  </a:lnTo>
                  <a:lnTo>
                    <a:pt x="10" y="752"/>
                  </a:lnTo>
                  <a:lnTo>
                    <a:pt x="3" y="808"/>
                  </a:lnTo>
                  <a:lnTo>
                    <a:pt x="0" y="865"/>
                  </a:lnTo>
                  <a:lnTo>
                    <a:pt x="454" y="865"/>
                  </a:lnTo>
                  <a:close/>
                </a:path>
              </a:pathLst>
            </a:custGeom>
            <a:solidFill>
              <a:schemeClr val="bg2">
                <a:lumMod val="60000"/>
                <a:lumOff val="40000"/>
                <a:alpha val="10001"/>
              </a:schemeClr>
            </a:solidFill>
            <a:ln w="19050" cap="rnd" cmpd="sng">
              <a:solidFill>
                <a:srgbClr val="9E9E9E"/>
              </a:solidFill>
              <a:prstDash val="sysDot"/>
              <a:round/>
              <a:headEnd type="none" w="med" len="med"/>
              <a:tailEnd type="none" w="med" len="med"/>
            </a:ln>
            <a:effectLst/>
          </p:spPr>
          <p:txBody>
            <a:bodyPr wrap="none" anchor="ctr"/>
            <a:lstStyle/>
            <a:p>
              <a:endParaRPr lang="zh-CN" altLang="en-US">
                <a:solidFill>
                  <a:schemeClr val="accent2"/>
                </a:solidFill>
              </a:endParaRPr>
            </a:p>
          </p:txBody>
        </p:sp>
        <p:sp>
          <p:nvSpPr>
            <p:cNvPr id="9" name="Freeform 11"/>
            <p:cNvSpPr/>
            <p:nvPr/>
          </p:nvSpPr>
          <p:spPr bwMode="auto">
            <a:xfrm>
              <a:off x="1848798" y="843756"/>
              <a:ext cx="1280362" cy="1004728"/>
            </a:xfrm>
            <a:custGeom>
              <a:avLst/>
              <a:gdLst>
                <a:gd name="T0" fmla="*/ 321 w 864"/>
                <a:gd name="T1" fmla="*/ 678 h 678"/>
                <a:gd name="T2" fmla="*/ 321 w 864"/>
                <a:gd name="T3" fmla="*/ 678 h 678"/>
                <a:gd name="T4" fmla="*/ 381 w 864"/>
                <a:gd name="T5" fmla="*/ 631 h 678"/>
                <a:gd name="T6" fmla="*/ 444 w 864"/>
                <a:gd name="T7" fmla="*/ 588 h 678"/>
                <a:gd name="T8" fmla="*/ 511 w 864"/>
                <a:gd name="T9" fmla="*/ 551 h 678"/>
                <a:gd name="T10" fmla="*/ 577 w 864"/>
                <a:gd name="T11" fmla="*/ 521 h 678"/>
                <a:gd name="T12" fmla="*/ 647 w 864"/>
                <a:gd name="T13" fmla="*/ 494 h 678"/>
                <a:gd name="T14" fmla="*/ 718 w 864"/>
                <a:gd name="T15" fmla="*/ 474 h 678"/>
                <a:gd name="T16" fmla="*/ 791 w 864"/>
                <a:gd name="T17" fmla="*/ 461 h 678"/>
                <a:gd name="T18" fmla="*/ 864 w 864"/>
                <a:gd name="T19" fmla="*/ 454 h 678"/>
                <a:gd name="T20" fmla="*/ 864 w 864"/>
                <a:gd name="T21" fmla="*/ 0 h 678"/>
                <a:gd name="T22" fmla="*/ 864 w 864"/>
                <a:gd name="T23" fmla="*/ 0 h 678"/>
                <a:gd name="T24" fmla="*/ 804 w 864"/>
                <a:gd name="T25" fmla="*/ 3 h 678"/>
                <a:gd name="T26" fmla="*/ 748 w 864"/>
                <a:gd name="T27" fmla="*/ 10 h 678"/>
                <a:gd name="T28" fmla="*/ 691 w 864"/>
                <a:gd name="T29" fmla="*/ 17 h 678"/>
                <a:gd name="T30" fmla="*/ 631 w 864"/>
                <a:gd name="T31" fmla="*/ 30 h 678"/>
                <a:gd name="T32" fmla="*/ 574 w 864"/>
                <a:gd name="T33" fmla="*/ 43 h 678"/>
                <a:gd name="T34" fmla="*/ 517 w 864"/>
                <a:gd name="T35" fmla="*/ 60 h 678"/>
                <a:gd name="T36" fmla="*/ 461 w 864"/>
                <a:gd name="T37" fmla="*/ 77 h 678"/>
                <a:gd name="T38" fmla="*/ 407 w 864"/>
                <a:gd name="T39" fmla="*/ 97 h 678"/>
                <a:gd name="T40" fmla="*/ 351 w 864"/>
                <a:gd name="T41" fmla="*/ 124 h 678"/>
                <a:gd name="T42" fmla="*/ 297 w 864"/>
                <a:gd name="T43" fmla="*/ 147 h 678"/>
                <a:gd name="T44" fmla="*/ 244 w 864"/>
                <a:gd name="T45" fmla="*/ 177 h 678"/>
                <a:gd name="T46" fmla="*/ 194 w 864"/>
                <a:gd name="T47" fmla="*/ 207 h 678"/>
                <a:gd name="T48" fmla="*/ 144 w 864"/>
                <a:gd name="T49" fmla="*/ 240 h 678"/>
                <a:gd name="T50" fmla="*/ 94 w 864"/>
                <a:gd name="T51" fmla="*/ 277 h 678"/>
                <a:gd name="T52" fmla="*/ 47 w 864"/>
                <a:gd name="T53" fmla="*/ 317 h 678"/>
                <a:gd name="T54" fmla="*/ 0 w 864"/>
                <a:gd name="T55" fmla="*/ 357 h 678"/>
                <a:gd name="T56" fmla="*/ 321 w 864"/>
                <a:gd name="T57" fmla="*/ 67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4" h="678">
                  <a:moveTo>
                    <a:pt x="321" y="678"/>
                  </a:moveTo>
                  <a:lnTo>
                    <a:pt x="321" y="678"/>
                  </a:lnTo>
                  <a:lnTo>
                    <a:pt x="381" y="631"/>
                  </a:lnTo>
                  <a:lnTo>
                    <a:pt x="444" y="588"/>
                  </a:lnTo>
                  <a:lnTo>
                    <a:pt x="511" y="551"/>
                  </a:lnTo>
                  <a:lnTo>
                    <a:pt x="577" y="521"/>
                  </a:lnTo>
                  <a:lnTo>
                    <a:pt x="647" y="494"/>
                  </a:lnTo>
                  <a:lnTo>
                    <a:pt x="718" y="474"/>
                  </a:lnTo>
                  <a:lnTo>
                    <a:pt x="791" y="461"/>
                  </a:lnTo>
                  <a:lnTo>
                    <a:pt x="864" y="454"/>
                  </a:lnTo>
                  <a:lnTo>
                    <a:pt x="864" y="0"/>
                  </a:lnTo>
                  <a:lnTo>
                    <a:pt x="864" y="0"/>
                  </a:lnTo>
                  <a:lnTo>
                    <a:pt x="804" y="3"/>
                  </a:lnTo>
                  <a:lnTo>
                    <a:pt x="748" y="10"/>
                  </a:lnTo>
                  <a:lnTo>
                    <a:pt x="691" y="17"/>
                  </a:lnTo>
                  <a:lnTo>
                    <a:pt x="631" y="30"/>
                  </a:lnTo>
                  <a:lnTo>
                    <a:pt x="574" y="43"/>
                  </a:lnTo>
                  <a:lnTo>
                    <a:pt x="517" y="60"/>
                  </a:lnTo>
                  <a:lnTo>
                    <a:pt x="461" y="77"/>
                  </a:lnTo>
                  <a:lnTo>
                    <a:pt x="407" y="97"/>
                  </a:lnTo>
                  <a:lnTo>
                    <a:pt x="351" y="124"/>
                  </a:lnTo>
                  <a:lnTo>
                    <a:pt x="297" y="147"/>
                  </a:lnTo>
                  <a:lnTo>
                    <a:pt x="244" y="177"/>
                  </a:lnTo>
                  <a:lnTo>
                    <a:pt x="194" y="207"/>
                  </a:lnTo>
                  <a:lnTo>
                    <a:pt x="144" y="240"/>
                  </a:lnTo>
                  <a:lnTo>
                    <a:pt x="94" y="277"/>
                  </a:lnTo>
                  <a:lnTo>
                    <a:pt x="47" y="317"/>
                  </a:lnTo>
                  <a:lnTo>
                    <a:pt x="0" y="357"/>
                  </a:lnTo>
                  <a:lnTo>
                    <a:pt x="321" y="678"/>
                  </a:lnTo>
                  <a:close/>
                </a:path>
              </a:pathLst>
            </a:custGeom>
            <a:solidFill>
              <a:schemeClr val="bg2">
                <a:lumMod val="60000"/>
                <a:lumOff val="40000"/>
                <a:alpha val="10001"/>
              </a:schemeClr>
            </a:solidFill>
            <a:ln w="19050" cap="rnd" cmpd="sng">
              <a:solidFill>
                <a:srgbClr val="9E9E9E"/>
              </a:solidFill>
              <a:prstDash val="sysDot"/>
              <a:round/>
              <a:headEnd type="none" w="med" len="med"/>
              <a:tailEnd type="none" w="med" len="med"/>
            </a:ln>
            <a:effectLst/>
          </p:spPr>
          <p:txBody>
            <a:bodyPr wrap="none" anchor="ctr"/>
            <a:lstStyle/>
            <a:p>
              <a:endParaRPr lang="zh-CN" altLang="en-US">
                <a:solidFill>
                  <a:schemeClr val="accent2"/>
                </a:solidFill>
              </a:endParaRPr>
            </a:p>
          </p:txBody>
        </p:sp>
        <p:sp>
          <p:nvSpPr>
            <p:cNvPr id="15" name="Text Box 17"/>
            <p:cNvSpPr txBox="1">
              <a:spLocks noChangeArrowheads="1"/>
            </p:cNvSpPr>
            <p:nvPr/>
          </p:nvSpPr>
          <p:spPr bwMode="auto">
            <a:xfrm>
              <a:off x="3491880" y="4299942"/>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2">
                      <a:lumMod val="50000"/>
                    </a:schemeClr>
                  </a:solidFill>
                  <a:latin typeface="微软雅黑" panose="020B0503020204020204" pitchFamily="34" charset="-122"/>
                  <a:ea typeface="微软雅黑" panose="020B0503020204020204" pitchFamily="34" charset="-122"/>
                </a:rPr>
                <a:t>填加标题</a:t>
              </a:r>
              <a:endParaRPr lang="en-US" altLang="ko-KR" sz="1000"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16" name="Text Box 18"/>
            <p:cNvSpPr txBox="1">
              <a:spLocks noChangeArrowheads="1"/>
            </p:cNvSpPr>
            <p:nvPr/>
          </p:nvSpPr>
          <p:spPr bwMode="auto">
            <a:xfrm>
              <a:off x="2195736" y="4269745"/>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2">
                      <a:lumMod val="50000"/>
                    </a:schemeClr>
                  </a:solidFill>
                  <a:latin typeface="微软雅黑" panose="020B0503020204020204" pitchFamily="34" charset="-122"/>
                  <a:ea typeface="微软雅黑" panose="020B0503020204020204" pitchFamily="34" charset="-122"/>
                </a:rPr>
                <a:t>填加标题</a:t>
              </a:r>
              <a:endParaRPr lang="en-US" altLang="ko-KR" sz="1000"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17" name="Text Box 19"/>
            <p:cNvSpPr txBox="1">
              <a:spLocks noChangeArrowheads="1"/>
            </p:cNvSpPr>
            <p:nvPr/>
          </p:nvSpPr>
          <p:spPr bwMode="auto">
            <a:xfrm>
              <a:off x="1282085" y="3363838"/>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2">
                      <a:lumMod val="50000"/>
                    </a:schemeClr>
                  </a:solidFill>
                  <a:latin typeface="微软雅黑" panose="020B0503020204020204" pitchFamily="34" charset="-122"/>
                  <a:ea typeface="微软雅黑" panose="020B0503020204020204" pitchFamily="34" charset="-122"/>
                </a:rPr>
                <a:t>填加标题</a:t>
              </a:r>
              <a:endParaRPr lang="en-US" altLang="ko-KR" sz="1000"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18" name="Text Box 20"/>
            <p:cNvSpPr txBox="1">
              <a:spLocks noChangeArrowheads="1"/>
            </p:cNvSpPr>
            <p:nvPr/>
          </p:nvSpPr>
          <p:spPr bwMode="auto">
            <a:xfrm>
              <a:off x="1331640" y="2109505"/>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2">
                      <a:lumMod val="50000"/>
                    </a:schemeClr>
                  </a:solidFill>
                  <a:latin typeface="微软雅黑" panose="020B0503020204020204" pitchFamily="34" charset="-122"/>
                  <a:ea typeface="微软雅黑" panose="020B0503020204020204" pitchFamily="34" charset="-122"/>
                </a:rPr>
                <a:t>填加标题</a:t>
              </a:r>
              <a:endParaRPr lang="en-US" altLang="ko-KR" sz="1000" b="1" dirty="0">
                <a:solidFill>
                  <a:schemeClr val="bg2">
                    <a:lumMod val="50000"/>
                  </a:schemeClr>
                </a:solidFill>
                <a:latin typeface="微软雅黑" panose="020B0503020204020204" pitchFamily="34" charset="-122"/>
                <a:ea typeface="微软雅黑" panose="020B0503020204020204" pitchFamily="34" charset="-122"/>
              </a:endParaRPr>
            </a:p>
          </p:txBody>
        </p:sp>
        <p:sp>
          <p:nvSpPr>
            <p:cNvPr id="19" name="Text Box 21"/>
            <p:cNvSpPr txBox="1">
              <a:spLocks noChangeArrowheads="1"/>
            </p:cNvSpPr>
            <p:nvPr/>
          </p:nvSpPr>
          <p:spPr bwMode="auto">
            <a:xfrm>
              <a:off x="4384677" y="3405649"/>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1"/>
                  </a:solidFill>
                  <a:latin typeface="微软雅黑" panose="020B0503020204020204" pitchFamily="34" charset="-122"/>
                  <a:ea typeface="微软雅黑" panose="020B0503020204020204" pitchFamily="34" charset="-122"/>
                </a:rPr>
                <a:t>填加标题</a:t>
              </a:r>
              <a:endParaRPr lang="en-US" altLang="ko-KR" sz="1000" b="1" dirty="0">
                <a:solidFill>
                  <a:schemeClr val="bg1"/>
                </a:solidFill>
                <a:latin typeface="微软雅黑" panose="020B0503020204020204" pitchFamily="34" charset="-122"/>
                <a:ea typeface="微软雅黑" panose="020B0503020204020204" pitchFamily="34" charset="-122"/>
              </a:endParaRPr>
            </a:p>
          </p:txBody>
        </p:sp>
        <p:sp>
          <p:nvSpPr>
            <p:cNvPr id="20" name="Text Box 22"/>
            <p:cNvSpPr txBox="1">
              <a:spLocks noChangeArrowheads="1"/>
            </p:cNvSpPr>
            <p:nvPr/>
          </p:nvSpPr>
          <p:spPr bwMode="auto">
            <a:xfrm>
              <a:off x="3491880" y="1203598"/>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1"/>
                  </a:solidFill>
                  <a:latin typeface="微软雅黑" panose="020B0503020204020204" pitchFamily="34" charset="-122"/>
                  <a:ea typeface="微软雅黑" panose="020B0503020204020204" pitchFamily="34" charset="-122"/>
                </a:rPr>
                <a:t>填加标题</a:t>
              </a:r>
              <a:endParaRPr lang="en-US" altLang="ko-KR" sz="1000" b="1" dirty="0">
                <a:solidFill>
                  <a:schemeClr val="bg1"/>
                </a:solidFill>
                <a:latin typeface="微软雅黑" panose="020B0503020204020204" pitchFamily="34" charset="-122"/>
                <a:ea typeface="微软雅黑" panose="020B0503020204020204" pitchFamily="34" charset="-122"/>
              </a:endParaRPr>
            </a:p>
          </p:txBody>
        </p:sp>
        <p:sp>
          <p:nvSpPr>
            <p:cNvPr id="21" name="Text Box 23"/>
            <p:cNvSpPr txBox="1">
              <a:spLocks noChangeArrowheads="1"/>
            </p:cNvSpPr>
            <p:nvPr/>
          </p:nvSpPr>
          <p:spPr bwMode="auto">
            <a:xfrm>
              <a:off x="4450437" y="2109505"/>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1"/>
                  </a:solidFill>
                  <a:latin typeface="微软雅黑" panose="020B0503020204020204" pitchFamily="34" charset="-122"/>
                  <a:ea typeface="微软雅黑" panose="020B0503020204020204" pitchFamily="34" charset="-122"/>
                </a:rPr>
                <a:t>填加标题</a:t>
              </a:r>
              <a:endParaRPr lang="en-US" altLang="ko-KR" sz="1000" b="1" dirty="0">
                <a:solidFill>
                  <a:schemeClr val="bg1"/>
                </a:solidFill>
                <a:latin typeface="微软雅黑" panose="020B0503020204020204" pitchFamily="34" charset="-122"/>
                <a:ea typeface="微软雅黑" panose="020B0503020204020204" pitchFamily="34" charset="-122"/>
              </a:endParaRPr>
            </a:p>
          </p:txBody>
        </p:sp>
        <p:sp>
          <p:nvSpPr>
            <p:cNvPr id="22" name="Text Box 24"/>
            <p:cNvSpPr txBox="1">
              <a:spLocks noChangeArrowheads="1"/>
            </p:cNvSpPr>
            <p:nvPr/>
          </p:nvSpPr>
          <p:spPr bwMode="auto">
            <a:xfrm>
              <a:off x="2267744" y="1173401"/>
              <a:ext cx="697627" cy="24622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1000" b="1" dirty="0">
                  <a:solidFill>
                    <a:schemeClr val="bg2">
                      <a:lumMod val="50000"/>
                    </a:schemeClr>
                  </a:solidFill>
                  <a:latin typeface="微软雅黑" panose="020B0503020204020204" pitchFamily="34" charset="-122"/>
                  <a:ea typeface="微软雅黑" panose="020B0503020204020204" pitchFamily="34" charset="-122"/>
                </a:rPr>
                <a:t>填加标题</a:t>
              </a:r>
              <a:endParaRPr lang="en-US" altLang="ko-KR" sz="1000" b="1" dirty="0">
                <a:solidFill>
                  <a:schemeClr val="bg2">
                    <a:lumMod val="50000"/>
                  </a:schemeClr>
                </a:solidFill>
                <a:latin typeface="微软雅黑" panose="020B0503020204020204" pitchFamily="34" charset="-122"/>
                <a:ea typeface="微软雅黑" panose="020B0503020204020204" pitchFamily="34" charset="-122"/>
              </a:endParaRPr>
            </a:p>
          </p:txBody>
        </p:sp>
      </p:grpSp>
      <p:sp>
        <p:nvSpPr>
          <p:cNvPr id="23" name="Freeform 25"/>
          <p:cNvSpPr/>
          <p:nvPr/>
        </p:nvSpPr>
        <p:spPr bwMode="auto">
          <a:xfrm>
            <a:off x="5230494" y="1817364"/>
            <a:ext cx="2823020" cy="201538"/>
          </a:xfrm>
          <a:custGeom>
            <a:avLst/>
            <a:gdLst>
              <a:gd name="T0" fmla="*/ 0 w 1905"/>
              <a:gd name="T1" fmla="*/ 136 h 136"/>
              <a:gd name="T2" fmla="*/ 317 w 1905"/>
              <a:gd name="T3" fmla="*/ 0 h 136"/>
              <a:gd name="T4" fmla="*/ 1905 w 1905"/>
              <a:gd name="T5" fmla="*/ 0 h 136"/>
            </a:gdLst>
            <a:ahLst/>
            <a:cxnLst>
              <a:cxn ang="0">
                <a:pos x="T0" y="T1"/>
              </a:cxn>
              <a:cxn ang="0">
                <a:pos x="T2" y="T3"/>
              </a:cxn>
              <a:cxn ang="0">
                <a:pos x="T4" y="T5"/>
              </a:cxn>
            </a:cxnLst>
            <a:rect l="0" t="0" r="r" b="b"/>
            <a:pathLst>
              <a:path w="1905" h="136">
                <a:moveTo>
                  <a:pt x="0" y="136"/>
                </a:moveTo>
                <a:lnTo>
                  <a:pt x="317" y="0"/>
                </a:lnTo>
                <a:lnTo>
                  <a:pt x="1905" y="0"/>
                </a:lnTo>
              </a:path>
            </a:pathLst>
          </a:custGeom>
          <a:noFill/>
          <a:ln w="25400" cap="rnd" cmpd="sng">
            <a:solidFill>
              <a:srgbClr val="9E9E9E"/>
            </a:solidFill>
            <a:prstDash val="sysDot"/>
            <a:round/>
            <a:headEnd type="none" w="med" len="med"/>
            <a:tailEnd type="none" w="med" len="med"/>
          </a:ln>
          <a:effectLst/>
          <a:extLst>
            <a:ext uri="{909E8E84-426E-40DD-AFC4-6F175D3DCCD1}">
              <a14:hiddenFill xmlns:a14="http://schemas.microsoft.com/office/drawing/2010/main">
                <a:solidFill>
                  <a:srgbClr val="FFC800"/>
                </a:solidFill>
              </a14:hiddenFill>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sp>
        <p:nvSpPr>
          <p:cNvPr id="28" name="Text Box 45"/>
          <p:cNvSpPr txBox="1">
            <a:spLocks noChangeArrowheads="1"/>
          </p:cNvSpPr>
          <p:nvPr/>
        </p:nvSpPr>
        <p:spPr bwMode="auto">
          <a:xfrm>
            <a:off x="5940152" y="2067694"/>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29" name="Text Box 45"/>
          <p:cNvSpPr txBox="1">
            <a:spLocks noChangeArrowheads="1"/>
          </p:cNvSpPr>
          <p:nvPr/>
        </p:nvSpPr>
        <p:spPr bwMode="auto">
          <a:xfrm>
            <a:off x="5940152" y="2965738"/>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30" name="Text Box 45"/>
          <p:cNvSpPr txBox="1">
            <a:spLocks noChangeArrowheads="1"/>
          </p:cNvSpPr>
          <p:nvPr/>
        </p:nvSpPr>
        <p:spPr bwMode="auto">
          <a:xfrm>
            <a:off x="5940152" y="3829834"/>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750" fill="hold"/>
                                        <p:tgtEl>
                                          <p:spTgt spid="26"/>
                                        </p:tgtEl>
                                        <p:attrNameLst>
                                          <p:attrName>ppt_w</p:attrName>
                                        </p:attrNameLst>
                                      </p:cBhvr>
                                      <p:tavLst>
                                        <p:tav tm="0">
                                          <p:val>
                                            <p:fltVal val="0"/>
                                          </p:val>
                                        </p:tav>
                                        <p:tav tm="100000">
                                          <p:val>
                                            <p:strVal val="#ppt_w"/>
                                          </p:val>
                                        </p:tav>
                                      </p:tavLst>
                                    </p:anim>
                                    <p:anim calcmode="lin" valueType="num">
                                      <p:cBhvr>
                                        <p:cTn id="8" dur="750" fill="hold"/>
                                        <p:tgtEl>
                                          <p:spTgt spid="26"/>
                                        </p:tgtEl>
                                        <p:attrNameLst>
                                          <p:attrName>ppt_h</p:attrName>
                                        </p:attrNameLst>
                                      </p:cBhvr>
                                      <p:tavLst>
                                        <p:tav tm="0">
                                          <p:val>
                                            <p:fltVal val="0"/>
                                          </p:val>
                                        </p:tav>
                                        <p:tav tm="100000">
                                          <p:val>
                                            <p:strVal val="#ppt_h"/>
                                          </p:val>
                                        </p:tav>
                                      </p:tavLst>
                                    </p:anim>
                                    <p:animEffect transition="in" filter="fade">
                                      <p:cBhvr>
                                        <p:cTn id="9" dur="750"/>
                                        <p:tgtEl>
                                          <p:spTgt spid="26"/>
                                        </p:tgtEl>
                                      </p:cBhvr>
                                    </p:animEffect>
                                  </p:childTnLst>
                                </p:cTn>
                              </p:par>
                            </p:childTnLst>
                          </p:cTn>
                        </p:par>
                        <p:par>
                          <p:cTn id="10" fill="hold">
                            <p:stCondLst>
                              <p:cond delay="1000"/>
                            </p:stCondLst>
                            <p:childTnLst>
                              <p:par>
                                <p:cTn id="11" presetID="49" presetClass="entr" presetSubtype="0" decel="10000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p:cTn id="13" dur="750" fill="hold"/>
                                        <p:tgtEl>
                                          <p:spTgt spid="14"/>
                                        </p:tgtEl>
                                        <p:attrNameLst>
                                          <p:attrName>ppt_w</p:attrName>
                                        </p:attrNameLst>
                                      </p:cBhvr>
                                      <p:tavLst>
                                        <p:tav tm="0">
                                          <p:val>
                                            <p:fltVal val="0"/>
                                          </p:val>
                                        </p:tav>
                                        <p:tav tm="100000">
                                          <p:val>
                                            <p:strVal val="#ppt_w"/>
                                          </p:val>
                                        </p:tav>
                                      </p:tavLst>
                                    </p:anim>
                                    <p:anim calcmode="lin" valueType="num">
                                      <p:cBhvr>
                                        <p:cTn id="14" dur="750" fill="hold"/>
                                        <p:tgtEl>
                                          <p:spTgt spid="14"/>
                                        </p:tgtEl>
                                        <p:attrNameLst>
                                          <p:attrName>ppt_h</p:attrName>
                                        </p:attrNameLst>
                                      </p:cBhvr>
                                      <p:tavLst>
                                        <p:tav tm="0">
                                          <p:val>
                                            <p:fltVal val="0"/>
                                          </p:val>
                                        </p:tav>
                                        <p:tav tm="100000">
                                          <p:val>
                                            <p:strVal val="#ppt_h"/>
                                          </p:val>
                                        </p:tav>
                                      </p:tavLst>
                                    </p:anim>
                                    <p:anim calcmode="lin" valueType="num">
                                      <p:cBhvr>
                                        <p:cTn id="15" dur="750" fill="hold"/>
                                        <p:tgtEl>
                                          <p:spTgt spid="14"/>
                                        </p:tgtEl>
                                        <p:attrNameLst>
                                          <p:attrName>style.rotation</p:attrName>
                                        </p:attrNameLst>
                                      </p:cBhvr>
                                      <p:tavLst>
                                        <p:tav tm="0">
                                          <p:val>
                                            <p:fltVal val="360"/>
                                          </p:val>
                                        </p:tav>
                                        <p:tav tm="100000">
                                          <p:val>
                                            <p:fltVal val="0"/>
                                          </p:val>
                                        </p:tav>
                                      </p:tavLst>
                                    </p:anim>
                                    <p:animEffect transition="in" filter="fade">
                                      <p:cBhvr>
                                        <p:cTn id="16" dur="750"/>
                                        <p:tgtEl>
                                          <p:spTgt spid="14"/>
                                        </p:tgtEl>
                                      </p:cBhvr>
                                    </p:animEffect>
                                  </p:childTnLst>
                                </p:cTn>
                              </p:par>
                            </p:childTnLst>
                          </p:cTn>
                        </p:par>
                        <p:par>
                          <p:cTn id="17" fill="hold">
                            <p:stCondLst>
                              <p:cond delay="2000"/>
                            </p:stCondLst>
                            <p:childTnLst>
                              <p:par>
                                <p:cTn id="18" presetID="21" presetClass="entr" presetSubtype="1" fill="hold"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wheel(1)">
                                      <p:cBhvr>
                                        <p:cTn id="20" dur="2000"/>
                                        <p:tgtEl>
                                          <p:spTgt spid="27"/>
                                        </p:tgtEl>
                                      </p:cBhvr>
                                    </p:animEffect>
                                  </p:childTnLst>
                                </p:cTn>
                              </p:par>
                            </p:childTnLst>
                          </p:cTn>
                        </p:par>
                        <p:par>
                          <p:cTn id="21" fill="hold">
                            <p:stCondLst>
                              <p:cond delay="4000"/>
                            </p:stCondLst>
                            <p:childTnLst>
                              <p:par>
                                <p:cTn id="22" presetID="22" presetClass="entr" presetSubtype="8"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wipe(left)">
                                      <p:cBhvr>
                                        <p:cTn id="24" dur="750"/>
                                        <p:tgtEl>
                                          <p:spTgt spid="23"/>
                                        </p:tgtEl>
                                      </p:cBhvr>
                                    </p:animEffect>
                                  </p:childTnLst>
                                </p:cTn>
                              </p:par>
                            </p:childTnLst>
                          </p:cTn>
                        </p:par>
                        <p:par>
                          <p:cTn id="25" fill="hold">
                            <p:stCondLst>
                              <p:cond delay="5000"/>
                            </p:stCondLst>
                            <p:childTnLst>
                              <p:par>
                                <p:cTn id="26" presetID="42" presetClass="entr" presetSubtype="0" fill="hold" grpId="0" nodeType="after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anim calcmode="lin" valueType="num">
                                      <p:cBhvr>
                                        <p:cTn id="29" dur="500" fill="hold"/>
                                        <p:tgtEl>
                                          <p:spTgt spid="28"/>
                                        </p:tgtEl>
                                        <p:attrNameLst>
                                          <p:attrName>ppt_x</p:attrName>
                                        </p:attrNameLst>
                                      </p:cBhvr>
                                      <p:tavLst>
                                        <p:tav tm="0">
                                          <p:val>
                                            <p:strVal val="#ppt_x"/>
                                          </p:val>
                                        </p:tav>
                                        <p:tav tm="100000">
                                          <p:val>
                                            <p:strVal val="#ppt_x"/>
                                          </p:val>
                                        </p:tav>
                                      </p:tavLst>
                                    </p:anim>
                                    <p:anim calcmode="lin" valueType="num">
                                      <p:cBhvr>
                                        <p:cTn id="30" dur="500" fill="hold"/>
                                        <p:tgtEl>
                                          <p:spTgt spid="28"/>
                                        </p:tgtEl>
                                        <p:attrNameLst>
                                          <p:attrName>ppt_y</p:attrName>
                                        </p:attrNameLst>
                                      </p:cBhvr>
                                      <p:tavLst>
                                        <p:tav tm="0">
                                          <p:val>
                                            <p:strVal val="#ppt_y+.1"/>
                                          </p:val>
                                        </p:tav>
                                        <p:tav tm="100000">
                                          <p:val>
                                            <p:strVal val="#ppt_y"/>
                                          </p:val>
                                        </p:tav>
                                      </p:tavLst>
                                    </p:anim>
                                  </p:childTnLst>
                                </p:cTn>
                              </p:par>
                            </p:childTnLst>
                          </p:cTn>
                        </p:par>
                        <p:par>
                          <p:cTn id="31" fill="hold">
                            <p:stCondLst>
                              <p:cond delay="5500"/>
                            </p:stCondLst>
                            <p:childTnLst>
                              <p:par>
                                <p:cTn id="32" presetID="42" presetClass="entr" presetSubtype="0" fill="hold" grpId="0" nodeType="after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anim calcmode="lin" valueType="num">
                                      <p:cBhvr>
                                        <p:cTn id="35" dur="500" fill="hold"/>
                                        <p:tgtEl>
                                          <p:spTgt spid="29"/>
                                        </p:tgtEl>
                                        <p:attrNameLst>
                                          <p:attrName>ppt_x</p:attrName>
                                        </p:attrNameLst>
                                      </p:cBhvr>
                                      <p:tavLst>
                                        <p:tav tm="0">
                                          <p:val>
                                            <p:strVal val="#ppt_x"/>
                                          </p:val>
                                        </p:tav>
                                        <p:tav tm="100000">
                                          <p:val>
                                            <p:strVal val="#ppt_x"/>
                                          </p:val>
                                        </p:tav>
                                      </p:tavLst>
                                    </p:anim>
                                    <p:anim calcmode="lin" valueType="num">
                                      <p:cBhvr>
                                        <p:cTn id="36" dur="500" fill="hold"/>
                                        <p:tgtEl>
                                          <p:spTgt spid="29"/>
                                        </p:tgtEl>
                                        <p:attrNameLst>
                                          <p:attrName>ppt_y</p:attrName>
                                        </p:attrNameLst>
                                      </p:cBhvr>
                                      <p:tavLst>
                                        <p:tav tm="0">
                                          <p:val>
                                            <p:strVal val="#ppt_y+.1"/>
                                          </p:val>
                                        </p:tav>
                                        <p:tav tm="100000">
                                          <p:val>
                                            <p:strVal val="#ppt_y"/>
                                          </p:val>
                                        </p:tav>
                                      </p:tavLst>
                                    </p:anim>
                                  </p:childTnLst>
                                </p:cTn>
                              </p:par>
                            </p:childTnLst>
                          </p:cTn>
                        </p:par>
                        <p:par>
                          <p:cTn id="37" fill="hold">
                            <p:stCondLst>
                              <p:cond delay="6000"/>
                            </p:stCondLst>
                            <p:childTnLst>
                              <p:par>
                                <p:cTn id="38" presetID="42" presetClass="entr" presetSubtype="0" fill="hold" grpId="0" nodeType="after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anim calcmode="lin" valueType="num">
                                      <p:cBhvr>
                                        <p:cTn id="41" dur="500" fill="hold"/>
                                        <p:tgtEl>
                                          <p:spTgt spid="30"/>
                                        </p:tgtEl>
                                        <p:attrNameLst>
                                          <p:attrName>ppt_x</p:attrName>
                                        </p:attrNameLst>
                                      </p:cBhvr>
                                      <p:tavLst>
                                        <p:tav tm="0">
                                          <p:val>
                                            <p:strVal val="#ppt_x"/>
                                          </p:val>
                                        </p:tav>
                                        <p:tav tm="100000">
                                          <p:val>
                                            <p:strVal val="#ppt_x"/>
                                          </p:val>
                                        </p:tav>
                                      </p:tavLst>
                                    </p:anim>
                                    <p:anim calcmode="lin" valueType="num">
                                      <p:cBhvr>
                                        <p:cTn id="42" dur="5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3" grpId="0" animBg="1"/>
      <p:bldP spid="28" grpId="0"/>
      <p:bldP spid="29" grpId="0"/>
      <p:bldP spid="3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2"/>
          <p:cNvSpPr>
            <a:spLocks noChangeArrowheads="1"/>
          </p:cNvSpPr>
          <p:nvPr/>
        </p:nvSpPr>
        <p:spPr bwMode="auto">
          <a:xfrm>
            <a:off x="3671888" y="1670521"/>
            <a:ext cx="1836737" cy="1836738"/>
          </a:xfrm>
          <a:prstGeom prst="ellipse">
            <a:avLst/>
          </a:prstGeom>
          <a:solidFill>
            <a:schemeClr val="tx1">
              <a:alpha val="10001"/>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3" name="Group 5"/>
          <p:cNvGrpSpPr/>
          <p:nvPr/>
        </p:nvGrpSpPr>
        <p:grpSpPr bwMode="auto">
          <a:xfrm rot="5400000">
            <a:off x="2720975" y="1002184"/>
            <a:ext cx="3743325" cy="3209925"/>
            <a:chOff x="1837" y="799"/>
            <a:chExt cx="3140" cy="2691"/>
          </a:xfrm>
        </p:grpSpPr>
        <p:sp>
          <p:nvSpPr>
            <p:cNvPr id="4" name="Freeform 6"/>
            <p:cNvSpPr/>
            <p:nvPr/>
          </p:nvSpPr>
          <p:spPr bwMode="auto">
            <a:xfrm>
              <a:off x="1837" y="1695"/>
              <a:ext cx="2848" cy="1795"/>
            </a:xfrm>
            <a:custGeom>
              <a:avLst/>
              <a:gdLst>
                <a:gd name="T0" fmla="*/ 224 w 2848"/>
                <a:gd name="T1" fmla="*/ 484 h 1795"/>
                <a:gd name="T2" fmla="*/ 231 w 2848"/>
                <a:gd name="T3" fmla="*/ 587 h 1795"/>
                <a:gd name="T4" fmla="*/ 246 w 2848"/>
                <a:gd name="T5" fmla="*/ 687 h 1795"/>
                <a:gd name="T6" fmla="*/ 267 w 2848"/>
                <a:gd name="T7" fmla="*/ 785 h 1795"/>
                <a:gd name="T8" fmla="*/ 295 w 2848"/>
                <a:gd name="T9" fmla="*/ 881 h 1795"/>
                <a:gd name="T10" fmla="*/ 329 w 2848"/>
                <a:gd name="T11" fmla="*/ 973 h 1795"/>
                <a:gd name="T12" fmla="*/ 371 w 2848"/>
                <a:gd name="T13" fmla="*/ 1062 h 1795"/>
                <a:gd name="T14" fmla="*/ 419 w 2848"/>
                <a:gd name="T15" fmla="*/ 1147 h 1795"/>
                <a:gd name="T16" fmla="*/ 472 w 2848"/>
                <a:gd name="T17" fmla="*/ 1228 h 1795"/>
                <a:gd name="T18" fmla="*/ 531 w 2848"/>
                <a:gd name="T19" fmla="*/ 1305 h 1795"/>
                <a:gd name="T20" fmla="*/ 595 w 2848"/>
                <a:gd name="T21" fmla="*/ 1377 h 1795"/>
                <a:gd name="T22" fmla="*/ 665 w 2848"/>
                <a:gd name="T23" fmla="*/ 1445 h 1795"/>
                <a:gd name="T24" fmla="*/ 739 w 2848"/>
                <a:gd name="T25" fmla="*/ 1508 h 1795"/>
                <a:gd name="T26" fmla="*/ 817 w 2848"/>
                <a:gd name="T27" fmla="*/ 1565 h 1795"/>
                <a:gd name="T28" fmla="*/ 900 w 2848"/>
                <a:gd name="T29" fmla="*/ 1617 h 1795"/>
                <a:gd name="T30" fmla="*/ 986 w 2848"/>
                <a:gd name="T31" fmla="*/ 1662 h 1795"/>
                <a:gd name="T32" fmla="*/ 1076 w 2848"/>
                <a:gd name="T33" fmla="*/ 1702 h 1795"/>
                <a:gd name="T34" fmla="*/ 1169 w 2848"/>
                <a:gd name="T35" fmla="*/ 1734 h 1795"/>
                <a:gd name="T36" fmla="*/ 1266 w 2848"/>
                <a:gd name="T37" fmla="*/ 1761 h 1795"/>
                <a:gd name="T38" fmla="*/ 1365 w 2848"/>
                <a:gd name="T39" fmla="*/ 1780 h 1795"/>
                <a:gd name="T40" fmla="*/ 1467 w 2848"/>
                <a:gd name="T41" fmla="*/ 1790 h 1795"/>
                <a:gd name="T42" fmla="*/ 1569 w 2848"/>
                <a:gd name="T43" fmla="*/ 1795 h 1795"/>
                <a:gd name="T44" fmla="*/ 1680 w 2848"/>
                <a:gd name="T45" fmla="*/ 1790 h 1795"/>
                <a:gd name="T46" fmla="*/ 1842 w 2848"/>
                <a:gd name="T47" fmla="*/ 1767 h 1795"/>
                <a:gd name="T48" fmla="*/ 1997 w 2848"/>
                <a:gd name="T49" fmla="*/ 1725 h 1795"/>
                <a:gd name="T50" fmla="*/ 2143 w 2848"/>
                <a:gd name="T51" fmla="*/ 1666 h 1795"/>
                <a:gd name="T52" fmla="*/ 2281 w 2848"/>
                <a:gd name="T53" fmla="*/ 1592 h 1795"/>
                <a:gd name="T54" fmla="*/ 2408 w 2848"/>
                <a:gd name="T55" fmla="*/ 1501 h 1795"/>
                <a:gd name="T56" fmla="*/ 2525 w 2848"/>
                <a:gd name="T57" fmla="*/ 1397 h 1795"/>
                <a:gd name="T58" fmla="*/ 2627 w 2848"/>
                <a:gd name="T59" fmla="*/ 1280 h 1795"/>
                <a:gd name="T60" fmla="*/ 2716 w 2848"/>
                <a:gd name="T61" fmla="*/ 1153 h 1795"/>
                <a:gd name="T62" fmla="*/ 2790 w 2848"/>
                <a:gd name="T63" fmla="*/ 1015 h 1795"/>
                <a:gd name="T64" fmla="*/ 2848 w 2848"/>
                <a:gd name="T65" fmla="*/ 867 h 1795"/>
                <a:gd name="T66" fmla="*/ 2721 w 2848"/>
                <a:gd name="T67" fmla="*/ 994 h 1795"/>
                <a:gd name="T68" fmla="*/ 2691 w 2848"/>
                <a:gd name="T69" fmla="*/ 1003 h 1795"/>
                <a:gd name="T70" fmla="*/ 2671 w 2848"/>
                <a:gd name="T71" fmla="*/ 999 h 1795"/>
                <a:gd name="T72" fmla="*/ 2415 w 2848"/>
                <a:gd name="T73" fmla="*/ 749 h 1795"/>
                <a:gd name="T74" fmla="*/ 2390 w 2848"/>
                <a:gd name="T75" fmla="*/ 813 h 1795"/>
                <a:gd name="T76" fmla="*/ 2343 w 2848"/>
                <a:gd name="T77" fmla="*/ 905 h 1795"/>
                <a:gd name="T78" fmla="*/ 2286 w 2848"/>
                <a:gd name="T79" fmla="*/ 990 h 1795"/>
                <a:gd name="T80" fmla="*/ 2220 w 2848"/>
                <a:gd name="T81" fmla="*/ 1066 h 1795"/>
                <a:gd name="T82" fmla="*/ 2146 w 2848"/>
                <a:gd name="T83" fmla="*/ 1136 h 1795"/>
                <a:gd name="T84" fmla="*/ 2064 w 2848"/>
                <a:gd name="T85" fmla="*/ 1198 h 1795"/>
                <a:gd name="T86" fmla="*/ 1976 w 2848"/>
                <a:gd name="T87" fmla="*/ 1249 h 1795"/>
                <a:gd name="T88" fmla="*/ 1882 w 2848"/>
                <a:gd name="T89" fmla="*/ 1291 h 1795"/>
                <a:gd name="T90" fmla="*/ 1782 w 2848"/>
                <a:gd name="T91" fmla="*/ 1320 h 1795"/>
                <a:gd name="T92" fmla="*/ 1678 w 2848"/>
                <a:gd name="T93" fmla="*/ 1339 h 1795"/>
                <a:gd name="T94" fmla="*/ 1569 w 2848"/>
                <a:gd name="T95" fmla="*/ 1346 h 1795"/>
                <a:gd name="T96" fmla="*/ 1478 w 2848"/>
                <a:gd name="T97" fmla="*/ 1342 h 1795"/>
                <a:gd name="T98" fmla="*/ 1345 w 2848"/>
                <a:gd name="T99" fmla="*/ 1318 h 1795"/>
                <a:gd name="T100" fmla="*/ 1221 w 2848"/>
                <a:gd name="T101" fmla="*/ 1275 h 1795"/>
                <a:gd name="T102" fmla="*/ 1104 w 2848"/>
                <a:gd name="T103" fmla="*/ 1216 h 1795"/>
                <a:gd name="T104" fmla="*/ 999 w 2848"/>
                <a:gd name="T105" fmla="*/ 1141 h 1795"/>
                <a:gd name="T106" fmla="*/ 906 w 2848"/>
                <a:gd name="T107" fmla="*/ 1052 h 1795"/>
                <a:gd name="T108" fmla="*/ 825 w 2848"/>
                <a:gd name="T109" fmla="*/ 951 h 1795"/>
                <a:gd name="T110" fmla="*/ 760 w 2848"/>
                <a:gd name="T111" fmla="*/ 839 h 1795"/>
                <a:gd name="T112" fmla="*/ 713 w 2848"/>
                <a:gd name="T113" fmla="*/ 716 h 1795"/>
                <a:gd name="T114" fmla="*/ 683 w 2848"/>
                <a:gd name="T115" fmla="*/ 586 h 1795"/>
                <a:gd name="T116" fmla="*/ 673 w 2848"/>
                <a:gd name="T117" fmla="*/ 449 h 1795"/>
                <a:gd name="T118" fmla="*/ 0 w 2848"/>
                <a:gd name="T119" fmla="*/ 449 h 1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8" h="1795">
                  <a:moveTo>
                    <a:pt x="224" y="449"/>
                  </a:moveTo>
                  <a:lnTo>
                    <a:pt x="224" y="449"/>
                  </a:lnTo>
                  <a:lnTo>
                    <a:pt x="224" y="484"/>
                  </a:lnTo>
                  <a:lnTo>
                    <a:pt x="226" y="519"/>
                  </a:lnTo>
                  <a:lnTo>
                    <a:pt x="228" y="553"/>
                  </a:lnTo>
                  <a:lnTo>
                    <a:pt x="231" y="587"/>
                  </a:lnTo>
                  <a:lnTo>
                    <a:pt x="235" y="620"/>
                  </a:lnTo>
                  <a:lnTo>
                    <a:pt x="240" y="654"/>
                  </a:lnTo>
                  <a:lnTo>
                    <a:pt x="246" y="687"/>
                  </a:lnTo>
                  <a:lnTo>
                    <a:pt x="252" y="720"/>
                  </a:lnTo>
                  <a:lnTo>
                    <a:pt x="259" y="754"/>
                  </a:lnTo>
                  <a:lnTo>
                    <a:pt x="267" y="785"/>
                  </a:lnTo>
                  <a:lnTo>
                    <a:pt x="275" y="817"/>
                  </a:lnTo>
                  <a:lnTo>
                    <a:pt x="285" y="849"/>
                  </a:lnTo>
                  <a:lnTo>
                    <a:pt x="295" y="881"/>
                  </a:lnTo>
                  <a:lnTo>
                    <a:pt x="306" y="912"/>
                  </a:lnTo>
                  <a:lnTo>
                    <a:pt x="318" y="942"/>
                  </a:lnTo>
                  <a:lnTo>
                    <a:pt x="329" y="973"/>
                  </a:lnTo>
                  <a:lnTo>
                    <a:pt x="342" y="1003"/>
                  </a:lnTo>
                  <a:lnTo>
                    <a:pt x="357" y="1032"/>
                  </a:lnTo>
                  <a:lnTo>
                    <a:pt x="371" y="1062"/>
                  </a:lnTo>
                  <a:lnTo>
                    <a:pt x="386" y="1090"/>
                  </a:lnTo>
                  <a:lnTo>
                    <a:pt x="403" y="1118"/>
                  </a:lnTo>
                  <a:lnTo>
                    <a:pt x="419" y="1147"/>
                  </a:lnTo>
                  <a:lnTo>
                    <a:pt x="436" y="1174"/>
                  </a:lnTo>
                  <a:lnTo>
                    <a:pt x="453" y="1201"/>
                  </a:lnTo>
                  <a:lnTo>
                    <a:pt x="472" y="1228"/>
                  </a:lnTo>
                  <a:lnTo>
                    <a:pt x="491" y="1254"/>
                  </a:lnTo>
                  <a:lnTo>
                    <a:pt x="511" y="1280"/>
                  </a:lnTo>
                  <a:lnTo>
                    <a:pt x="531" y="1305"/>
                  </a:lnTo>
                  <a:lnTo>
                    <a:pt x="553" y="1330"/>
                  </a:lnTo>
                  <a:lnTo>
                    <a:pt x="574" y="1353"/>
                  </a:lnTo>
                  <a:lnTo>
                    <a:pt x="595" y="1377"/>
                  </a:lnTo>
                  <a:lnTo>
                    <a:pt x="618" y="1401"/>
                  </a:lnTo>
                  <a:lnTo>
                    <a:pt x="641" y="1423"/>
                  </a:lnTo>
                  <a:lnTo>
                    <a:pt x="665" y="1445"/>
                  </a:lnTo>
                  <a:lnTo>
                    <a:pt x="690" y="1467"/>
                  </a:lnTo>
                  <a:lnTo>
                    <a:pt x="713" y="1487"/>
                  </a:lnTo>
                  <a:lnTo>
                    <a:pt x="739" y="1508"/>
                  </a:lnTo>
                  <a:lnTo>
                    <a:pt x="764" y="1527"/>
                  </a:lnTo>
                  <a:lnTo>
                    <a:pt x="791" y="1546"/>
                  </a:lnTo>
                  <a:lnTo>
                    <a:pt x="817" y="1565"/>
                  </a:lnTo>
                  <a:lnTo>
                    <a:pt x="844" y="1582"/>
                  </a:lnTo>
                  <a:lnTo>
                    <a:pt x="872" y="1600"/>
                  </a:lnTo>
                  <a:lnTo>
                    <a:pt x="900" y="1617"/>
                  </a:lnTo>
                  <a:lnTo>
                    <a:pt x="928" y="1632"/>
                  </a:lnTo>
                  <a:lnTo>
                    <a:pt x="957" y="1647"/>
                  </a:lnTo>
                  <a:lnTo>
                    <a:pt x="986" y="1662"/>
                  </a:lnTo>
                  <a:lnTo>
                    <a:pt x="1016" y="1676"/>
                  </a:lnTo>
                  <a:lnTo>
                    <a:pt x="1046" y="1689"/>
                  </a:lnTo>
                  <a:lnTo>
                    <a:pt x="1076" y="1702"/>
                  </a:lnTo>
                  <a:lnTo>
                    <a:pt x="1106" y="1714"/>
                  </a:lnTo>
                  <a:lnTo>
                    <a:pt x="1138" y="1724"/>
                  </a:lnTo>
                  <a:lnTo>
                    <a:pt x="1169" y="1734"/>
                  </a:lnTo>
                  <a:lnTo>
                    <a:pt x="1201" y="1743"/>
                  </a:lnTo>
                  <a:lnTo>
                    <a:pt x="1233" y="1752"/>
                  </a:lnTo>
                  <a:lnTo>
                    <a:pt x="1266" y="1761"/>
                  </a:lnTo>
                  <a:lnTo>
                    <a:pt x="1299" y="1768"/>
                  </a:lnTo>
                  <a:lnTo>
                    <a:pt x="1332" y="1774"/>
                  </a:lnTo>
                  <a:lnTo>
                    <a:pt x="1365" y="1780"/>
                  </a:lnTo>
                  <a:lnTo>
                    <a:pt x="1398" y="1784"/>
                  </a:lnTo>
                  <a:lnTo>
                    <a:pt x="1432" y="1788"/>
                  </a:lnTo>
                  <a:lnTo>
                    <a:pt x="1467" y="1790"/>
                  </a:lnTo>
                  <a:lnTo>
                    <a:pt x="1501" y="1793"/>
                  </a:lnTo>
                  <a:lnTo>
                    <a:pt x="1535" y="1794"/>
                  </a:lnTo>
                  <a:lnTo>
                    <a:pt x="1569" y="1795"/>
                  </a:lnTo>
                  <a:lnTo>
                    <a:pt x="1569" y="1795"/>
                  </a:lnTo>
                  <a:lnTo>
                    <a:pt x="1625" y="1794"/>
                  </a:lnTo>
                  <a:lnTo>
                    <a:pt x="1680" y="1790"/>
                  </a:lnTo>
                  <a:lnTo>
                    <a:pt x="1735" y="1784"/>
                  </a:lnTo>
                  <a:lnTo>
                    <a:pt x="1789" y="1777"/>
                  </a:lnTo>
                  <a:lnTo>
                    <a:pt x="1842" y="1767"/>
                  </a:lnTo>
                  <a:lnTo>
                    <a:pt x="1894" y="1755"/>
                  </a:lnTo>
                  <a:lnTo>
                    <a:pt x="1946" y="1742"/>
                  </a:lnTo>
                  <a:lnTo>
                    <a:pt x="1997" y="1725"/>
                  </a:lnTo>
                  <a:lnTo>
                    <a:pt x="2046" y="1708"/>
                  </a:lnTo>
                  <a:lnTo>
                    <a:pt x="2096" y="1688"/>
                  </a:lnTo>
                  <a:lnTo>
                    <a:pt x="2143" y="1666"/>
                  </a:lnTo>
                  <a:lnTo>
                    <a:pt x="2191" y="1643"/>
                  </a:lnTo>
                  <a:lnTo>
                    <a:pt x="2237" y="1618"/>
                  </a:lnTo>
                  <a:lnTo>
                    <a:pt x="2281" y="1592"/>
                  </a:lnTo>
                  <a:lnTo>
                    <a:pt x="2325" y="1562"/>
                  </a:lnTo>
                  <a:lnTo>
                    <a:pt x="2368" y="1533"/>
                  </a:lnTo>
                  <a:lnTo>
                    <a:pt x="2408" y="1501"/>
                  </a:lnTo>
                  <a:lnTo>
                    <a:pt x="2448" y="1468"/>
                  </a:lnTo>
                  <a:lnTo>
                    <a:pt x="2487" y="1434"/>
                  </a:lnTo>
                  <a:lnTo>
                    <a:pt x="2525" y="1397"/>
                  </a:lnTo>
                  <a:lnTo>
                    <a:pt x="2560" y="1359"/>
                  </a:lnTo>
                  <a:lnTo>
                    <a:pt x="2594" y="1322"/>
                  </a:lnTo>
                  <a:lnTo>
                    <a:pt x="2627" y="1280"/>
                  </a:lnTo>
                  <a:lnTo>
                    <a:pt x="2658" y="1239"/>
                  </a:lnTo>
                  <a:lnTo>
                    <a:pt x="2689" y="1196"/>
                  </a:lnTo>
                  <a:lnTo>
                    <a:pt x="2716" y="1153"/>
                  </a:lnTo>
                  <a:lnTo>
                    <a:pt x="2743" y="1108"/>
                  </a:lnTo>
                  <a:lnTo>
                    <a:pt x="2768" y="1062"/>
                  </a:lnTo>
                  <a:lnTo>
                    <a:pt x="2790" y="1015"/>
                  </a:lnTo>
                  <a:lnTo>
                    <a:pt x="2812" y="966"/>
                  </a:lnTo>
                  <a:lnTo>
                    <a:pt x="2832" y="918"/>
                  </a:lnTo>
                  <a:lnTo>
                    <a:pt x="2848" y="867"/>
                  </a:lnTo>
                  <a:lnTo>
                    <a:pt x="2728" y="987"/>
                  </a:lnTo>
                  <a:lnTo>
                    <a:pt x="2728" y="987"/>
                  </a:lnTo>
                  <a:lnTo>
                    <a:pt x="2721" y="994"/>
                  </a:lnTo>
                  <a:lnTo>
                    <a:pt x="2711" y="999"/>
                  </a:lnTo>
                  <a:lnTo>
                    <a:pt x="2702" y="1002"/>
                  </a:lnTo>
                  <a:lnTo>
                    <a:pt x="2691" y="1003"/>
                  </a:lnTo>
                  <a:lnTo>
                    <a:pt x="2691" y="1003"/>
                  </a:lnTo>
                  <a:lnTo>
                    <a:pt x="2681" y="1002"/>
                  </a:lnTo>
                  <a:lnTo>
                    <a:pt x="2671" y="999"/>
                  </a:lnTo>
                  <a:lnTo>
                    <a:pt x="2662" y="994"/>
                  </a:lnTo>
                  <a:lnTo>
                    <a:pt x="2653" y="987"/>
                  </a:lnTo>
                  <a:lnTo>
                    <a:pt x="2415" y="749"/>
                  </a:lnTo>
                  <a:lnTo>
                    <a:pt x="2415" y="749"/>
                  </a:lnTo>
                  <a:lnTo>
                    <a:pt x="2403" y="782"/>
                  </a:lnTo>
                  <a:lnTo>
                    <a:pt x="2390" y="813"/>
                  </a:lnTo>
                  <a:lnTo>
                    <a:pt x="2375" y="844"/>
                  </a:lnTo>
                  <a:lnTo>
                    <a:pt x="2359" y="875"/>
                  </a:lnTo>
                  <a:lnTo>
                    <a:pt x="2343" y="905"/>
                  </a:lnTo>
                  <a:lnTo>
                    <a:pt x="2325" y="933"/>
                  </a:lnTo>
                  <a:lnTo>
                    <a:pt x="2306" y="961"/>
                  </a:lnTo>
                  <a:lnTo>
                    <a:pt x="2286" y="990"/>
                  </a:lnTo>
                  <a:lnTo>
                    <a:pt x="2265" y="1016"/>
                  </a:lnTo>
                  <a:lnTo>
                    <a:pt x="2243" y="1042"/>
                  </a:lnTo>
                  <a:lnTo>
                    <a:pt x="2220" y="1066"/>
                  </a:lnTo>
                  <a:lnTo>
                    <a:pt x="2196" y="1091"/>
                  </a:lnTo>
                  <a:lnTo>
                    <a:pt x="2172" y="1114"/>
                  </a:lnTo>
                  <a:lnTo>
                    <a:pt x="2146" y="1136"/>
                  </a:lnTo>
                  <a:lnTo>
                    <a:pt x="2120" y="1157"/>
                  </a:lnTo>
                  <a:lnTo>
                    <a:pt x="2093" y="1179"/>
                  </a:lnTo>
                  <a:lnTo>
                    <a:pt x="2064" y="1198"/>
                  </a:lnTo>
                  <a:lnTo>
                    <a:pt x="2036" y="1215"/>
                  </a:lnTo>
                  <a:lnTo>
                    <a:pt x="2006" y="1233"/>
                  </a:lnTo>
                  <a:lnTo>
                    <a:pt x="1976" y="1249"/>
                  </a:lnTo>
                  <a:lnTo>
                    <a:pt x="1945" y="1264"/>
                  </a:lnTo>
                  <a:lnTo>
                    <a:pt x="1914" y="1278"/>
                  </a:lnTo>
                  <a:lnTo>
                    <a:pt x="1882" y="1291"/>
                  </a:lnTo>
                  <a:lnTo>
                    <a:pt x="1849" y="1301"/>
                  </a:lnTo>
                  <a:lnTo>
                    <a:pt x="1816" y="1312"/>
                  </a:lnTo>
                  <a:lnTo>
                    <a:pt x="1782" y="1320"/>
                  </a:lnTo>
                  <a:lnTo>
                    <a:pt x="1748" y="1329"/>
                  </a:lnTo>
                  <a:lnTo>
                    <a:pt x="1713" y="1334"/>
                  </a:lnTo>
                  <a:lnTo>
                    <a:pt x="1678" y="1339"/>
                  </a:lnTo>
                  <a:lnTo>
                    <a:pt x="1643" y="1343"/>
                  </a:lnTo>
                  <a:lnTo>
                    <a:pt x="1606" y="1345"/>
                  </a:lnTo>
                  <a:lnTo>
                    <a:pt x="1569" y="1346"/>
                  </a:lnTo>
                  <a:lnTo>
                    <a:pt x="1569" y="1346"/>
                  </a:lnTo>
                  <a:lnTo>
                    <a:pt x="1523" y="1345"/>
                  </a:lnTo>
                  <a:lnTo>
                    <a:pt x="1478" y="1342"/>
                  </a:lnTo>
                  <a:lnTo>
                    <a:pt x="1434" y="1336"/>
                  </a:lnTo>
                  <a:lnTo>
                    <a:pt x="1389" y="1327"/>
                  </a:lnTo>
                  <a:lnTo>
                    <a:pt x="1345" y="1318"/>
                  </a:lnTo>
                  <a:lnTo>
                    <a:pt x="1303" y="1306"/>
                  </a:lnTo>
                  <a:lnTo>
                    <a:pt x="1261" y="1292"/>
                  </a:lnTo>
                  <a:lnTo>
                    <a:pt x="1221" y="1275"/>
                  </a:lnTo>
                  <a:lnTo>
                    <a:pt x="1181" y="1258"/>
                  </a:lnTo>
                  <a:lnTo>
                    <a:pt x="1142" y="1238"/>
                  </a:lnTo>
                  <a:lnTo>
                    <a:pt x="1104" y="1216"/>
                  </a:lnTo>
                  <a:lnTo>
                    <a:pt x="1069" y="1193"/>
                  </a:lnTo>
                  <a:lnTo>
                    <a:pt x="1033" y="1168"/>
                  </a:lnTo>
                  <a:lnTo>
                    <a:pt x="999" y="1141"/>
                  </a:lnTo>
                  <a:lnTo>
                    <a:pt x="966" y="1114"/>
                  </a:lnTo>
                  <a:lnTo>
                    <a:pt x="935" y="1083"/>
                  </a:lnTo>
                  <a:lnTo>
                    <a:pt x="906" y="1052"/>
                  </a:lnTo>
                  <a:lnTo>
                    <a:pt x="877" y="1019"/>
                  </a:lnTo>
                  <a:lnTo>
                    <a:pt x="850" y="986"/>
                  </a:lnTo>
                  <a:lnTo>
                    <a:pt x="825" y="951"/>
                  </a:lnTo>
                  <a:lnTo>
                    <a:pt x="803" y="914"/>
                  </a:lnTo>
                  <a:lnTo>
                    <a:pt x="781" y="876"/>
                  </a:lnTo>
                  <a:lnTo>
                    <a:pt x="760" y="839"/>
                  </a:lnTo>
                  <a:lnTo>
                    <a:pt x="743" y="798"/>
                  </a:lnTo>
                  <a:lnTo>
                    <a:pt x="727" y="757"/>
                  </a:lnTo>
                  <a:lnTo>
                    <a:pt x="713" y="716"/>
                  </a:lnTo>
                  <a:lnTo>
                    <a:pt x="700" y="673"/>
                  </a:lnTo>
                  <a:lnTo>
                    <a:pt x="691" y="630"/>
                  </a:lnTo>
                  <a:lnTo>
                    <a:pt x="683" y="586"/>
                  </a:lnTo>
                  <a:lnTo>
                    <a:pt x="677" y="541"/>
                  </a:lnTo>
                  <a:lnTo>
                    <a:pt x="674" y="495"/>
                  </a:lnTo>
                  <a:lnTo>
                    <a:pt x="673" y="449"/>
                  </a:lnTo>
                  <a:lnTo>
                    <a:pt x="897" y="449"/>
                  </a:lnTo>
                  <a:lnTo>
                    <a:pt x="449" y="0"/>
                  </a:lnTo>
                  <a:lnTo>
                    <a:pt x="0" y="449"/>
                  </a:lnTo>
                  <a:lnTo>
                    <a:pt x="224" y="449"/>
                  </a:lnTo>
                  <a:close/>
                </a:path>
              </a:pathLst>
            </a:custGeom>
            <a:gradFill rotWithShape="1">
              <a:gsLst>
                <a:gs pos="0">
                  <a:schemeClr val="tx1">
                    <a:lumMod val="85000"/>
                  </a:schemeClr>
                </a:gs>
                <a:gs pos="100000">
                  <a:schemeClr val="accent1">
                    <a:lumMod val="60000"/>
                    <a:lumOff val="40000"/>
                  </a:scheme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5" name="Freeform 7"/>
            <p:cNvSpPr/>
            <p:nvPr/>
          </p:nvSpPr>
          <p:spPr bwMode="auto">
            <a:xfrm>
              <a:off x="2128" y="799"/>
              <a:ext cx="2849" cy="1794"/>
            </a:xfrm>
            <a:custGeom>
              <a:avLst/>
              <a:gdLst>
                <a:gd name="T0" fmla="*/ 2623 w 2849"/>
                <a:gd name="T1" fmla="*/ 1311 h 1794"/>
                <a:gd name="T2" fmla="*/ 2618 w 2849"/>
                <a:gd name="T3" fmla="*/ 1208 h 1794"/>
                <a:gd name="T4" fmla="*/ 2603 w 2849"/>
                <a:gd name="T5" fmla="*/ 1106 h 1794"/>
                <a:gd name="T6" fmla="*/ 2582 w 2849"/>
                <a:gd name="T7" fmla="*/ 1008 h 1794"/>
                <a:gd name="T8" fmla="*/ 2554 w 2849"/>
                <a:gd name="T9" fmla="*/ 914 h 1794"/>
                <a:gd name="T10" fmla="*/ 2518 w 2849"/>
                <a:gd name="T11" fmla="*/ 822 h 1794"/>
                <a:gd name="T12" fmla="*/ 2477 w 2849"/>
                <a:gd name="T13" fmla="*/ 732 h 1794"/>
                <a:gd name="T14" fmla="*/ 2430 w 2849"/>
                <a:gd name="T15" fmla="*/ 647 h 1794"/>
                <a:gd name="T16" fmla="*/ 2377 w 2849"/>
                <a:gd name="T17" fmla="*/ 567 h 1794"/>
                <a:gd name="T18" fmla="*/ 2318 w 2849"/>
                <a:gd name="T19" fmla="*/ 489 h 1794"/>
                <a:gd name="T20" fmla="*/ 2253 w 2849"/>
                <a:gd name="T21" fmla="*/ 417 h 1794"/>
                <a:gd name="T22" fmla="*/ 2183 w 2849"/>
                <a:gd name="T23" fmla="*/ 350 h 1794"/>
                <a:gd name="T24" fmla="*/ 2110 w 2849"/>
                <a:gd name="T25" fmla="*/ 287 h 1794"/>
                <a:gd name="T26" fmla="*/ 2031 w 2849"/>
                <a:gd name="T27" fmla="*/ 229 h 1794"/>
                <a:gd name="T28" fmla="*/ 1948 w 2849"/>
                <a:gd name="T29" fmla="*/ 178 h 1794"/>
                <a:gd name="T30" fmla="*/ 1862 w 2849"/>
                <a:gd name="T31" fmla="*/ 132 h 1794"/>
                <a:gd name="T32" fmla="*/ 1772 w 2849"/>
                <a:gd name="T33" fmla="*/ 93 h 1794"/>
                <a:gd name="T34" fmla="*/ 1679 w 2849"/>
                <a:gd name="T35" fmla="*/ 60 h 1794"/>
                <a:gd name="T36" fmla="*/ 1583 w 2849"/>
                <a:gd name="T37" fmla="*/ 34 h 1794"/>
                <a:gd name="T38" fmla="*/ 1484 w 2849"/>
                <a:gd name="T39" fmla="*/ 15 h 1794"/>
                <a:gd name="T40" fmla="*/ 1382 w 2849"/>
                <a:gd name="T41" fmla="*/ 4 h 1794"/>
                <a:gd name="T42" fmla="*/ 1278 w 2849"/>
                <a:gd name="T43" fmla="*/ 0 h 1794"/>
                <a:gd name="T44" fmla="*/ 1167 w 2849"/>
                <a:gd name="T45" fmla="*/ 4 h 1794"/>
                <a:gd name="T46" fmla="*/ 1007 w 2849"/>
                <a:gd name="T47" fmla="*/ 27 h 1794"/>
                <a:gd name="T48" fmla="*/ 852 w 2849"/>
                <a:gd name="T49" fmla="*/ 68 h 1794"/>
                <a:gd name="T50" fmla="*/ 704 w 2849"/>
                <a:gd name="T51" fmla="*/ 128 h 1794"/>
                <a:gd name="T52" fmla="*/ 568 w 2849"/>
                <a:gd name="T53" fmla="*/ 203 h 1794"/>
                <a:gd name="T54" fmla="*/ 440 w 2849"/>
                <a:gd name="T55" fmla="*/ 293 h 1794"/>
                <a:gd name="T56" fmla="*/ 324 w 2849"/>
                <a:gd name="T57" fmla="*/ 397 h 1794"/>
                <a:gd name="T58" fmla="*/ 222 w 2849"/>
                <a:gd name="T59" fmla="*/ 514 h 1794"/>
                <a:gd name="T60" fmla="*/ 132 w 2849"/>
                <a:gd name="T61" fmla="*/ 641 h 1794"/>
                <a:gd name="T62" fmla="*/ 57 w 2849"/>
                <a:gd name="T63" fmla="*/ 779 h 1794"/>
                <a:gd name="T64" fmla="*/ 0 w 2849"/>
                <a:gd name="T65" fmla="*/ 927 h 1794"/>
                <a:gd name="T66" fmla="*/ 128 w 2849"/>
                <a:gd name="T67" fmla="*/ 801 h 1794"/>
                <a:gd name="T68" fmla="*/ 158 w 2849"/>
                <a:gd name="T69" fmla="*/ 791 h 1794"/>
                <a:gd name="T70" fmla="*/ 178 w 2849"/>
                <a:gd name="T71" fmla="*/ 795 h 1794"/>
                <a:gd name="T72" fmla="*/ 433 w 2849"/>
                <a:gd name="T73" fmla="*/ 1045 h 1794"/>
                <a:gd name="T74" fmla="*/ 459 w 2849"/>
                <a:gd name="T75" fmla="*/ 981 h 1794"/>
                <a:gd name="T76" fmla="*/ 506 w 2849"/>
                <a:gd name="T77" fmla="*/ 890 h 1794"/>
                <a:gd name="T78" fmla="*/ 563 w 2849"/>
                <a:gd name="T79" fmla="*/ 805 h 1794"/>
                <a:gd name="T80" fmla="*/ 628 w 2849"/>
                <a:gd name="T81" fmla="*/ 727 h 1794"/>
                <a:gd name="T82" fmla="*/ 702 w 2849"/>
                <a:gd name="T83" fmla="*/ 658 h 1794"/>
                <a:gd name="T84" fmla="*/ 784 w 2849"/>
                <a:gd name="T85" fmla="*/ 596 h 1794"/>
                <a:gd name="T86" fmla="*/ 872 w 2849"/>
                <a:gd name="T87" fmla="*/ 546 h 1794"/>
                <a:gd name="T88" fmla="*/ 967 w 2849"/>
                <a:gd name="T89" fmla="*/ 504 h 1794"/>
                <a:gd name="T90" fmla="*/ 1066 w 2849"/>
                <a:gd name="T91" fmla="*/ 473 h 1794"/>
                <a:gd name="T92" fmla="*/ 1171 w 2849"/>
                <a:gd name="T93" fmla="*/ 455 h 1794"/>
                <a:gd name="T94" fmla="*/ 1278 w 2849"/>
                <a:gd name="T95" fmla="*/ 448 h 1794"/>
                <a:gd name="T96" fmla="*/ 1371 w 2849"/>
                <a:gd name="T97" fmla="*/ 452 h 1794"/>
                <a:gd name="T98" fmla="*/ 1503 w 2849"/>
                <a:gd name="T99" fmla="*/ 476 h 1794"/>
                <a:gd name="T100" fmla="*/ 1628 w 2849"/>
                <a:gd name="T101" fmla="*/ 518 h 1794"/>
                <a:gd name="T102" fmla="*/ 1744 w 2849"/>
                <a:gd name="T103" fmla="*/ 577 h 1794"/>
                <a:gd name="T104" fmla="*/ 1850 w 2849"/>
                <a:gd name="T105" fmla="*/ 653 h 1794"/>
                <a:gd name="T106" fmla="*/ 1943 w 2849"/>
                <a:gd name="T107" fmla="*/ 742 h 1794"/>
                <a:gd name="T108" fmla="*/ 2022 w 2849"/>
                <a:gd name="T109" fmla="*/ 843 h 1794"/>
                <a:gd name="T110" fmla="*/ 2087 w 2849"/>
                <a:gd name="T111" fmla="*/ 956 h 1794"/>
                <a:gd name="T112" fmla="*/ 2136 w 2849"/>
                <a:gd name="T113" fmla="*/ 1078 h 1794"/>
                <a:gd name="T114" fmla="*/ 2165 w 2849"/>
                <a:gd name="T115" fmla="*/ 1208 h 1794"/>
                <a:gd name="T116" fmla="*/ 2176 w 2849"/>
                <a:gd name="T117" fmla="*/ 1345 h 1794"/>
                <a:gd name="T118" fmla="*/ 2849 w 2849"/>
                <a:gd name="T119" fmla="*/ 1345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9" h="1794">
                  <a:moveTo>
                    <a:pt x="2625" y="1345"/>
                  </a:moveTo>
                  <a:lnTo>
                    <a:pt x="2625" y="1345"/>
                  </a:lnTo>
                  <a:lnTo>
                    <a:pt x="2623" y="1311"/>
                  </a:lnTo>
                  <a:lnTo>
                    <a:pt x="2622" y="1276"/>
                  </a:lnTo>
                  <a:lnTo>
                    <a:pt x="2620" y="1242"/>
                  </a:lnTo>
                  <a:lnTo>
                    <a:pt x="2618" y="1208"/>
                  </a:lnTo>
                  <a:lnTo>
                    <a:pt x="2614" y="1174"/>
                  </a:lnTo>
                  <a:lnTo>
                    <a:pt x="2609" y="1141"/>
                  </a:lnTo>
                  <a:lnTo>
                    <a:pt x="2603" y="1106"/>
                  </a:lnTo>
                  <a:lnTo>
                    <a:pt x="2597" y="1075"/>
                  </a:lnTo>
                  <a:lnTo>
                    <a:pt x="2590" y="1041"/>
                  </a:lnTo>
                  <a:lnTo>
                    <a:pt x="2582" y="1008"/>
                  </a:lnTo>
                  <a:lnTo>
                    <a:pt x="2574" y="977"/>
                  </a:lnTo>
                  <a:lnTo>
                    <a:pt x="2564" y="945"/>
                  </a:lnTo>
                  <a:lnTo>
                    <a:pt x="2554" y="914"/>
                  </a:lnTo>
                  <a:lnTo>
                    <a:pt x="2543" y="882"/>
                  </a:lnTo>
                  <a:lnTo>
                    <a:pt x="2531" y="851"/>
                  </a:lnTo>
                  <a:lnTo>
                    <a:pt x="2518" y="822"/>
                  </a:lnTo>
                  <a:lnTo>
                    <a:pt x="2505" y="791"/>
                  </a:lnTo>
                  <a:lnTo>
                    <a:pt x="2491" y="762"/>
                  </a:lnTo>
                  <a:lnTo>
                    <a:pt x="2477" y="732"/>
                  </a:lnTo>
                  <a:lnTo>
                    <a:pt x="2462" y="704"/>
                  </a:lnTo>
                  <a:lnTo>
                    <a:pt x="2446" y="675"/>
                  </a:lnTo>
                  <a:lnTo>
                    <a:pt x="2430" y="647"/>
                  </a:lnTo>
                  <a:lnTo>
                    <a:pt x="2412" y="620"/>
                  </a:lnTo>
                  <a:lnTo>
                    <a:pt x="2394" y="593"/>
                  </a:lnTo>
                  <a:lnTo>
                    <a:pt x="2377" y="567"/>
                  </a:lnTo>
                  <a:lnTo>
                    <a:pt x="2357" y="540"/>
                  </a:lnTo>
                  <a:lnTo>
                    <a:pt x="2338" y="515"/>
                  </a:lnTo>
                  <a:lnTo>
                    <a:pt x="2318" y="489"/>
                  </a:lnTo>
                  <a:lnTo>
                    <a:pt x="2296" y="464"/>
                  </a:lnTo>
                  <a:lnTo>
                    <a:pt x="2275" y="440"/>
                  </a:lnTo>
                  <a:lnTo>
                    <a:pt x="2253" y="417"/>
                  </a:lnTo>
                  <a:lnTo>
                    <a:pt x="2230" y="393"/>
                  </a:lnTo>
                  <a:lnTo>
                    <a:pt x="2207" y="371"/>
                  </a:lnTo>
                  <a:lnTo>
                    <a:pt x="2183" y="350"/>
                  </a:lnTo>
                  <a:lnTo>
                    <a:pt x="2159" y="328"/>
                  </a:lnTo>
                  <a:lnTo>
                    <a:pt x="2135" y="307"/>
                  </a:lnTo>
                  <a:lnTo>
                    <a:pt x="2110" y="287"/>
                  </a:lnTo>
                  <a:lnTo>
                    <a:pt x="2084" y="267"/>
                  </a:lnTo>
                  <a:lnTo>
                    <a:pt x="2058" y="248"/>
                  </a:lnTo>
                  <a:lnTo>
                    <a:pt x="2031" y="229"/>
                  </a:lnTo>
                  <a:lnTo>
                    <a:pt x="2003" y="211"/>
                  </a:lnTo>
                  <a:lnTo>
                    <a:pt x="1976" y="195"/>
                  </a:lnTo>
                  <a:lnTo>
                    <a:pt x="1948" y="178"/>
                  </a:lnTo>
                  <a:lnTo>
                    <a:pt x="1920" y="162"/>
                  </a:lnTo>
                  <a:lnTo>
                    <a:pt x="1891" y="146"/>
                  </a:lnTo>
                  <a:lnTo>
                    <a:pt x="1862" y="132"/>
                  </a:lnTo>
                  <a:lnTo>
                    <a:pt x="1832" y="118"/>
                  </a:lnTo>
                  <a:lnTo>
                    <a:pt x="1803" y="105"/>
                  </a:lnTo>
                  <a:lnTo>
                    <a:pt x="1772" y="93"/>
                  </a:lnTo>
                  <a:lnTo>
                    <a:pt x="1741" y="81"/>
                  </a:lnTo>
                  <a:lnTo>
                    <a:pt x="1711" y="71"/>
                  </a:lnTo>
                  <a:lnTo>
                    <a:pt x="1679" y="60"/>
                  </a:lnTo>
                  <a:lnTo>
                    <a:pt x="1647" y="51"/>
                  </a:lnTo>
                  <a:lnTo>
                    <a:pt x="1615" y="43"/>
                  </a:lnTo>
                  <a:lnTo>
                    <a:pt x="1583" y="34"/>
                  </a:lnTo>
                  <a:lnTo>
                    <a:pt x="1550" y="27"/>
                  </a:lnTo>
                  <a:lnTo>
                    <a:pt x="1517" y="20"/>
                  </a:lnTo>
                  <a:lnTo>
                    <a:pt x="1484" y="15"/>
                  </a:lnTo>
                  <a:lnTo>
                    <a:pt x="1450" y="11"/>
                  </a:lnTo>
                  <a:lnTo>
                    <a:pt x="1417" y="7"/>
                  </a:lnTo>
                  <a:lnTo>
                    <a:pt x="1382" y="4"/>
                  </a:lnTo>
                  <a:lnTo>
                    <a:pt x="1348" y="1"/>
                  </a:lnTo>
                  <a:lnTo>
                    <a:pt x="1314" y="0"/>
                  </a:lnTo>
                  <a:lnTo>
                    <a:pt x="1278" y="0"/>
                  </a:lnTo>
                  <a:lnTo>
                    <a:pt x="1278" y="0"/>
                  </a:lnTo>
                  <a:lnTo>
                    <a:pt x="1223" y="1"/>
                  </a:lnTo>
                  <a:lnTo>
                    <a:pt x="1167" y="4"/>
                  </a:lnTo>
                  <a:lnTo>
                    <a:pt x="1113" y="9"/>
                  </a:lnTo>
                  <a:lnTo>
                    <a:pt x="1060" y="18"/>
                  </a:lnTo>
                  <a:lnTo>
                    <a:pt x="1007" y="27"/>
                  </a:lnTo>
                  <a:lnTo>
                    <a:pt x="954" y="39"/>
                  </a:lnTo>
                  <a:lnTo>
                    <a:pt x="903" y="53"/>
                  </a:lnTo>
                  <a:lnTo>
                    <a:pt x="852" y="68"/>
                  </a:lnTo>
                  <a:lnTo>
                    <a:pt x="801" y="86"/>
                  </a:lnTo>
                  <a:lnTo>
                    <a:pt x="753" y="106"/>
                  </a:lnTo>
                  <a:lnTo>
                    <a:pt x="704" y="128"/>
                  </a:lnTo>
                  <a:lnTo>
                    <a:pt x="658" y="151"/>
                  </a:lnTo>
                  <a:lnTo>
                    <a:pt x="612" y="176"/>
                  </a:lnTo>
                  <a:lnTo>
                    <a:pt x="568" y="203"/>
                  </a:lnTo>
                  <a:lnTo>
                    <a:pt x="524" y="231"/>
                  </a:lnTo>
                  <a:lnTo>
                    <a:pt x="481" y="261"/>
                  </a:lnTo>
                  <a:lnTo>
                    <a:pt x="440" y="293"/>
                  </a:lnTo>
                  <a:lnTo>
                    <a:pt x="400" y="326"/>
                  </a:lnTo>
                  <a:lnTo>
                    <a:pt x="362" y="361"/>
                  </a:lnTo>
                  <a:lnTo>
                    <a:pt x="324" y="397"/>
                  </a:lnTo>
                  <a:lnTo>
                    <a:pt x="289" y="435"/>
                  </a:lnTo>
                  <a:lnTo>
                    <a:pt x="255" y="473"/>
                  </a:lnTo>
                  <a:lnTo>
                    <a:pt x="222" y="514"/>
                  </a:lnTo>
                  <a:lnTo>
                    <a:pt x="190" y="555"/>
                  </a:lnTo>
                  <a:lnTo>
                    <a:pt x="160" y="597"/>
                  </a:lnTo>
                  <a:lnTo>
                    <a:pt x="132" y="641"/>
                  </a:lnTo>
                  <a:lnTo>
                    <a:pt x="106" y="686"/>
                  </a:lnTo>
                  <a:lnTo>
                    <a:pt x="81" y="732"/>
                  </a:lnTo>
                  <a:lnTo>
                    <a:pt x="57" y="779"/>
                  </a:lnTo>
                  <a:lnTo>
                    <a:pt x="36" y="828"/>
                  </a:lnTo>
                  <a:lnTo>
                    <a:pt x="17" y="877"/>
                  </a:lnTo>
                  <a:lnTo>
                    <a:pt x="0" y="927"/>
                  </a:lnTo>
                  <a:lnTo>
                    <a:pt x="120" y="806"/>
                  </a:lnTo>
                  <a:lnTo>
                    <a:pt x="120" y="806"/>
                  </a:lnTo>
                  <a:lnTo>
                    <a:pt x="128" y="801"/>
                  </a:lnTo>
                  <a:lnTo>
                    <a:pt x="138" y="795"/>
                  </a:lnTo>
                  <a:lnTo>
                    <a:pt x="147" y="792"/>
                  </a:lnTo>
                  <a:lnTo>
                    <a:pt x="158" y="791"/>
                  </a:lnTo>
                  <a:lnTo>
                    <a:pt x="158" y="791"/>
                  </a:lnTo>
                  <a:lnTo>
                    <a:pt x="167" y="792"/>
                  </a:lnTo>
                  <a:lnTo>
                    <a:pt x="178" y="795"/>
                  </a:lnTo>
                  <a:lnTo>
                    <a:pt x="186" y="801"/>
                  </a:lnTo>
                  <a:lnTo>
                    <a:pt x="194" y="806"/>
                  </a:lnTo>
                  <a:lnTo>
                    <a:pt x="433" y="1045"/>
                  </a:lnTo>
                  <a:lnTo>
                    <a:pt x="433" y="1045"/>
                  </a:lnTo>
                  <a:lnTo>
                    <a:pt x="446" y="1013"/>
                  </a:lnTo>
                  <a:lnTo>
                    <a:pt x="459" y="981"/>
                  </a:lnTo>
                  <a:lnTo>
                    <a:pt x="473" y="951"/>
                  </a:lnTo>
                  <a:lnTo>
                    <a:pt x="488" y="920"/>
                  </a:lnTo>
                  <a:lnTo>
                    <a:pt x="506" y="890"/>
                  </a:lnTo>
                  <a:lnTo>
                    <a:pt x="524" y="861"/>
                  </a:lnTo>
                  <a:lnTo>
                    <a:pt x="543" y="832"/>
                  </a:lnTo>
                  <a:lnTo>
                    <a:pt x="563" y="805"/>
                  </a:lnTo>
                  <a:lnTo>
                    <a:pt x="584" y="778"/>
                  </a:lnTo>
                  <a:lnTo>
                    <a:pt x="605" y="752"/>
                  </a:lnTo>
                  <a:lnTo>
                    <a:pt x="628" y="727"/>
                  </a:lnTo>
                  <a:lnTo>
                    <a:pt x="653" y="704"/>
                  </a:lnTo>
                  <a:lnTo>
                    <a:pt x="677" y="680"/>
                  </a:lnTo>
                  <a:lnTo>
                    <a:pt x="702" y="658"/>
                  </a:lnTo>
                  <a:lnTo>
                    <a:pt x="729" y="636"/>
                  </a:lnTo>
                  <a:lnTo>
                    <a:pt x="756" y="616"/>
                  </a:lnTo>
                  <a:lnTo>
                    <a:pt x="784" y="596"/>
                  </a:lnTo>
                  <a:lnTo>
                    <a:pt x="813" y="579"/>
                  </a:lnTo>
                  <a:lnTo>
                    <a:pt x="843" y="561"/>
                  </a:lnTo>
                  <a:lnTo>
                    <a:pt x="872" y="546"/>
                  </a:lnTo>
                  <a:lnTo>
                    <a:pt x="903" y="530"/>
                  </a:lnTo>
                  <a:lnTo>
                    <a:pt x="935" y="516"/>
                  </a:lnTo>
                  <a:lnTo>
                    <a:pt x="967" y="504"/>
                  </a:lnTo>
                  <a:lnTo>
                    <a:pt x="1000" y="492"/>
                  </a:lnTo>
                  <a:lnTo>
                    <a:pt x="1033" y="482"/>
                  </a:lnTo>
                  <a:lnTo>
                    <a:pt x="1066" y="473"/>
                  </a:lnTo>
                  <a:lnTo>
                    <a:pt x="1100" y="465"/>
                  </a:lnTo>
                  <a:lnTo>
                    <a:pt x="1136" y="459"/>
                  </a:lnTo>
                  <a:lnTo>
                    <a:pt x="1171" y="455"/>
                  </a:lnTo>
                  <a:lnTo>
                    <a:pt x="1206" y="451"/>
                  </a:lnTo>
                  <a:lnTo>
                    <a:pt x="1242" y="449"/>
                  </a:lnTo>
                  <a:lnTo>
                    <a:pt x="1278" y="448"/>
                  </a:lnTo>
                  <a:lnTo>
                    <a:pt x="1278" y="448"/>
                  </a:lnTo>
                  <a:lnTo>
                    <a:pt x="1324" y="449"/>
                  </a:lnTo>
                  <a:lnTo>
                    <a:pt x="1371" y="452"/>
                  </a:lnTo>
                  <a:lnTo>
                    <a:pt x="1415" y="458"/>
                  </a:lnTo>
                  <a:lnTo>
                    <a:pt x="1459" y="466"/>
                  </a:lnTo>
                  <a:lnTo>
                    <a:pt x="1503" y="476"/>
                  </a:lnTo>
                  <a:lnTo>
                    <a:pt x="1545" y="489"/>
                  </a:lnTo>
                  <a:lnTo>
                    <a:pt x="1587" y="503"/>
                  </a:lnTo>
                  <a:lnTo>
                    <a:pt x="1628" y="518"/>
                  </a:lnTo>
                  <a:lnTo>
                    <a:pt x="1668" y="536"/>
                  </a:lnTo>
                  <a:lnTo>
                    <a:pt x="1706" y="556"/>
                  </a:lnTo>
                  <a:lnTo>
                    <a:pt x="1744" y="577"/>
                  </a:lnTo>
                  <a:lnTo>
                    <a:pt x="1780" y="601"/>
                  </a:lnTo>
                  <a:lnTo>
                    <a:pt x="1816" y="626"/>
                  </a:lnTo>
                  <a:lnTo>
                    <a:pt x="1850" y="653"/>
                  </a:lnTo>
                  <a:lnTo>
                    <a:pt x="1882" y="681"/>
                  </a:lnTo>
                  <a:lnTo>
                    <a:pt x="1913" y="711"/>
                  </a:lnTo>
                  <a:lnTo>
                    <a:pt x="1943" y="742"/>
                  </a:lnTo>
                  <a:lnTo>
                    <a:pt x="1970" y="775"/>
                  </a:lnTo>
                  <a:lnTo>
                    <a:pt x="1998" y="809"/>
                  </a:lnTo>
                  <a:lnTo>
                    <a:pt x="2022" y="843"/>
                  </a:lnTo>
                  <a:lnTo>
                    <a:pt x="2046" y="880"/>
                  </a:lnTo>
                  <a:lnTo>
                    <a:pt x="2067" y="917"/>
                  </a:lnTo>
                  <a:lnTo>
                    <a:pt x="2087" y="956"/>
                  </a:lnTo>
                  <a:lnTo>
                    <a:pt x="2105" y="995"/>
                  </a:lnTo>
                  <a:lnTo>
                    <a:pt x="2122" y="1037"/>
                  </a:lnTo>
                  <a:lnTo>
                    <a:pt x="2136" y="1078"/>
                  </a:lnTo>
                  <a:lnTo>
                    <a:pt x="2148" y="1121"/>
                  </a:lnTo>
                  <a:lnTo>
                    <a:pt x="2158" y="1164"/>
                  </a:lnTo>
                  <a:lnTo>
                    <a:pt x="2165" y="1208"/>
                  </a:lnTo>
                  <a:lnTo>
                    <a:pt x="2171" y="1254"/>
                  </a:lnTo>
                  <a:lnTo>
                    <a:pt x="2175" y="1299"/>
                  </a:lnTo>
                  <a:lnTo>
                    <a:pt x="2176" y="1345"/>
                  </a:lnTo>
                  <a:lnTo>
                    <a:pt x="1952" y="1345"/>
                  </a:lnTo>
                  <a:lnTo>
                    <a:pt x="2400" y="1794"/>
                  </a:lnTo>
                  <a:lnTo>
                    <a:pt x="2849" y="1345"/>
                  </a:lnTo>
                  <a:lnTo>
                    <a:pt x="2625" y="1345"/>
                  </a:lnTo>
                  <a:close/>
                </a:path>
              </a:pathLst>
            </a:custGeom>
            <a:gradFill rotWithShape="1">
              <a:gsLst>
                <a:gs pos="0">
                  <a:schemeClr val="bg2"/>
                </a:gs>
                <a:gs pos="100000">
                  <a:srgbClr val="03A550"/>
                </a:gs>
              </a:gsLst>
              <a:lin ang="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
        <p:nvSpPr>
          <p:cNvPr id="7" name="WordArt 9"/>
          <p:cNvSpPr>
            <a:spLocks noChangeArrowheads="1" noChangeShapeType="1" noTextEdit="1"/>
          </p:cNvSpPr>
          <p:nvPr/>
        </p:nvSpPr>
        <p:spPr bwMode="auto">
          <a:xfrm rot="16200000">
            <a:off x="3188544" y="1399058"/>
            <a:ext cx="2559050" cy="238442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2276418"/>
              </a:avLst>
            </a:prstTxWarp>
          </a:bodyPr>
          <a:lstStyle/>
          <a:p>
            <a:pPr algn="ctr"/>
            <a:r>
              <a:rPr lang="zh-CN" altLang="en-US" sz="600" kern="10" dirty="0">
                <a:solidFill>
                  <a:schemeClr val="bg1"/>
                </a:solidFill>
                <a:latin typeface="微软雅黑" panose="020B0503020204020204" pitchFamily="34" charset="-122"/>
                <a:ea typeface="微软雅黑" panose="020B0503020204020204" pitchFamily="34" charset="-122"/>
              </a:rPr>
              <a:t>       单击此处填加文字内容     </a:t>
            </a:r>
          </a:p>
        </p:txBody>
      </p:sp>
      <p:sp>
        <p:nvSpPr>
          <p:cNvPr id="13" name="WordArt 9"/>
          <p:cNvSpPr>
            <a:spLocks noChangeArrowheads="1" noChangeShapeType="1" noTextEdit="1"/>
          </p:cNvSpPr>
          <p:nvPr/>
        </p:nvSpPr>
        <p:spPr bwMode="auto">
          <a:xfrm rot="5400000">
            <a:off x="3468414" y="1434927"/>
            <a:ext cx="2559050" cy="238442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2276418"/>
              </a:avLst>
            </a:prstTxWarp>
          </a:bodyPr>
          <a:lstStyle/>
          <a:p>
            <a:pPr algn="ctr"/>
            <a:r>
              <a:rPr lang="zh-CN" altLang="en-US" sz="600" kern="10" dirty="0">
                <a:solidFill>
                  <a:schemeClr val="bg1"/>
                </a:solidFill>
                <a:latin typeface="微软雅黑" panose="020B0503020204020204" pitchFamily="34" charset="-122"/>
                <a:ea typeface="微软雅黑" panose="020B0503020204020204" pitchFamily="34" charset="-122"/>
              </a:rPr>
              <a:t>       单击此处填加文字内容     </a:t>
            </a:r>
          </a:p>
        </p:txBody>
      </p:sp>
      <p:sp>
        <p:nvSpPr>
          <p:cNvPr id="14" name="Text Box 45"/>
          <p:cNvSpPr txBox="1">
            <a:spLocks noChangeArrowheads="1"/>
          </p:cNvSpPr>
          <p:nvPr/>
        </p:nvSpPr>
        <p:spPr bwMode="auto">
          <a:xfrm>
            <a:off x="755352" y="1563638"/>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50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p:txBody>
      </p:sp>
      <p:sp>
        <p:nvSpPr>
          <p:cNvPr id="15" name="Text Box 45"/>
          <p:cNvSpPr txBox="1">
            <a:spLocks noChangeArrowheads="1"/>
          </p:cNvSpPr>
          <p:nvPr/>
        </p:nvSpPr>
        <p:spPr bwMode="auto">
          <a:xfrm>
            <a:off x="755352" y="2461682"/>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50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p:txBody>
      </p:sp>
      <p:sp>
        <p:nvSpPr>
          <p:cNvPr id="16" name="Text Box 45"/>
          <p:cNvSpPr txBox="1">
            <a:spLocks noChangeArrowheads="1"/>
          </p:cNvSpPr>
          <p:nvPr/>
        </p:nvSpPr>
        <p:spPr bwMode="auto">
          <a:xfrm>
            <a:off x="755352" y="3325778"/>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50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p:txBody>
      </p:sp>
      <p:sp>
        <p:nvSpPr>
          <p:cNvPr id="17" name="Text Box 45"/>
          <p:cNvSpPr txBox="1">
            <a:spLocks noChangeArrowheads="1"/>
          </p:cNvSpPr>
          <p:nvPr/>
        </p:nvSpPr>
        <p:spPr bwMode="auto">
          <a:xfrm>
            <a:off x="6516216" y="1563638"/>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18" name="Text Box 45"/>
          <p:cNvSpPr txBox="1">
            <a:spLocks noChangeArrowheads="1"/>
          </p:cNvSpPr>
          <p:nvPr/>
        </p:nvSpPr>
        <p:spPr bwMode="auto">
          <a:xfrm>
            <a:off x="6516216" y="2461682"/>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19" name="Text Box 45"/>
          <p:cNvSpPr txBox="1">
            <a:spLocks noChangeArrowheads="1"/>
          </p:cNvSpPr>
          <p:nvPr/>
        </p:nvSpPr>
        <p:spPr bwMode="auto">
          <a:xfrm>
            <a:off x="6516216" y="3325778"/>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20" name="Text Box 16"/>
          <p:cNvSpPr txBox="1">
            <a:spLocks noChangeArrowheads="1"/>
          </p:cNvSpPr>
          <p:nvPr/>
        </p:nvSpPr>
        <p:spPr bwMode="auto">
          <a:xfrm>
            <a:off x="4139952" y="2139702"/>
            <a:ext cx="902811"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a:r>
              <a:rPr lang="zh-CN" altLang="en-US" sz="2800" b="1" dirty="0">
                <a:solidFill>
                  <a:schemeClr val="bg2"/>
                </a:solidFill>
                <a:latin typeface="微软雅黑" panose="020B0503020204020204" pitchFamily="34" charset="-122"/>
                <a:ea typeface="微软雅黑" panose="020B0503020204020204" pitchFamily="34" charset="-122"/>
              </a:rPr>
              <a:t>填加</a:t>
            </a:r>
            <a:endParaRPr lang="en-US" altLang="zh-CN" sz="2800" b="1" dirty="0">
              <a:solidFill>
                <a:schemeClr val="bg2"/>
              </a:solidFill>
              <a:latin typeface="微软雅黑" panose="020B0503020204020204" pitchFamily="34" charset="-122"/>
              <a:ea typeface="微软雅黑" panose="020B0503020204020204" pitchFamily="34" charset="-122"/>
            </a:endParaRPr>
          </a:p>
          <a:p>
            <a:pPr algn="r"/>
            <a:r>
              <a:rPr lang="zh-CN" altLang="en-US" sz="2800" b="1" dirty="0">
                <a:solidFill>
                  <a:schemeClr val="bg2"/>
                </a:solidFill>
                <a:latin typeface="微软雅黑" panose="020B0503020204020204" pitchFamily="34" charset="-122"/>
                <a:ea typeface="微软雅黑" panose="020B0503020204020204" pitchFamily="34" charset="-122"/>
              </a:rPr>
              <a:t>标题</a:t>
            </a:r>
            <a:endParaRPr lang="en-US" altLang="ko-KR" sz="2800" b="1" dirty="0">
              <a:solidFill>
                <a:schemeClr val="bg2"/>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par>
                          <p:cTn id="8" fill="hold">
                            <p:stCondLst>
                              <p:cond delay="2000"/>
                            </p:stCondLst>
                            <p:childTnLst>
                              <p:par>
                                <p:cTn id="9" presetID="53" presetClass="entr" presetSubtype="16"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p:cTn id="11" dur="750" fill="hold"/>
                                        <p:tgtEl>
                                          <p:spTgt spid="2"/>
                                        </p:tgtEl>
                                        <p:attrNameLst>
                                          <p:attrName>ppt_w</p:attrName>
                                        </p:attrNameLst>
                                      </p:cBhvr>
                                      <p:tavLst>
                                        <p:tav tm="0">
                                          <p:val>
                                            <p:fltVal val="0"/>
                                          </p:val>
                                        </p:tav>
                                        <p:tav tm="100000">
                                          <p:val>
                                            <p:strVal val="#ppt_w"/>
                                          </p:val>
                                        </p:tav>
                                      </p:tavLst>
                                    </p:anim>
                                    <p:anim calcmode="lin" valueType="num">
                                      <p:cBhvr>
                                        <p:cTn id="12" dur="750" fill="hold"/>
                                        <p:tgtEl>
                                          <p:spTgt spid="2"/>
                                        </p:tgtEl>
                                        <p:attrNameLst>
                                          <p:attrName>ppt_h</p:attrName>
                                        </p:attrNameLst>
                                      </p:cBhvr>
                                      <p:tavLst>
                                        <p:tav tm="0">
                                          <p:val>
                                            <p:fltVal val="0"/>
                                          </p:val>
                                        </p:tav>
                                        <p:tav tm="100000">
                                          <p:val>
                                            <p:strVal val="#ppt_h"/>
                                          </p:val>
                                        </p:tav>
                                      </p:tavLst>
                                    </p:anim>
                                    <p:animEffect transition="in" filter="fade">
                                      <p:cBhvr>
                                        <p:cTn id="13" dur="750"/>
                                        <p:tgtEl>
                                          <p:spTgt spid="2"/>
                                        </p:tgtEl>
                                      </p:cBhvr>
                                    </p:animEffect>
                                  </p:childTnLst>
                                </p:cTn>
                              </p:par>
                            </p:childTnLst>
                          </p:cTn>
                        </p:par>
                        <p:par>
                          <p:cTn id="14" fill="hold">
                            <p:stCondLst>
                              <p:cond delay="3000"/>
                            </p:stCondLst>
                            <p:childTnLst>
                              <p:par>
                                <p:cTn id="15" presetID="49" presetClass="entr" presetSubtype="0" decel="100000"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p:cTn id="17" dur="750" fill="hold"/>
                                        <p:tgtEl>
                                          <p:spTgt spid="20"/>
                                        </p:tgtEl>
                                        <p:attrNameLst>
                                          <p:attrName>ppt_w</p:attrName>
                                        </p:attrNameLst>
                                      </p:cBhvr>
                                      <p:tavLst>
                                        <p:tav tm="0">
                                          <p:val>
                                            <p:fltVal val="0"/>
                                          </p:val>
                                        </p:tav>
                                        <p:tav tm="100000">
                                          <p:val>
                                            <p:strVal val="#ppt_w"/>
                                          </p:val>
                                        </p:tav>
                                      </p:tavLst>
                                    </p:anim>
                                    <p:anim calcmode="lin" valueType="num">
                                      <p:cBhvr>
                                        <p:cTn id="18" dur="750" fill="hold"/>
                                        <p:tgtEl>
                                          <p:spTgt spid="20"/>
                                        </p:tgtEl>
                                        <p:attrNameLst>
                                          <p:attrName>ppt_h</p:attrName>
                                        </p:attrNameLst>
                                      </p:cBhvr>
                                      <p:tavLst>
                                        <p:tav tm="0">
                                          <p:val>
                                            <p:fltVal val="0"/>
                                          </p:val>
                                        </p:tav>
                                        <p:tav tm="100000">
                                          <p:val>
                                            <p:strVal val="#ppt_h"/>
                                          </p:val>
                                        </p:tav>
                                      </p:tavLst>
                                    </p:anim>
                                    <p:anim calcmode="lin" valueType="num">
                                      <p:cBhvr>
                                        <p:cTn id="19" dur="750" fill="hold"/>
                                        <p:tgtEl>
                                          <p:spTgt spid="20"/>
                                        </p:tgtEl>
                                        <p:attrNameLst>
                                          <p:attrName>style.rotation</p:attrName>
                                        </p:attrNameLst>
                                      </p:cBhvr>
                                      <p:tavLst>
                                        <p:tav tm="0">
                                          <p:val>
                                            <p:fltVal val="360"/>
                                          </p:val>
                                        </p:tav>
                                        <p:tav tm="100000">
                                          <p:val>
                                            <p:fltVal val="0"/>
                                          </p:val>
                                        </p:tav>
                                      </p:tavLst>
                                    </p:anim>
                                    <p:animEffect transition="in" filter="fade">
                                      <p:cBhvr>
                                        <p:cTn id="20" dur="750"/>
                                        <p:tgtEl>
                                          <p:spTgt spid="20"/>
                                        </p:tgtEl>
                                      </p:cBhvr>
                                    </p:animEffect>
                                  </p:childTnLst>
                                </p:cTn>
                              </p:par>
                            </p:childTnLst>
                          </p:cTn>
                        </p:par>
                      </p:childTnLst>
                    </p:cTn>
                  </p:par>
                  <p:par>
                    <p:cTn id="21" fill="hold">
                      <p:stCondLst>
                        <p:cond delay="indefinite"/>
                      </p:stCondLst>
                      <p:childTnLst>
                        <p:par>
                          <p:cTn id="22" fill="hold">
                            <p:stCondLst>
                              <p:cond delay="0"/>
                            </p:stCondLst>
                            <p:childTnLst>
                              <p:par>
                                <p:cTn id="23" presetID="21" presetClass="entr" presetSubtype="1"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heel(1)">
                                      <p:cBhvr>
                                        <p:cTn id="25" dur="1750"/>
                                        <p:tgtEl>
                                          <p:spTgt spid="13"/>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wheel(1)">
                                      <p:cBhvr>
                                        <p:cTn id="28" dur="1750"/>
                                        <p:tgtEl>
                                          <p:spTgt spid="7"/>
                                        </p:tgtEl>
                                      </p:cBhvr>
                                    </p:animEffect>
                                  </p:childTnLst>
                                </p:cTn>
                              </p:par>
                            </p:childTnLst>
                          </p:cTn>
                        </p:par>
                        <p:par>
                          <p:cTn id="29" fill="hold">
                            <p:stCondLst>
                              <p:cond delay="2000"/>
                            </p:stCondLst>
                            <p:childTnLst>
                              <p:par>
                                <p:cTn id="30" presetID="42" presetClass="entr" presetSubtype="0" fill="hold" grpId="0" nodeType="after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anim calcmode="lin" valueType="num">
                                      <p:cBhvr>
                                        <p:cTn id="33" dur="500" fill="hold"/>
                                        <p:tgtEl>
                                          <p:spTgt spid="14"/>
                                        </p:tgtEl>
                                        <p:attrNameLst>
                                          <p:attrName>ppt_x</p:attrName>
                                        </p:attrNameLst>
                                      </p:cBhvr>
                                      <p:tavLst>
                                        <p:tav tm="0">
                                          <p:val>
                                            <p:strVal val="#ppt_x"/>
                                          </p:val>
                                        </p:tav>
                                        <p:tav tm="100000">
                                          <p:val>
                                            <p:strVal val="#ppt_x"/>
                                          </p:val>
                                        </p:tav>
                                      </p:tavLst>
                                    </p:anim>
                                    <p:anim calcmode="lin" valueType="num">
                                      <p:cBhvr>
                                        <p:cTn id="34" dur="500" fill="hold"/>
                                        <p:tgtEl>
                                          <p:spTgt spid="14"/>
                                        </p:tgtEl>
                                        <p:attrNameLst>
                                          <p:attrName>ppt_y</p:attrName>
                                        </p:attrNameLst>
                                      </p:cBhvr>
                                      <p:tavLst>
                                        <p:tav tm="0">
                                          <p:val>
                                            <p:strVal val="#ppt_y+.1"/>
                                          </p:val>
                                        </p:tav>
                                        <p:tav tm="100000">
                                          <p:val>
                                            <p:strVal val="#ppt_y"/>
                                          </p:val>
                                        </p:tav>
                                      </p:tavLst>
                                    </p:anim>
                                  </p:childTnLst>
                                </p:cTn>
                              </p:par>
                            </p:childTnLst>
                          </p:cTn>
                        </p:par>
                        <p:par>
                          <p:cTn id="35" fill="hold">
                            <p:stCondLst>
                              <p:cond delay="2500"/>
                            </p:stCondLst>
                            <p:childTnLst>
                              <p:par>
                                <p:cTn id="36" presetID="42" presetClass="entr" presetSubtype="0"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anim calcmode="lin" valueType="num">
                                      <p:cBhvr>
                                        <p:cTn id="39" dur="500" fill="hold"/>
                                        <p:tgtEl>
                                          <p:spTgt spid="15"/>
                                        </p:tgtEl>
                                        <p:attrNameLst>
                                          <p:attrName>ppt_x</p:attrName>
                                        </p:attrNameLst>
                                      </p:cBhvr>
                                      <p:tavLst>
                                        <p:tav tm="0">
                                          <p:val>
                                            <p:strVal val="#ppt_x"/>
                                          </p:val>
                                        </p:tav>
                                        <p:tav tm="100000">
                                          <p:val>
                                            <p:strVal val="#ppt_x"/>
                                          </p:val>
                                        </p:tav>
                                      </p:tavLst>
                                    </p:anim>
                                    <p:anim calcmode="lin" valueType="num">
                                      <p:cBhvr>
                                        <p:cTn id="40" dur="500" fill="hold"/>
                                        <p:tgtEl>
                                          <p:spTgt spid="15"/>
                                        </p:tgtEl>
                                        <p:attrNameLst>
                                          <p:attrName>ppt_y</p:attrName>
                                        </p:attrNameLst>
                                      </p:cBhvr>
                                      <p:tavLst>
                                        <p:tav tm="0">
                                          <p:val>
                                            <p:strVal val="#ppt_y+.1"/>
                                          </p:val>
                                        </p:tav>
                                        <p:tav tm="100000">
                                          <p:val>
                                            <p:strVal val="#ppt_y"/>
                                          </p:val>
                                        </p:tav>
                                      </p:tavLst>
                                    </p:anim>
                                  </p:childTnLst>
                                </p:cTn>
                              </p:par>
                            </p:childTnLst>
                          </p:cTn>
                        </p:par>
                        <p:par>
                          <p:cTn id="41" fill="hold">
                            <p:stCondLst>
                              <p:cond delay="3000"/>
                            </p:stCondLst>
                            <p:childTnLst>
                              <p:par>
                                <p:cTn id="42" presetID="42" presetClass="entr" presetSubtype="0"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anim calcmode="lin" valueType="num">
                                      <p:cBhvr>
                                        <p:cTn id="45" dur="500" fill="hold"/>
                                        <p:tgtEl>
                                          <p:spTgt spid="16"/>
                                        </p:tgtEl>
                                        <p:attrNameLst>
                                          <p:attrName>ppt_x</p:attrName>
                                        </p:attrNameLst>
                                      </p:cBhvr>
                                      <p:tavLst>
                                        <p:tav tm="0">
                                          <p:val>
                                            <p:strVal val="#ppt_x"/>
                                          </p:val>
                                        </p:tav>
                                        <p:tav tm="100000">
                                          <p:val>
                                            <p:strVal val="#ppt_x"/>
                                          </p:val>
                                        </p:tav>
                                      </p:tavLst>
                                    </p:anim>
                                    <p:anim calcmode="lin" valueType="num">
                                      <p:cBhvr>
                                        <p:cTn id="46" dur="500" fill="hold"/>
                                        <p:tgtEl>
                                          <p:spTgt spid="16"/>
                                        </p:tgtEl>
                                        <p:attrNameLst>
                                          <p:attrName>ppt_y</p:attrName>
                                        </p:attrNameLst>
                                      </p:cBhvr>
                                      <p:tavLst>
                                        <p:tav tm="0">
                                          <p:val>
                                            <p:strVal val="#ppt_y+.1"/>
                                          </p:val>
                                        </p:tav>
                                        <p:tav tm="100000">
                                          <p:val>
                                            <p:strVal val="#ppt_y"/>
                                          </p:val>
                                        </p:tav>
                                      </p:tavLst>
                                    </p:anim>
                                  </p:childTnLst>
                                </p:cTn>
                              </p:par>
                            </p:childTnLst>
                          </p:cTn>
                        </p:par>
                        <p:par>
                          <p:cTn id="47" fill="hold">
                            <p:stCondLst>
                              <p:cond delay="3500"/>
                            </p:stCondLst>
                            <p:childTnLst>
                              <p:par>
                                <p:cTn id="48" presetID="42" presetClass="entr" presetSubtype="0" fill="hold" grpId="0"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anim calcmode="lin" valueType="num">
                                      <p:cBhvr>
                                        <p:cTn id="51" dur="500" fill="hold"/>
                                        <p:tgtEl>
                                          <p:spTgt spid="17"/>
                                        </p:tgtEl>
                                        <p:attrNameLst>
                                          <p:attrName>ppt_x</p:attrName>
                                        </p:attrNameLst>
                                      </p:cBhvr>
                                      <p:tavLst>
                                        <p:tav tm="0">
                                          <p:val>
                                            <p:strVal val="#ppt_x"/>
                                          </p:val>
                                        </p:tav>
                                        <p:tav tm="100000">
                                          <p:val>
                                            <p:strVal val="#ppt_x"/>
                                          </p:val>
                                        </p:tav>
                                      </p:tavLst>
                                    </p:anim>
                                    <p:anim calcmode="lin" valueType="num">
                                      <p:cBhvr>
                                        <p:cTn id="52" dur="500" fill="hold"/>
                                        <p:tgtEl>
                                          <p:spTgt spid="17"/>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42" presetClass="entr" presetSubtype="0"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anim calcmode="lin" valueType="num">
                                      <p:cBhvr>
                                        <p:cTn id="57" dur="500" fill="hold"/>
                                        <p:tgtEl>
                                          <p:spTgt spid="18"/>
                                        </p:tgtEl>
                                        <p:attrNameLst>
                                          <p:attrName>ppt_x</p:attrName>
                                        </p:attrNameLst>
                                      </p:cBhvr>
                                      <p:tavLst>
                                        <p:tav tm="0">
                                          <p:val>
                                            <p:strVal val="#ppt_x"/>
                                          </p:val>
                                        </p:tav>
                                        <p:tav tm="100000">
                                          <p:val>
                                            <p:strVal val="#ppt_x"/>
                                          </p:val>
                                        </p:tav>
                                      </p:tavLst>
                                    </p:anim>
                                    <p:anim calcmode="lin" valueType="num">
                                      <p:cBhvr>
                                        <p:cTn id="58" dur="500" fill="hold"/>
                                        <p:tgtEl>
                                          <p:spTgt spid="18"/>
                                        </p:tgtEl>
                                        <p:attrNameLst>
                                          <p:attrName>ppt_y</p:attrName>
                                        </p:attrNameLst>
                                      </p:cBhvr>
                                      <p:tavLst>
                                        <p:tav tm="0">
                                          <p:val>
                                            <p:strVal val="#ppt_y+.1"/>
                                          </p:val>
                                        </p:tav>
                                        <p:tav tm="100000">
                                          <p:val>
                                            <p:strVal val="#ppt_y"/>
                                          </p:val>
                                        </p:tav>
                                      </p:tavLst>
                                    </p:anim>
                                  </p:childTnLst>
                                </p:cTn>
                              </p:par>
                            </p:childTnLst>
                          </p:cTn>
                        </p:par>
                        <p:par>
                          <p:cTn id="59" fill="hold">
                            <p:stCondLst>
                              <p:cond delay="4500"/>
                            </p:stCondLst>
                            <p:childTnLst>
                              <p:par>
                                <p:cTn id="60" presetID="42" presetClass="entr" presetSubtype="0" fill="hold" grpId="0" nodeType="after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anim calcmode="lin" valueType="num">
                                      <p:cBhvr>
                                        <p:cTn id="63" dur="500" fill="hold"/>
                                        <p:tgtEl>
                                          <p:spTgt spid="19"/>
                                        </p:tgtEl>
                                        <p:attrNameLst>
                                          <p:attrName>ppt_x</p:attrName>
                                        </p:attrNameLst>
                                      </p:cBhvr>
                                      <p:tavLst>
                                        <p:tav tm="0">
                                          <p:val>
                                            <p:strVal val="#ppt_x"/>
                                          </p:val>
                                        </p:tav>
                                        <p:tav tm="100000">
                                          <p:val>
                                            <p:strVal val="#ppt_x"/>
                                          </p:val>
                                        </p:tav>
                                      </p:tavLst>
                                    </p:anim>
                                    <p:anim calcmode="lin" valueType="num">
                                      <p:cBhvr>
                                        <p:cTn id="64"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p:bldP spid="13" grpId="0"/>
      <p:bldP spid="14" grpId="0"/>
      <p:bldP spid="15" grpId="0"/>
      <p:bldP spid="16" grpId="0"/>
      <p:bldP spid="17" grpId="0"/>
      <p:bldP spid="18" grpId="0"/>
      <p:bldP spid="19" grpId="0"/>
      <p:bldP spid="2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bwMode="auto">
          <a:xfrm>
            <a:off x="1187450" y="3135411"/>
            <a:ext cx="3852863" cy="1452563"/>
            <a:chOff x="576" y="2808"/>
            <a:chExt cx="4608" cy="1728"/>
          </a:xfrm>
        </p:grpSpPr>
        <p:sp>
          <p:nvSpPr>
            <p:cNvPr id="3" name="Freeform 5"/>
            <p:cNvSpPr/>
            <p:nvPr/>
          </p:nvSpPr>
          <p:spPr bwMode="auto">
            <a:xfrm>
              <a:off x="576" y="2808"/>
              <a:ext cx="4608" cy="1152"/>
            </a:xfrm>
            <a:custGeom>
              <a:avLst/>
              <a:gdLst>
                <a:gd name="T0" fmla="*/ 4608 w 4608"/>
                <a:gd name="T1" fmla="*/ 590 h 1152"/>
                <a:gd name="T2" fmla="*/ 4596 w 4608"/>
                <a:gd name="T3" fmla="*/ 634 h 1152"/>
                <a:gd name="T4" fmla="*/ 4562 w 4608"/>
                <a:gd name="T5" fmla="*/ 692 h 1152"/>
                <a:gd name="T6" fmla="*/ 4468 w 4608"/>
                <a:gd name="T7" fmla="*/ 774 h 1152"/>
                <a:gd name="T8" fmla="*/ 4330 w 4608"/>
                <a:gd name="T9" fmla="*/ 850 h 1152"/>
                <a:gd name="T10" fmla="*/ 4150 w 4608"/>
                <a:gd name="T11" fmla="*/ 920 h 1152"/>
                <a:gd name="T12" fmla="*/ 3934 w 4608"/>
                <a:gd name="T13" fmla="*/ 984 h 1152"/>
                <a:gd name="T14" fmla="*/ 3682 w 4608"/>
                <a:gd name="T15" fmla="*/ 1038 h 1152"/>
                <a:gd name="T16" fmla="*/ 3402 w 4608"/>
                <a:gd name="T17" fmla="*/ 1082 h 1152"/>
                <a:gd name="T18" fmla="*/ 3096 w 4608"/>
                <a:gd name="T19" fmla="*/ 1118 h 1152"/>
                <a:gd name="T20" fmla="*/ 2768 w 4608"/>
                <a:gd name="T21" fmla="*/ 1140 h 1152"/>
                <a:gd name="T22" fmla="*/ 2422 w 4608"/>
                <a:gd name="T23" fmla="*/ 1152 h 1152"/>
                <a:gd name="T24" fmla="*/ 2186 w 4608"/>
                <a:gd name="T25" fmla="*/ 1152 h 1152"/>
                <a:gd name="T26" fmla="*/ 1840 w 4608"/>
                <a:gd name="T27" fmla="*/ 1140 h 1152"/>
                <a:gd name="T28" fmla="*/ 1512 w 4608"/>
                <a:gd name="T29" fmla="*/ 1118 h 1152"/>
                <a:gd name="T30" fmla="*/ 1206 w 4608"/>
                <a:gd name="T31" fmla="*/ 1082 h 1152"/>
                <a:gd name="T32" fmla="*/ 926 w 4608"/>
                <a:gd name="T33" fmla="*/ 1038 h 1152"/>
                <a:gd name="T34" fmla="*/ 674 w 4608"/>
                <a:gd name="T35" fmla="*/ 984 h 1152"/>
                <a:gd name="T36" fmla="*/ 458 w 4608"/>
                <a:gd name="T37" fmla="*/ 920 h 1152"/>
                <a:gd name="T38" fmla="*/ 278 w 4608"/>
                <a:gd name="T39" fmla="*/ 850 h 1152"/>
                <a:gd name="T40" fmla="*/ 140 w 4608"/>
                <a:gd name="T41" fmla="*/ 774 h 1152"/>
                <a:gd name="T42" fmla="*/ 46 w 4608"/>
                <a:gd name="T43" fmla="*/ 692 h 1152"/>
                <a:gd name="T44" fmla="*/ 18 w 4608"/>
                <a:gd name="T45" fmla="*/ 650 h 1152"/>
                <a:gd name="T46" fmla="*/ 2 w 4608"/>
                <a:gd name="T47" fmla="*/ 606 h 1152"/>
                <a:gd name="T48" fmla="*/ 0 w 4608"/>
                <a:gd name="T49" fmla="*/ 576 h 1152"/>
                <a:gd name="T50" fmla="*/ 6 w 4608"/>
                <a:gd name="T51" fmla="*/ 532 h 1152"/>
                <a:gd name="T52" fmla="*/ 26 w 4608"/>
                <a:gd name="T53" fmla="*/ 488 h 1152"/>
                <a:gd name="T54" fmla="*/ 72 w 4608"/>
                <a:gd name="T55" fmla="*/ 432 h 1152"/>
                <a:gd name="T56" fmla="*/ 182 w 4608"/>
                <a:gd name="T57" fmla="*/ 352 h 1152"/>
                <a:gd name="T58" fmla="*/ 334 w 4608"/>
                <a:gd name="T59" fmla="*/ 278 h 1152"/>
                <a:gd name="T60" fmla="*/ 526 w 4608"/>
                <a:gd name="T61" fmla="*/ 210 h 1152"/>
                <a:gd name="T62" fmla="*/ 754 w 4608"/>
                <a:gd name="T63" fmla="*/ 150 h 1152"/>
                <a:gd name="T64" fmla="*/ 1016 w 4608"/>
                <a:gd name="T65" fmla="*/ 98 h 1152"/>
                <a:gd name="T66" fmla="*/ 1306 w 4608"/>
                <a:gd name="T67" fmla="*/ 56 h 1152"/>
                <a:gd name="T68" fmla="*/ 1618 w 4608"/>
                <a:gd name="T69" fmla="*/ 26 h 1152"/>
                <a:gd name="T70" fmla="*/ 1954 w 4608"/>
                <a:gd name="T71" fmla="*/ 6 h 1152"/>
                <a:gd name="T72" fmla="*/ 2304 w 4608"/>
                <a:gd name="T73" fmla="*/ 0 h 1152"/>
                <a:gd name="T74" fmla="*/ 2540 w 4608"/>
                <a:gd name="T75" fmla="*/ 2 h 1152"/>
                <a:gd name="T76" fmla="*/ 2880 w 4608"/>
                <a:gd name="T77" fmla="*/ 18 h 1152"/>
                <a:gd name="T78" fmla="*/ 3200 w 4608"/>
                <a:gd name="T79" fmla="*/ 46 h 1152"/>
                <a:gd name="T80" fmla="*/ 3498 w 4608"/>
                <a:gd name="T81" fmla="*/ 84 h 1152"/>
                <a:gd name="T82" fmla="*/ 3770 w 4608"/>
                <a:gd name="T83" fmla="*/ 132 h 1152"/>
                <a:gd name="T84" fmla="*/ 4010 w 4608"/>
                <a:gd name="T85" fmla="*/ 188 h 1152"/>
                <a:gd name="T86" fmla="*/ 4214 w 4608"/>
                <a:gd name="T87" fmla="*/ 254 h 1152"/>
                <a:gd name="T88" fmla="*/ 4380 w 4608"/>
                <a:gd name="T89" fmla="*/ 326 h 1152"/>
                <a:gd name="T90" fmla="*/ 4504 w 4608"/>
                <a:gd name="T91" fmla="*/ 404 h 1152"/>
                <a:gd name="T92" fmla="*/ 4582 w 4608"/>
                <a:gd name="T93" fmla="*/ 488 h 1152"/>
                <a:gd name="T94" fmla="*/ 4602 w 4608"/>
                <a:gd name="T95" fmla="*/ 532 h 1152"/>
                <a:gd name="T96" fmla="*/ 4608 w 4608"/>
                <a:gd name="T97" fmla="*/ 57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08" h="1152">
                  <a:moveTo>
                    <a:pt x="4608" y="576"/>
                  </a:moveTo>
                  <a:lnTo>
                    <a:pt x="4608" y="576"/>
                  </a:lnTo>
                  <a:lnTo>
                    <a:pt x="4608" y="590"/>
                  </a:lnTo>
                  <a:lnTo>
                    <a:pt x="4606" y="606"/>
                  </a:lnTo>
                  <a:lnTo>
                    <a:pt x="4602" y="620"/>
                  </a:lnTo>
                  <a:lnTo>
                    <a:pt x="4596" y="634"/>
                  </a:lnTo>
                  <a:lnTo>
                    <a:pt x="4590" y="650"/>
                  </a:lnTo>
                  <a:lnTo>
                    <a:pt x="4582" y="664"/>
                  </a:lnTo>
                  <a:lnTo>
                    <a:pt x="4562" y="692"/>
                  </a:lnTo>
                  <a:lnTo>
                    <a:pt x="4536" y="720"/>
                  </a:lnTo>
                  <a:lnTo>
                    <a:pt x="4504" y="748"/>
                  </a:lnTo>
                  <a:lnTo>
                    <a:pt x="4468" y="774"/>
                  </a:lnTo>
                  <a:lnTo>
                    <a:pt x="4426" y="800"/>
                  </a:lnTo>
                  <a:lnTo>
                    <a:pt x="4380" y="826"/>
                  </a:lnTo>
                  <a:lnTo>
                    <a:pt x="4330" y="850"/>
                  </a:lnTo>
                  <a:lnTo>
                    <a:pt x="4274" y="874"/>
                  </a:lnTo>
                  <a:lnTo>
                    <a:pt x="4214" y="898"/>
                  </a:lnTo>
                  <a:lnTo>
                    <a:pt x="4150" y="920"/>
                  </a:lnTo>
                  <a:lnTo>
                    <a:pt x="4082" y="942"/>
                  </a:lnTo>
                  <a:lnTo>
                    <a:pt x="4010" y="964"/>
                  </a:lnTo>
                  <a:lnTo>
                    <a:pt x="3934" y="984"/>
                  </a:lnTo>
                  <a:lnTo>
                    <a:pt x="3854" y="1002"/>
                  </a:lnTo>
                  <a:lnTo>
                    <a:pt x="3770" y="1020"/>
                  </a:lnTo>
                  <a:lnTo>
                    <a:pt x="3682" y="1038"/>
                  </a:lnTo>
                  <a:lnTo>
                    <a:pt x="3592" y="1054"/>
                  </a:lnTo>
                  <a:lnTo>
                    <a:pt x="3498" y="1068"/>
                  </a:lnTo>
                  <a:lnTo>
                    <a:pt x="3402" y="1082"/>
                  </a:lnTo>
                  <a:lnTo>
                    <a:pt x="3302" y="1096"/>
                  </a:lnTo>
                  <a:lnTo>
                    <a:pt x="3200" y="1106"/>
                  </a:lnTo>
                  <a:lnTo>
                    <a:pt x="3096" y="1118"/>
                  </a:lnTo>
                  <a:lnTo>
                    <a:pt x="2990" y="1126"/>
                  </a:lnTo>
                  <a:lnTo>
                    <a:pt x="2880" y="1134"/>
                  </a:lnTo>
                  <a:lnTo>
                    <a:pt x="2768" y="1140"/>
                  </a:lnTo>
                  <a:lnTo>
                    <a:pt x="2654" y="1146"/>
                  </a:lnTo>
                  <a:lnTo>
                    <a:pt x="2540" y="1150"/>
                  </a:lnTo>
                  <a:lnTo>
                    <a:pt x="2422" y="1152"/>
                  </a:lnTo>
                  <a:lnTo>
                    <a:pt x="2304" y="1152"/>
                  </a:lnTo>
                  <a:lnTo>
                    <a:pt x="2304" y="1152"/>
                  </a:lnTo>
                  <a:lnTo>
                    <a:pt x="2186" y="1152"/>
                  </a:lnTo>
                  <a:lnTo>
                    <a:pt x="2068" y="1150"/>
                  </a:lnTo>
                  <a:lnTo>
                    <a:pt x="1954" y="1146"/>
                  </a:lnTo>
                  <a:lnTo>
                    <a:pt x="1840" y="1140"/>
                  </a:lnTo>
                  <a:lnTo>
                    <a:pt x="1728" y="1134"/>
                  </a:lnTo>
                  <a:lnTo>
                    <a:pt x="1618" y="1126"/>
                  </a:lnTo>
                  <a:lnTo>
                    <a:pt x="1512" y="1118"/>
                  </a:lnTo>
                  <a:lnTo>
                    <a:pt x="1408" y="1106"/>
                  </a:lnTo>
                  <a:lnTo>
                    <a:pt x="1306" y="1096"/>
                  </a:lnTo>
                  <a:lnTo>
                    <a:pt x="1206" y="1082"/>
                  </a:lnTo>
                  <a:lnTo>
                    <a:pt x="1110" y="1068"/>
                  </a:lnTo>
                  <a:lnTo>
                    <a:pt x="1016" y="1054"/>
                  </a:lnTo>
                  <a:lnTo>
                    <a:pt x="926" y="1038"/>
                  </a:lnTo>
                  <a:lnTo>
                    <a:pt x="838" y="1020"/>
                  </a:lnTo>
                  <a:lnTo>
                    <a:pt x="754" y="1002"/>
                  </a:lnTo>
                  <a:lnTo>
                    <a:pt x="674" y="984"/>
                  </a:lnTo>
                  <a:lnTo>
                    <a:pt x="598" y="964"/>
                  </a:lnTo>
                  <a:lnTo>
                    <a:pt x="526" y="942"/>
                  </a:lnTo>
                  <a:lnTo>
                    <a:pt x="458" y="920"/>
                  </a:lnTo>
                  <a:lnTo>
                    <a:pt x="394" y="898"/>
                  </a:lnTo>
                  <a:lnTo>
                    <a:pt x="334" y="874"/>
                  </a:lnTo>
                  <a:lnTo>
                    <a:pt x="278" y="850"/>
                  </a:lnTo>
                  <a:lnTo>
                    <a:pt x="228" y="826"/>
                  </a:lnTo>
                  <a:lnTo>
                    <a:pt x="182" y="800"/>
                  </a:lnTo>
                  <a:lnTo>
                    <a:pt x="140" y="774"/>
                  </a:lnTo>
                  <a:lnTo>
                    <a:pt x="104" y="748"/>
                  </a:lnTo>
                  <a:lnTo>
                    <a:pt x="72" y="720"/>
                  </a:lnTo>
                  <a:lnTo>
                    <a:pt x="46" y="692"/>
                  </a:lnTo>
                  <a:lnTo>
                    <a:pt x="36" y="678"/>
                  </a:lnTo>
                  <a:lnTo>
                    <a:pt x="26" y="664"/>
                  </a:lnTo>
                  <a:lnTo>
                    <a:pt x="18" y="650"/>
                  </a:lnTo>
                  <a:lnTo>
                    <a:pt x="12" y="634"/>
                  </a:lnTo>
                  <a:lnTo>
                    <a:pt x="6" y="620"/>
                  </a:lnTo>
                  <a:lnTo>
                    <a:pt x="2" y="606"/>
                  </a:lnTo>
                  <a:lnTo>
                    <a:pt x="0" y="590"/>
                  </a:lnTo>
                  <a:lnTo>
                    <a:pt x="0" y="576"/>
                  </a:lnTo>
                  <a:lnTo>
                    <a:pt x="0" y="576"/>
                  </a:lnTo>
                  <a:lnTo>
                    <a:pt x="0" y="562"/>
                  </a:lnTo>
                  <a:lnTo>
                    <a:pt x="2" y="546"/>
                  </a:lnTo>
                  <a:lnTo>
                    <a:pt x="6" y="532"/>
                  </a:lnTo>
                  <a:lnTo>
                    <a:pt x="12" y="518"/>
                  </a:lnTo>
                  <a:lnTo>
                    <a:pt x="18" y="502"/>
                  </a:lnTo>
                  <a:lnTo>
                    <a:pt x="26" y="488"/>
                  </a:lnTo>
                  <a:lnTo>
                    <a:pt x="36" y="474"/>
                  </a:lnTo>
                  <a:lnTo>
                    <a:pt x="46" y="460"/>
                  </a:lnTo>
                  <a:lnTo>
                    <a:pt x="72" y="432"/>
                  </a:lnTo>
                  <a:lnTo>
                    <a:pt x="104" y="404"/>
                  </a:lnTo>
                  <a:lnTo>
                    <a:pt x="140" y="378"/>
                  </a:lnTo>
                  <a:lnTo>
                    <a:pt x="182" y="352"/>
                  </a:lnTo>
                  <a:lnTo>
                    <a:pt x="228" y="326"/>
                  </a:lnTo>
                  <a:lnTo>
                    <a:pt x="278" y="302"/>
                  </a:lnTo>
                  <a:lnTo>
                    <a:pt x="334" y="278"/>
                  </a:lnTo>
                  <a:lnTo>
                    <a:pt x="394" y="254"/>
                  </a:lnTo>
                  <a:lnTo>
                    <a:pt x="458" y="232"/>
                  </a:lnTo>
                  <a:lnTo>
                    <a:pt x="526" y="210"/>
                  </a:lnTo>
                  <a:lnTo>
                    <a:pt x="598" y="188"/>
                  </a:lnTo>
                  <a:lnTo>
                    <a:pt x="674" y="168"/>
                  </a:lnTo>
                  <a:lnTo>
                    <a:pt x="754" y="150"/>
                  </a:lnTo>
                  <a:lnTo>
                    <a:pt x="838" y="132"/>
                  </a:lnTo>
                  <a:lnTo>
                    <a:pt x="926" y="114"/>
                  </a:lnTo>
                  <a:lnTo>
                    <a:pt x="1016" y="98"/>
                  </a:lnTo>
                  <a:lnTo>
                    <a:pt x="1110" y="84"/>
                  </a:lnTo>
                  <a:lnTo>
                    <a:pt x="1206" y="70"/>
                  </a:lnTo>
                  <a:lnTo>
                    <a:pt x="1306" y="56"/>
                  </a:lnTo>
                  <a:lnTo>
                    <a:pt x="1408" y="46"/>
                  </a:lnTo>
                  <a:lnTo>
                    <a:pt x="1512" y="34"/>
                  </a:lnTo>
                  <a:lnTo>
                    <a:pt x="1618" y="26"/>
                  </a:lnTo>
                  <a:lnTo>
                    <a:pt x="1728" y="18"/>
                  </a:lnTo>
                  <a:lnTo>
                    <a:pt x="1840" y="12"/>
                  </a:lnTo>
                  <a:lnTo>
                    <a:pt x="1954" y="6"/>
                  </a:lnTo>
                  <a:lnTo>
                    <a:pt x="2068" y="2"/>
                  </a:lnTo>
                  <a:lnTo>
                    <a:pt x="2186" y="0"/>
                  </a:lnTo>
                  <a:lnTo>
                    <a:pt x="2304" y="0"/>
                  </a:lnTo>
                  <a:lnTo>
                    <a:pt x="2304" y="0"/>
                  </a:lnTo>
                  <a:lnTo>
                    <a:pt x="2422" y="0"/>
                  </a:lnTo>
                  <a:lnTo>
                    <a:pt x="2540" y="2"/>
                  </a:lnTo>
                  <a:lnTo>
                    <a:pt x="2654" y="6"/>
                  </a:lnTo>
                  <a:lnTo>
                    <a:pt x="2768" y="12"/>
                  </a:lnTo>
                  <a:lnTo>
                    <a:pt x="2880" y="18"/>
                  </a:lnTo>
                  <a:lnTo>
                    <a:pt x="2990" y="26"/>
                  </a:lnTo>
                  <a:lnTo>
                    <a:pt x="3096" y="34"/>
                  </a:lnTo>
                  <a:lnTo>
                    <a:pt x="3200" y="46"/>
                  </a:lnTo>
                  <a:lnTo>
                    <a:pt x="3302" y="56"/>
                  </a:lnTo>
                  <a:lnTo>
                    <a:pt x="3402" y="70"/>
                  </a:lnTo>
                  <a:lnTo>
                    <a:pt x="3498" y="84"/>
                  </a:lnTo>
                  <a:lnTo>
                    <a:pt x="3592" y="98"/>
                  </a:lnTo>
                  <a:lnTo>
                    <a:pt x="3682" y="114"/>
                  </a:lnTo>
                  <a:lnTo>
                    <a:pt x="3770" y="132"/>
                  </a:lnTo>
                  <a:lnTo>
                    <a:pt x="3854" y="150"/>
                  </a:lnTo>
                  <a:lnTo>
                    <a:pt x="3934" y="168"/>
                  </a:lnTo>
                  <a:lnTo>
                    <a:pt x="4010" y="188"/>
                  </a:lnTo>
                  <a:lnTo>
                    <a:pt x="4082" y="210"/>
                  </a:lnTo>
                  <a:lnTo>
                    <a:pt x="4150" y="232"/>
                  </a:lnTo>
                  <a:lnTo>
                    <a:pt x="4214" y="254"/>
                  </a:lnTo>
                  <a:lnTo>
                    <a:pt x="4274" y="278"/>
                  </a:lnTo>
                  <a:lnTo>
                    <a:pt x="4330" y="302"/>
                  </a:lnTo>
                  <a:lnTo>
                    <a:pt x="4380" y="326"/>
                  </a:lnTo>
                  <a:lnTo>
                    <a:pt x="4426" y="352"/>
                  </a:lnTo>
                  <a:lnTo>
                    <a:pt x="4468" y="378"/>
                  </a:lnTo>
                  <a:lnTo>
                    <a:pt x="4504" y="404"/>
                  </a:lnTo>
                  <a:lnTo>
                    <a:pt x="4536" y="432"/>
                  </a:lnTo>
                  <a:lnTo>
                    <a:pt x="4562" y="460"/>
                  </a:lnTo>
                  <a:lnTo>
                    <a:pt x="4582" y="488"/>
                  </a:lnTo>
                  <a:lnTo>
                    <a:pt x="4590" y="502"/>
                  </a:lnTo>
                  <a:lnTo>
                    <a:pt x="4596" y="518"/>
                  </a:lnTo>
                  <a:lnTo>
                    <a:pt x="4602" y="532"/>
                  </a:lnTo>
                  <a:lnTo>
                    <a:pt x="4606" y="546"/>
                  </a:lnTo>
                  <a:lnTo>
                    <a:pt x="4608" y="562"/>
                  </a:lnTo>
                  <a:lnTo>
                    <a:pt x="4608" y="576"/>
                  </a:lnTo>
                  <a:lnTo>
                    <a:pt x="4608" y="576"/>
                  </a:lnTo>
                  <a:close/>
                </a:path>
              </a:pathLst>
            </a:custGeom>
            <a:gradFill rotWithShape="1">
              <a:gsLst>
                <a:gs pos="0">
                  <a:srgbClr val="03A550"/>
                </a:gs>
                <a:gs pos="100000">
                  <a:srgbClr val="4BD8FF">
                    <a:gamma/>
                    <a:tint val="0"/>
                    <a:invGamma/>
                  </a:srgb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 name="Freeform 6"/>
            <p:cNvSpPr/>
            <p:nvPr/>
          </p:nvSpPr>
          <p:spPr bwMode="auto">
            <a:xfrm>
              <a:off x="576" y="3384"/>
              <a:ext cx="4608" cy="1152"/>
            </a:xfrm>
            <a:custGeom>
              <a:avLst/>
              <a:gdLst>
                <a:gd name="T0" fmla="*/ 2186 w 4608"/>
                <a:gd name="T1" fmla="*/ 576 h 1152"/>
                <a:gd name="T2" fmla="*/ 1840 w 4608"/>
                <a:gd name="T3" fmla="*/ 564 h 1152"/>
                <a:gd name="T4" fmla="*/ 1512 w 4608"/>
                <a:gd name="T5" fmla="*/ 542 h 1152"/>
                <a:gd name="T6" fmla="*/ 1206 w 4608"/>
                <a:gd name="T7" fmla="*/ 506 h 1152"/>
                <a:gd name="T8" fmla="*/ 926 w 4608"/>
                <a:gd name="T9" fmla="*/ 462 h 1152"/>
                <a:gd name="T10" fmla="*/ 674 w 4608"/>
                <a:gd name="T11" fmla="*/ 408 h 1152"/>
                <a:gd name="T12" fmla="*/ 458 w 4608"/>
                <a:gd name="T13" fmla="*/ 344 h 1152"/>
                <a:gd name="T14" fmla="*/ 278 w 4608"/>
                <a:gd name="T15" fmla="*/ 274 h 1152"/>
                <a:gd name="T16" fmla="*/ 140 w 4608"/>
                <a:gd name="T17" fmla="*/ 198 h 1152"/>
                <a:gd name="T18" fmla="*/ 46 w 4608"/>
                <a:gd name="T19" fmla="*/ 116 h 1152"/>
                <a:gd name="T20" fmla="*/ 18 w 4608"/>
                <a:gd name="T21" fmla="*/ 74 h 1152"/>
                <a:gd name="T22" fmla="*/ 2 w 4608"/>
                <a:gd name="T23" fmla="*/ 30 h 1152"/>
                <a:gd name="T24" fmla="*/ 0 w 4608"/>
                <a:gd name="T25" fmla="*/ 576 h 1152"/>
                <a:gd name="T26" fmla="*/ 2 w 4608"/>
                <a:gd name="T27" fmla="*/ 606 h 1152"/>
                <a:gd name="T28" fmla="*/ 18 w 4608"/>
                <a:gd name="T29" fmla="*/ 650 h 1152"/>
                <a:gd name="T30" fmla="*/ 46 w 4608"/>
                <a:gd name="T31" fmla="*/ 692 h 1152"/>
                <a:gd name="T32" fmla="*/ 140 w 4608"/>
                <a:gd name="T33" fmla="*/ 774 h 1152"/>
                <a:gd name="T34" fmla="*/ 278 w 4608"/>
                <a:gd name="T35" fmla="*/ 850 h 1152"/>
                <a:gd name="T36" fmla="*/ 458 w 4608"/>
                <a:gd name="T37" fmla="*/ 920 h 1152"/>
                <a:gd name="T38" fmla="*/ 674 w 4608"/>
                <a:gd name="T39" fmla="*/ 984 h 1152"/>
                <a:gd name="T40" fmla="*/ 926 w 4608"/>
                <a:gd name="T41" fmla="*/ 1038 h 1152"/>
                <a:gd name="T42" fmla="*/ 1206 w 4608"/>
                <a:gd name="T43" fmla="*/ 1082 h 1152"/>
                <a:gd name="T44" fmla="*/ 1512 w 4608"/>
                <a:gd name="T45" fmla="*/ 1118 h 1152"/>
                <a:gd name="T46" fmla="*/ 1840 w 4608"/>
                <a:gd name="T47" fmla="*/ 1140 h 1152"/>
                <a:gd name="T48" fmla="*/ 2186 w 4608"/>
                <a:gd name="T49" fmla="*/ 1152 h 1152"/>
                <a:gd name="T50" fmla="*/ 2422 w 4608"/>
                <a:gd name="T51" fmla="*/ 1152 h 1152"/>
                <a:gd name="T52" fmla="*/ 2768 w 4608"/>
                <a:gd name="T53" fmla="*/ 1140 h 1152"/>
                <a:gd name="T54" fmla="*/ 3096 w 4608"/>
                <a:gd name="T55" fmla="*/ 1118 h 1152"/>
                <a:gd name="T56" fmla="*/ 3402 w 4608"/>
                <a:gd name="T57" fmla="*/ 1082 h 1152"/>
                <a:gd name="T58" fmla="*/ 3682 w 4608"/>
                <a:gd name="T59" fmla="*/ 1038 h 1152"/>
                <a:gd name="T60" fmla="*/ 3934 w 4608"/>
                <a:gd name="T61" fmla="*/ 984 h 1152"/>
                <a:gd name="T62" fmla="*/ 4150 w 4608"/>
                <a:gd name="T63" fmla="*/ 920 h 1152"/>
                <a:gd name="T64" fmla="*/ 4330 w 4608"/>
                <a:gd name="T65" fmla="*/ 850 h 1152"/>
                <a:gd name="T66" fmla="*/ 4468 w 4608"/>
                <a:gd name="T67" fmla="*/ 774 h 1152"/>
                <a:gd name="T68" fmla="*/ 4562 w 4608"/>
                <a:gd name="T69" fmla="*/ 692 h 1152"/>
                <a:gd name="T70" fmla="*/ 4596 w 4608"/>
                <a:gd name="T71" fmla="*/ 634 h 1152"/>
                <a:gd name="T72" fmla="*/ 4608 w 4608"/>
                <a:gd name="T73" fmla="*/ 590 h 1152"/>
                <a:gd name="T74" fmla="*/ 4608 w 4608"/>
                <a:gd name="T75" fmla="*/ 0 h 1152"/>
                <a:gd name="T76" fmla="*/ 4602 w 4608"/>
                <a:gd name="T77" fmla="*/ 44 h 1152"/>
                <a:gd name="T78" fmla="*/ 4582 w 4608"/>
                <a:gd name="T79" fmla="*/ 88 h 1152"/>
                <a:gd name="T80" fmla="*/ 4504 w 4608"/>
                <a:gd name="T81" fmla="*/ 172 h 1152"/>
                <a:gd name="T82" fmla="*/ 4380 w 4608"/>
                <a:gd name="T83" fmla="*/ 250 h 1152"/>
                <a:gd name="T84" fmla="*/ 4214 w 4608"/>
                <a:gd name="T85" fmla="*/ 322 h 1152"/>
                <a:gd name="T86" fmla="*/ 4010 w 4608"/>
                <a:gd name="T87" fmla="*/ 388 h 1152"/>
                <a:gd name="T88" fmla="*/ 3770 w 4608"/>
                <a:gd name="T89" fmla="*/ 444 h 1152"/>
                <a:gd name="T90" fmla="*/ 3498 w 4608"/>
                <a:gd name="T91" fmla="*/ 492 h 1152"/>
                <a:gd name="T92" fmla="*/ 3200 w 4608"/>
                <a:gd name="T93" fmla="*/ 530 h 1152"/>
                <a:gd name="T94" fmla="*/ 2880 w 4608"/>
                <a:gd name="T95" fmla="*/ 558 h 1152"/>
                <a:gd name="T96" fmla="*/ 2540 w 4608"/>
                <a:gd name="T97" fmla="*/ 574 h 1152"/>
                <a:gd name="T98" fmla="*/ 2304 w 4608"/>
                <a:gd name="T99" fmla="*/ 576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08" h="1152">
                  <a:moveTo>
                    <a:pt x="2304" y="576"/>
                  </a:moveTo>
                  <a:lnTo>
                    <a:pt x="2304" y="576"/>
                  </a:lnTo>
                  <a:lnTo>
                    <a:pt x="2186" y="576"/>
                  </a:lnTo>
                  <a:lnTo>
                    <a:pt x="2068" y="574"/>
                  </a:lnTo>
                  <a:lnTo>
                    <a:pt x="1954" y="570"/>
                  </a:lnTo>
                  <a:lnTo>
                    <a:pt x="1840" y="564"/>
                  </a:lnTo>
                  <a:lnTo>
                    <a:pt x="1728" y="558"/>
                  </a:lnTo>
                  <a:lnTo>
                    <a:pt x="1618" y="550"/>
                  </a:lnTo>
                  <a:lnTo>
                    <a:pt x="1512" y="542"/>
                  </a:lnTo>
                  <a:lnTo>
                    <a:pt x="1408" y="530"/>
                  </a:lnTo>
                  <a:lnTo>
                    <a:pt x="1306" y="520"/>
                  </a:lnTo>
                  <a:lnTo>
                    <a:pt x="1206" y="506"/>
                  </a:lnTo>
                  <a:lnTo>
                    <a:pt x="1110" y="492"/>
                  </a:lnTo>
                  <a:lnTo>
                    <a:pt x="1016" y="478"/>
                  </a:lnTo>
                  <a:lnTo>
                    <a:pt x="926" y="462"/>
                  </a:lnTo>
                  <a:lnTo>
                    <a:pt x="838" y="444"/>
                  </a:lnTo>
                  <a:lnTo>
                    <a:pt x="754" y="426"/>
                  </a:lnTo>
                  <a:lnTo>
                    <a:pt x="674" y="408"/>
                  </a:lnTo>
                  <a:lnTo>
                    <a:pt x="598" y="388"/>
                  </a:lnTo>
                  <a:lnTo>
                    <a:pt x="526" y="366"/>
                  </a:lnTo>
                  <a:lnTo>
                    <a:pt x="458" y="344"/>
                  </a:lnTo>
                  <a:lnTo>
                    <a:pt x="394" y="322"/>
                  </a:lnTo>
                  <a:lnTo>
                    <a:pt x="334" y="298"/>
                  </a:lnTo>
                  <a:lnTo>
                    <a:pt x="278" y="274"/>
                  </a:lnTo>
                  <a:lnTo>
                    <a:pt x="228" y="250"/>
                  </a:lnTo>
                  <a:lnTo>
                    <a:pt x="182" y="224"/>
                  </a:lnTo>
                  <a:lnTo>
                    <a:pt x="140" y="198"/>
                  </a:lnTo>
                  <a:lnTo>
                    <a:pt x="104" y="172"/>
                  </a:lnTo>
                  <a:lnTo>
                    <a:pt x="72" y="144"/>
                  </a:lnTo>
                  <a:lnTo>
                    <a:pt x="46" y="116"/>
                  </a:lnTo>
                  <a:lnTo>
                    <a:pt x="36" y="102"/>
                  </a:lnTo>
                  <a:lnTo>
                    <a:pt x="26" y="88"/>
                  </a:lnTo>
                  <a:lnTo>
                    <a:pt x="18" y="74"/>
                  </a:lnTo>
                  <a:lnTo>
                    <a:pt x="12" y="58"/>
                  </a:lnTo>
                  <a:lnTo>
                    <a:pt x="6" y="44"/>
                  </a:lnTo>
                  <a:lnTo>
                    <a:pt x="2" y="30"/>
                  </a:lnTo>
                  <a:lnTo>
                    <a:pt x="0" y="14"/>
                  </a:lnTo>
                  <a:lnTo>
                    <a:pt x="0" y="0"/>
                  </a:lnTo>
                  <a:lnTo>
                    <a:pt x="0" y="576"/>
                  </a:lnTo>
                  <a:lnTo>
                    <a:pt x="0" y="576"/>
                  </a:lnTo>
                  <a:lnTo>
                    <a:pt x="0" y="590"/>
                  </a:lnTo>
                  <a:lnTo>
                    <a:pt x="2" y="606"/>
                  </a:lnTo>
                  <a:lnTo>
                    <a:pt x="6" y="620"/>
                  </a:lnTo>
                  <a:lnTo>
                    <a:pt x="12" y="634"/>
                  </a:lnTo>
                  <a:lnTo>
                    <a:pt x="18" y="650"/>
                  </a:lnTo>
                  <a:lnTo>
                    <a:pt x="26" y="664"/>
                  </a:lnTo>
                  <a:lnTo>
                    <a:pt x="36" y="678"/>
                  </a:lnTo>
                  <a:lnTo>
                    <a:pt x="46" y="692"/>
                  </a:lnTo>
                  <a:lnTo>
                    <a:pt x="72" y="720"/>
                  </a:lnTo>
                  <a:lnTo>
                    <a:pt x="104" y="748"/>
                  </a:lnTo>
                  <a:lnTo>
                    <a:pt x="140" y="774"/>
                  </a:lnTo>
                  <a:lnTo>
                    <a:pt x="182" y="800"/>
                  </a:lnTo>
                  <a:lnTo>
                    <a:pt x="228" y="826"/>
                  </a:lnTo>
                  <a:lnTo>
                    <a:pt x="278" y="850"/>
                  </a:lnTo>
                  <a:lnTo>
                    <a:pt x="334" y="874"/>
                  </a:lnTo>
                  <a:lnTo>
                    <a:pt x="394" y="898"/>
                  </a:lnTo>
                  <a:lnTo>
                    <a:pt x="458" y="920"/>
                  </a:lnTo>
                  <a:lnTo>
                    <a:pt x="526" y="942"/>
                  </a:lnTo>
                  <a:lnTo>
                    <a:pt x="598" y="964"/>
                  </a:lnTo>
                  <a:lnTo>
                    <a:pt x="674" y="984"/>
                  </a:lnTo>
                  <a:lnTo>
                    <a:pt x="754" y="1002"/>
                  </a:lnTo>
                  <a:lnTo>
                    <a:pt x="838" y="1020"/>
                  </a:lnTo>
                  <a:lnTo>
                    <a:pt x="926" y="1038"/>
                  </a:lnTo>
                  <a:lnTo>
                    <a:pt x="1016" y="1054"/>
                  </a:lnTo>
                  <a:lnTo>
                    <a:pt x="1110" y="1068"/>
                  </a:lnTo>
                  <a:lnTo>
                    <a:pt x="1206" y="1082"/>
                  </a:lnTo>
                  <a:lnTo>
                    <a:pt x="1306" y="1096"/>
                  </a:lnTo>
                  <a:lnTo>
                    <a:pt x="1408" y="1106"/>
                  </a:lnTo>
                  <a:lnTo>
                    <a:pt x="1512" y="1118"/>
                  </a:lnTo>
                  <a:lnTo>
                    <a:pt x="1618" y="1126"/>
                  </a:lnTo>
                  <a:lnTo>
                    <a:pt x="1728" y="1134"/>
                  </a:lnTo>
                  <a:lnTo>
                    <a:pt x="1840" y="1140"/>
                  </a:lnTo>
                  <a:lnTo>
                    <a:pt x="1954" y="1146"/>
                  </a:lnTo>
                  <a:lnTo>
                    <a:pt x="2068" y="1150"/>
                  </a:lnTo>
                  <a:lnTo>
                    <a:pt x="2186" y="1152"/>
                  </a:lnTo>
                  <a:lnTo>
                    <a:pt x="2304" y="1152"/>
                  </a:lnTo>
                  <a:lnTo>
                    <a:pt x="2304" y="1152"/>
                  </a:lnTo>
                  <a:lnTo>
                    <a:pt x="2422" y="1152"/>
                  </a:lnTo>
                  <a:lnTo>
                    <a:pt x="2540" y="1150"/>
                  </a:lnTo>
                  <a:lnTo>
                    <a:pt x="2654" y="1146"/>
                  </a:lnTo>
                  <a:lnTo>
                    <a:pt x="2768" y="1140"/>
                  </a:lnTo>
                  <a:lnTo>
                    <a:pt x="2880" y="1134"/>
                  </a:lnTo>
                  <a:lnTo>
                    <a:pt x="2990" y="1126"/>
                  </a:lnTo>
                  <a:lnTo>
                    <a:pt x="3096" y="1118"/>
                  </a:lnTo>
                  <a:lnTo>
                    <a:pt x="3200" y="1106"/>
                  </a:lnTo>
                  <a:lnTo>
                    <a:pt x="3302" y="1096"/>
                  </a:lnTo>
                  <a:lnTo>
                    <a:pt x="3402" y="1082"/>
                  </a:lnTo>
                  <a:lnTo>
                    <a:pt x="3498" y="1068"/>
                  </a:lnTo>
                  <a:lnTo>
                    <a:pt x="3592" y="1054"/>
                  </a:lnTo>
                  <a:lnTo>
                    <a:pt x="3682" y="1038"/>
                  </a:lnTo>
                  <a:lnTo>
                    <a:pt x="3770" y="1020"/>
                  </a:lnTo>
                  <a:lnTo>
                    <a:pt x="3854" y="1002"/>
                  </a:lnTo>
                  <a:lnTo>
                    <a:pt x="3934" y="984"/>
                  </a:lnTo>
                  <a:lnTo>
                    <a:pt x="4010" y="964"/>
                  </a:lnTo>
                  <a:lnTo>
                    <a:pt x="4082" y="942"/>
                  </a:lnTo>
                  <a:lnTo>
                    <a:pt x="4150" y="920"/>
                  </a:lnTo>
                  <a:lnTo>
                    <a:pt x="4214" y="898"/>
                  </a:lnTo>
                  <a:lnTo>
                    <a:pt x="4274" y="874"/>
                  </a:lnTo>
                  <a:lnTo>
                    <a:pt x="4330" y="850"/>
                  </a:lnTo>
                  <a:lnTo>
                    <a:pt x="4380" y="826"/>
                  </a:lnTo>
                  <a:lnTo>
                    <a:pt x="4426" y="800"/>
                  </a:lnTo>
                  <a:lnTo>
                    <a:pt x="4468" y="774"/>
                  </a:lnTo>
                  <a:lnTo>
                    <a:pt x="4504" y="748"/>
                  </a:lnTo>
                  <a:lnTo>
                    <a:pt x="4536" y="720"/>
                  </a:lnTo>
                  <a:lnTo>
                    <a:pt x="4562" y="692"/>
                  </a:lnTo>
                  <a:lnTo>
                    <a:pt x="4582" y="664"/>
                  </a:lnTo>
                  <a:lnTo>
                    <a:pt x="4590" y="650"/>
                  </a:lnTo>
                  <a:lnTo>
                    <a:pt x="4596" y="634"/>
                  </a:lnTo>
                  <a:lnTo>
                    <a:pt x="4602" y="620"/>
                  </a:lnTo>
                  <a:lnTo>
                    <a:pt x="4606" y="606"/>
                  </a:lnTo>
                  <a:lnTo>
                    <a:pt x="4608" y="590"/>
                  </a:lnTo>
                  <a:lnTo>
                    <a:pt x="4608" y="576"/>
                  </a:lnTo>
                  <a:lnTo>
                    <a:pt x="4608" y="0"/>
                  </a:lnTo>
                  <a:lnTo>
                    <a:pt x="4608" y="0"/>
                  </a:lnTo>
                  <a:lnTo>
                    <a:pt x="4608" y="14"/>
                  </a:lnTo>
                  <a:lnTo>
                    <a:pt x="4606" y="30"/>
                  </a:lnTo>
                  <a:lnTo>
                    <a:pt x="4602" y="44"/>
                  </a:lnTo>
                  <a:lnTo>
                    <a:pt x="4596" y="58"/>
                  </a:lnTo>
                  <a:lnTo>
                    <a:pt x="4590" y="74"/>
                  </a:lnTo>
                  <a:lnTo>
                    <a:pt x="4582" y="88"/>
                  </a:lnTo>
                  <a:lnTo>
                    <a:pt x="4562" y="116"/>
                  </a:lnTo>
                  <a:lnTo>
                    <a:pt x="4536" y="144"/>
                  </a:lnTo>
                  <a:lnTo>
                    <a:pt x="4504" y="172"/>
                  </a:lnTo>
                  <a:lnTo>
                    <a:pt x="4468" y="198"/>
                  </a:lnTo>
                  <a:lnTo>
                    <a:pt x="4426" y="224"/>
                  </a:lnTo>
                  <a:lnTo>
                    <a:pt x="4380" y="250"/>
                  </a:lnTo>
                  <a:lnTo>
                    <a:pt x="4330" y="274"/>
                  </a:lnTo>
                  <a:lnTo>
                    <a:pt x="4274" y="298"/>
                  </a:lnTo>
                  <a:lnTo>
                    <a:pt x="4214" y="322"/>
                  </a:lnTo>
                  <a:lnTo>
                    <a:pt x="4150" y="344"/>
                  </a:lnTo>
                  <a:lnTo>
                    <a:pt x="4082" y="366"/>
                  </a:lnTo>
                  <a:lnTo>
                    <a:pt x="4010" y="388"/>
                  </a:lnTo>
                  <a:lnTo>
                    <a:pt x="3934" y="408"/>
                  </a:lnTo>
                  <a:lnTo>
                    <a:pt x="3854" y="426"/>
                  </a:lnTo>
                  <a:lnTo>
                    <a:pt x="3770" y="444"/>
                  </a:lnTo>
                  <a:lnTo>
                    <a:pt x="3682" y="462"/>
                  </a:lnTo>
                  <a:lnTo>
                    <a:pt x="3592" y="478"/>
                  </a:lnTo>
                  <a:lnTo>
                    <a:pt x="3498" y="492"/>
                  </a:lnTo>
                  <a:lnTo>
                    <a:pt x="3402" y="506"/>
                  </a:lnTo>
                  <a:lnTo>
                    <a:pt x="3302" y="520"/>
                  </a:lnTo>
                  <a:lnTo>
                    <a:pt x="3200" y="530"/>
                  </a:lnTo>
                  <a:lnTo>
                    <a:pt x="3096" y="542"/>
                  </a:lnTo>
                  <a:lnTo>
                    <a:pt x="2990" y="550"/>
                  </a:lnTo>
                  <a:lnTo>
                    <a:pt x="2880" y="558"/>
                  </a:lnTo>
                  <a:lnTo>
                    <a:pt x="2768" y="564"/>
                  </a:lnTo>
                  <a:lnTo>
                    <a:pt x="2654" y="570"/>
                  </a:lnTo>
                  <a:lnTo>
                    <a:pt x="2540" y="574"/>
                  </a:lnTo>
                  <a:lnTo>
                    <a:pt x="2422" y="576"/>
                  </a:lnTo>
                  <a:lnTo>
                    <a:pt x="2304" y="576"/>
                  </a:lnTo>
                  <a:lnTo>
                    <a:pt x="2304" y="576"/>
                  </a:lnTo>
                  <a:close/>
                </a:path>
              </a:pathLst>
            </a:custGeom>
            <a:gradFill rotWithShape="1">
              <a:gsLst>
                <a:gs pos="0">
                  <a:schemeClr val="bg2"/>
                </a:gs>
                <a:gs pos="50000">
                  <a:srgbClr val="03A550"/>
                </a:gs>
                <a:gs pos="100000">
                  <a:schemeClr val="bg2"/>
                </a:gs>
              </a:gsLst>
              <a:lin ang="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 name="Group 7"/>
          <p:cNvGrpSpPr/>
          <p:nvPr/>
        </p:nvGrpSpPr>
        <p:grpSpPr bwMode="auto">
          <a:xfrm>
            <a:off x="1668463" y="2694086"/>
            <a:ext cx="2890837" cy="1209675"/>
            <a:chOff x="1152" y="1800"/>
            <a:chExt cx="3456" cy="1440"/>
          </a:xfrm>
        </p:grpSpPr>
        <p:sp>
          <p:nvSpPr>
            <p:cNvPr id="6" name="Freeform 8"/>
            <p:cNvSpPr/>
            <p:nvPr/>
          </p:nvSpPr>
          <p:spPr bwMode="auto">
            <a:xfrm>
              <a:off x="1152" y="1800"/>
              <a:ext cx="3456" cy="864"/>
            </a:xfrm>
            <a:custGeom>
              <a:avLst/>
              <a:gdLst>
                <a:gd name="T0" fmla="*/ 3456 w 3456"/>
                <a:gd name="T1" fmla="*/ 432 h 864"/>
                <a:gd name="T2" fmla="*/ 3448 w 3456"/>
                <a:gd name="T3" fmla="*/ 476 h 864"/>
                <a:gd name="T4" fmla="*/ 3420 w 3456"/>
                <a:gd name="T5" fmla="*/ 520 h 864"/>
                <a:gd name="T6" fmla="*/ 3378 w 3456"/>
                <a:gd name="T7" fmla="*/ 560 h 864"/>
                <a:gd name="T8" fmla="*/ 3320 w 3456"/>
                <a:gd name="T9" fmla="*/ 600 h 864"/>
                <a:gd name="T10" fmla="*/ 3248 w 3456"/>
                <a:gd name="T11" fmla="*/ 638 h 864"/>
                <a:gd name="T12" fmla="*/ 3160 w 3456"/>
                <a:gd name="T13" fmla="*/ 674 h 864"/>
                <a:gd name="T14" fmla="*/ 3062 w 3456"/>
                <a:gd name="T15" fmla="*/ 706 h 864"/>
                <a:gd name="T16" fmla="*/ 2950 w 3456"/>
                <a:gd name="T17" fmla="*/ 738 h 864"/>
                <a:gd name="T18" fmla="*/ 2828 w 3456"/>
                <a:gd name="T19" fmla="*/ 766 h 864"/>
                <a:gd name="T20" fmla="*/ 2694 w 3456"/>
                <a:gd name="T21" fmla="*/ 790 h 864"/>
                <a:gd name="T22" fmla="*/ 2400 w 3456"/>
                <a:gd name="T23" fmla="*/ 830 h 864"/>
                <a:gd name="T24" fmla="*/ 2076 w 3456"/>
                <a:gd name="T25" fmla="*/ 856 h 864"/>
                <a:gd name="T26" fmla="*/ 1728 w 3456"/>
                <a:gd name="T27" fmla="*/ 864 h 864"/>
                <a:gd name="T28" fmla="*/ 1552 w 3456"/>
                <a:gd name="T29" fmla="*/ 862 h 864"/>
                <a:gd name="T30" fmla="*/ 1214 w 3456"/>
                <a:gd name="T31" fmla="*/ 844 h 864"/>
                <a:gd name="T32" fmla="*/ 904 w 3456"/>
                <a:gd name="T33" fmla="*/ 812 h 864"/>
                <a:gd name="T34" fmla="*/ 694 w 3456"/>
                <a:gd name="T35" fmla="*/ 778 h 864"/>
                <a:gd name="T36" fmla="*/ 566 w 3456"/>
                <a:gd name="T37" fmla="*/ 752 h 864"/>
                <a:gd name="T38" fmla="*/ 448 w 3456"/>
                <a:gd name="T39" fmla="*/ 722 h 864"/>
                <a:gd name="T40" fmla="*/ 344 w 3456"/>
                <a:gd name="T41" fmla="*/ 690 h 864"/>
                <a:gd name="T42" fmla="*/ 250 w 3456"/>
                <a:gd name="T43" fmla="*/ 656 h 864"/>
                <a:gd name="T44" fmla="*/ 170 w 3456"/>
                <a:gd name="T45" fmla="*/ 620 h 864"/>
                <a:gd name="T46" fmla="*/ 104 w 3456"/>
                <a:gd name="T47" fmla="*/ 580 h 864"/>
                <a:gd name="T48" fmla="*/ 54 w 3456"/>
                <a:gd name="T49" fmla="*/ 540 h 864"/>
                <a:gd name="T50" fmla="*/ 20 w 3456"/>
                <a:gd name="T51" fmla="*/ 498 h 864"/>
                <a:gd name="T52" fmla="*/ 2 w 3456"/>
                <a:gd name="T53" fmla="*/ 454 h 864"/>
                <a:gd name="T54" fmla="*/ 0 w 3456"/>
                <a:gd name="T55" fmla="*/ 432 h 864"/>
                <a:gd name="T56" fmla="*/ 8 w 3456"/>
                <a:gd name="T57" fmla="*/ 388 h 864"/>
                <a:gd name="T58" fmla="*/ 36 w 3456"/>
                <a:gd name="T59" fmla="*/ 344 h 864"/>
                <a:gd name="T60" fmla="*/ 78 w 3456"/>
                <a:gd name="T61" fmla="*/ 304 h 864"/>
                <a:gd name="T62" fmla="*/ 136 w 3456"/>
                <a:gd name="T63" fmla="*/ 264 h 864"/>
                <a:gd name="T64" fmla="*/ 208 w 3456"/>
                <a:gd name="T65" fmla="*/ 226 h 864"/>
                <a:gd name="T66" fmla="*/ 296 w 3456"/>
                <a:gd name="T67" fmla="*/ 190 h 864"/>
                <a:gd name="T68" fmla="*/ 394 w 3456"/>
                <a:gd name="T69" fmla="*/ 158 h 864"/>
                <a:gd name="T70" fmla="*/ 506 w 3456"/>
                <a:gd name="T71" fmla="*/ 126 h 864"/>
                <a:gd name="T72" fmla="*/ 628 w 3456"/>
                <a:gd name="T73" fmla="*/ 98 h 864"/>
                <a:gd name="T74" fmla="*/ 762 w 3456"/>
                <a:gd name="T75" fmla="*/ 74 h 864"/>
                <a:gd name="T76" fmla="*/ 1056 w 3456"/>
                <a:gd name="T77" fmla="*/ 34 h 864"/>
                <a:gd name="T78" fmla="*/ 1380 w 3456"/>
                <a:gd name="T79" fmla="*/ 8 h 864"/>
                <a:gd name="T80" fmla="*/ 1728 w 3456"/>
                <a:gd name="T81" fmla="*/ 0 h 864"/>
                <a:gd name="T82" fmla="*/ 1904 w 3456"/>
                <a:gd name="T83" fmla="*/ 2 h 864"/>
                <a:gd name="T84" fmla="*/ 2242 w 3456"/>
                <a:gd name="T85" fmla="*/ 20 h 864"/>
                <a:gd name="T86" fmla="*/ 2552 w 3456"/>
                <a:gd name="T87" fmla="*/ 52 h 864"/>
                <a:gd name="T88" fmla="*/ 2762 w 3456"/>
                <a:gd name="T89" fmla="*/ 86 h 864"/>
                <a:gd name="T90" fmla="*/ 2890 w 3456"/>
                <a:gd name="T91" fmla="*/ 112 h 864"/>
                <a:gd name="T92" fmla="*/ 3008 w 3456"/>
                <a:gd name="T93" fmla="*/ 142 h 864"/>
                <a:gd name="T94" fmla="*/ 3112 w 3456"/>
                <a:gd name="T95" fmla="*/ 174 h 864"/>
                <a:gd name="T96" fmla="*/ 3206 w 3456"/>
                <a:gd name="T97" fmla="*/ 208 h 864"/>
                <a:gd name="T98" fmla="*/ 3286 w 3456"/>
                <a:gd name="T99" fmla="*/ 244 h 864"/>
                <a:gd name="T100" fmla="*/ 3352 w 3456"/>
                <a:gd name="T101" fmla="*/ 284 h 864"/>
                <a:gd name="T102" fmla="*/ 3402 w 3456"/>
                <a:gd name="T103" fmla="*/ 324 h 864"/>
                <a:gd name="T104" fmla="*/ 3436 w 3456"/>
                <a:gd name="T105" fmla="*/ 366 h 864"/>
                <a:gd name="T106" fmla="*/ 3454 w 3456"/>
                <a:gd name="T107" fmla="*/ 410 h 864"/>
                <a:gd name="T108" fmla="*/ 3456 w 3456"/>
                <a:gd name="T109" fmla="*/ 432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56" h="864">
                  <a:moveTo>
                    <a:pt x="3456" y="432"/>
                  </a:moveTo>
                  <a:lnTo>
                    <a:pt x="3456" y="432"/>
                  </a:lnTo>
                  <a:lnTo>
                    <a:pt x="3454" y="454"/>
                  </a:lnTo>
                  <a:lnTo>
                    <a:pt x="3448" y="476"/>
                  </a:lnTo>
                  <a:lnTo>
                    <a:pt x="3436" y="498"/>
                  </a:lnTo>
                  <a:lnTo>
                    <a:pt x="3420" y="520"/>
                  </a:lnTo>
                  <a:lnTo>
                    <a:pt x="3402" y="540"/>
                  </a:lnTo>
                  <a:lnTo>
                    <a:pt x="3378" y="560"/>
                  </a:lnTo>
                  <a:lnTo>
                    <a:pt x="3352" y="580"/>
                  </a:lnTo>
                  <a:lnTo>
                    <a:pt x="3320" y="600"/>
                  </a:lnTo>
                  <a:lnTo>
                    <a:pt x="3286" y="620"/>
                  </a:lnTo>
                  <a:lnTo>
                    <a:pt x="3248" y="638"/>
                  </a:lnTo>
                  <a:lnTo>
                    <a:pt x="3206" y="656"/>
                  </a:lnTo>
                  <a:lnTo>
                    <a:pt x="3160" y="674"/>
                  </a:lnTo>
                  <a:lnTo>
                    <a:pt x="3112" y="690"/>
                  </a:lnTo>
                  <a:lnTo>
                    <a:pt x="3062" y="706"/>
                  </a:lnTo>
                  <a:lnTo>
                    <a:pt x="3008" y="722"/>
                  </a:lnTo>
                  <a:lnTo>
                    <a:pt x="2950" y="738"/>
                  </a:lnTo>
                  <a:lnTo>
                    <a:pt x="2890" y="752"/>
                  </a:lnTo>
                  <a:lnTo>
                    <a:pt x="2828" y="766"/>
                  </a:lnTo>
                  <a:lnTo>
                    <a:pt x="2762" y="778"/>
                  </a:lnTo>
                  <a:lnTo>
                    <a:pt x="2694" y="790"/>
                  </a:lnTo>
                  <a:lnTo>
                    <a:pt x="2552" y="812"/>
                  </a:lnTo>
                  <a:lnTo>
                    <a:pt x="2400" y="830"/>
                  </a:lnTo>
                  <a:lnTo>
                    <a:pt x="2242" y="844"/>
                  </a:lnTo>
                  <a:lnTo>
                    <a:pt x="2076" y="856"/>
                  </a:lnTo>
                  <a:lnTo>
                    <a:pt x="1904" y="862"/>
                  </a:lnTo>
                  <a:lnTo>
                    <a:pt x="1728" y="864"/>
                  </a:lnTo>
                  <a:lnTo>
                    <a:pt x="1728" y="864"/>
                  </a:lnTo>
                  <a:lnTo>
                    <a:pt x="1552" y="862"/>
                  </a:lnTo>
                  <a:lnTo>
                    <a:pt x="1380" y="856"/>
                  </a:lnTo>
                  <a:lnTo>
                    <a:pt x="1214" y="844"/>
                  </a:lnTo>
                  <a:lnTo>
                    <a:pt x="1056" y="830"/>
                  </a:lnTo>
                  <a:lnTo>
                    <a:pt x="904" y="812"/>
                  </a:lnTo>
                  <a:lnTo>
                    <a:pt x="762" y="790"/>
                  </a:lnTo>
                  <a:lnTo>
                    <a:pt x="694" y="778"/>
                  </a:lnTo>
                  <a:lnTo>
                    <a:pt x="628" y="766"/>
                  </a:lnTo>
                  <a:lnTo>
                    <a:pt x="566" y="752"/>
                  </a:lnTo>
                  <a:lnTo>
                    <a:pt x="506" y="738"/>
                  </a:lnTo>
                  <a:lnTo>
                    <a:pt x="448" y="722"/>
                  </a:lnTo>
                  <a:lnTo>
                    <a:pt x="394" y="706"/>
                  </a:lnTo>
                  <a:lnTo>
                    <a:pt x="344" y="690"/>
                  </a:lnTo>
                  <a:lnTo>
                    <a:pt x="296" y="674"/>
                  </a:lnTo>
                  <a:lnTo>
                    <a:pt x="250" y="656"/>
                  </a:lnTo>
                  <a:lnTo>
                    <a:pt x="208" y="638"/>
                  </a:lnTo>
                  <a:lnTo>
                    <a:pt x="170" y="620"/>
                  </a:lnTo>
                  <a:lnTo>
                    <a:pt x="136" y="600"/>
                  </a:lnTo>
                  <a:lnTo>
                    <a:pt x="104" y="580"/>
                  </a:lnTo>
                  <a:lnTo>
                    <a:pt x="78" y="560"/>
                  </a:lnTo>
                  <a:lnTo>
                    <a:pt x="54" y="540"/>
                  </a:lnTo>
                  <a:lnTo>
                    <a:pt x="36" y="520"/>
                  </a:lnTo>
                  <a:lnTo>
                    <a:pt x="20" y="498"/>
                  </a:lnTo>
                  <a:lnTo>
                    <a:pt x="8" y="476"/>
                  </a:lnTo>
                  <a:lnTo>
                    <a:pt x="2" y="454"/>
                  </a:lnTo>
                  <a:lnTo>
                    <a:pt x="0" y="432"/>
                  </a:lnTo>
                  <a:lnTo>
                    <a:pt x="0" y="432"/>
                  </a:lnTo>
                  <a:lnTo>
                    <a:pt x="2" y="410"/>
                  </a:lnTo>
                  <a:lnTo>
                    <a:pt x="8" y="388"/>
                  </a:lnTo>
                  <a:lnTo>
                    <a:pt x="20" y="366"/>
                  </a:lnTo>
                  <a:lnTo>
                    <a:pt x="36" y="344"/>
                  </a:lnTo>
                  <a:lnTo>
                    <a:pt x="54" y="324"/>
                  </a:lnTo>
                  <a:lnTo>
                    <a:pt x="78" y="304"/>
                  </a:lnTo>
                  <a:lnTo>
                    <a:pt x="104" y="284"/>
                  </a:lnTo>
                  <a:lnTo>
                    <a:pt x="136" y="264"/>
                  </a:lnTo>
                  <a:lnTo>
                    <a:pt x="170" y="244"/>
                  </a:lnTo>
                  <a:lnTo>
                    <a:pt x="208" y="226"/>
                  </a:lnTo>
                  <a:lnTo>
                    <a:pt x="250" y="208"/>
                  </a:lnTo>
                  <a:lnTo>
                    <a:pt x="296" y="190"/>
                  </a:lnTo>
                  <a:lnTo>
                    <a:pt x="344" y="174"/>
                  </a:lnTo>
                  <a:lnTo>
                    <a:pt x="394" y="158"/>
                  </a:lnTo>
                  <a:lnTo>
                    <a:pt x="448" y="142"/>
                  </a:lnTo>
                  <a:lnTo>
                    <a:pt x="506" y="126"/>
                  </a:lnTo>
                  <a:lnTo>
                    <a:pt x="566" y="112"/>
                  </a:lnTo>
                  <a:lnTo>
                    <a:pt x="628" y="98"/>
                  </a:lnTo>
                  <a:lnTo>
                    <a:pt x="694" y="86"/>
                  </a:lnTo>
                  <a:lnTo>
                    <a:pt x="762" y="74"/>
                  </a:lnTo>
                  <a:lnTo>
                    <a:pt x="904" y="52"/>
                  </a:lnTo>
                  <a:lnTo>
                    <a:pt x="1056" y="34"/>
                  </a:lnTo>
                  <a:lnTo>
                    <a:pt x="1214" y="20"/>
                  </a:lnTo>
                  <a:lnTo>
                    <a:pt x="1380" y="8"/>
                  </a:lnTo>
                  <a:lnTo>
                    <a:pt x="1552" y="2"/>
                  </a:lnTo>
                  <a:lnTo>
                    <a:pt x="1728" y="0"/>
                  </a:lnTo>
                  <a:lnTo>
                    <a:pt x="1728" y="0"/>
                  </a:lnTo>
                  <a:lnTo>
                    <a:pt x="1904" y="2"/>
                  </a:lnTo>
                  <a:lnTo>
                    <a:pt x="2076" y="8"/>
                  </a:lnTo>
                  <a:lnTo>
                    <a:pt x="2242" y="20"/>
                  </a:lnTo>
                  <a:lnTo>
                    <a:pt x="2400" y="34"/>
                  </a:lnTo>
                  <a:lnTo>
                    <a:pt x="2552" y="52"/>
                  </a:lnTo>
                  <a:lnTo>
                    <a:pt x="2694" y="74"/>
                  </a:lnTo>
                  <a:lnTo>
                    <a:pt x="2762" y="86"/>
                  </a:lnTo>
                  <a:lnTo>
                    <a:pt x="2828" y="98"/>
                  </a:lnTo>
                  <a:lnTo>
                    <a:pt x="2890" y="112"/>
                  </a:lnTo>
                  <a:lnTo>
                    <a:pt x="2950" y="126"/>
                  </a:lnTo>
                  <a:lnTo>
                    <a:pt x="3008" y="142"/>
                  </a:lnTo>
                  <a:lnTo>
                    <a:pt x="3062" y="158"/>
                  </a:lnTo>
                  <a:lnTo>
                    <a:pt x="3112" y="174"/>
                  </a:lnTo>
                  <a:lnTo>
                    <a:pt x="3160" y="190"/>
                  </a:lnTo>
                  <a:lnTo>
                    <a:pt x="3206" y="208"/>
                  </a:lnTo>
                  <a:lnTo>
                    <a:pt x="3248" y="226"/>
                  </a:lnTo>
                  <a:lnTo>
                    <a:pt x="3286" y="244"/>
                  </a:lnTo>
                  <a:lnTo>
                    <a:pt x="3320" y="264"/>
                  </a:lnTo>
                  <a:lnTo>
                    <a:pt x="3352" y="284"/>
                  </a:lnTo>
                  <a:lnTo>
                    <a:pt x="3378" y="304"/>
                  </a:lnTo>
                  <a:lnTo>
                    <a:pt x="3402" y="324"/>
                  </a:lnTo>
                  <a:lnTo>
                    <a:pt x="3420" y="344"/>
                  </a:lnTo>
                  <a:lnTo>
                    <a:pt x="3436" y="366"/>
                  </a:lnTo>
                  <a:lnTo>
                    <a:pt x="3448" y="388"/>
                  </a:lnTo>
                  <a:lnTo>
                    <a:pt x="3454" y="410"/>
                  </a:lnTo>
                  <a:lnTo>
                    <a:pt x="3456" y="432"/>
                  </a:lnTo>
                  <a:lnTo>
                    <a:pt x="3456" y="432"/>
                  </a:lnTo>
                  <a:close/>
                </a:path>
              </a:pathLst>
            </a:custGeom>
            <a:solidFill>
              <a:srgbClr val="EAEAEA"/>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 name="Freeform 9"/>
            <p:cNvSpPr/>
            <p:nvPr/>
          </p:nvSpPr>
          <p:spPr bwMode="auto">
            <a:xfrm>
              <a:off x="1152" y="2232"/>
              <a:ext cx="3456" cy="1008"/>
            </a:xfrm>
            <a:custGeom>
              <a:avLst/>
              <a:gdLst>
                <a:gd name="T0" fmla="*/ 1728 w 3456"/>
                <a:gd name="T1" fmla="*/ 432 h 1008"/>
                <a:gd name="T2" fmla="*/ 1380 w 3456"/>
                <a:gd name="T3" fmla="*/ 424 h 1008"/>
                <a:gd name="T4" fmla="*/ 1056 w 3456"/>
                <a:gd name="T5" fmla="*/ 398 h 1008"/>
                <a:gd name="T6" fmla="*/ 762 w 3456"/>
                <a:gd name="T7" fmla="*/ 358 h 1008"/>
                <a:gd name="T8" fmla="*/ 628 w 3456"/>
                <a:gd name="T9" fmla="*/ 334 h 1008"/>
                <a:gd name="T10" fmla="*/ 506 w 3456"/>
                <a:gd name="T11" fmla="*/ 306 h 1008"/>
                <a:gd name="T12" fmla="*/ 394 w 3456"/>
                <a:gd name="T13" fmla="*/ 274 h 1008"/>
                <a:gd name="T14" fmla="*/ 296 w 3456"/>
                <a:gd name="T15" fmla="*/ 242 h 1008"/>
                <a:gd name="T16" fmla="*/ 208 w 3456"/>
                <a:gd name="T17" fmla="*/ 206 h 1008"/>
                <a:gd name="T18" fmla="*/ 136 w 3456"/>
                <a:gd name="T19" fmla="*/ 168 h 1008"/>
                <a:gd name="T20" fmla="*/ 78 w 3456"/>
                <a:gd name="T21" fmla="*/ 128 h 1008"/>
                <a:gd name="T22" fmla="*/ 36 w 3456"/>
                <a:gd name="T23" fmla="*/ 88 h 1008"/>
                <a:gd name="T24" fmla="*/ 8 w 3456"/>
                <a:gd name="T25" fmla="*/ 44 h 1008"/>
                <a:gd name="T26" fmla="*/ 0 w 3456"/>
                <a:gd name="T27" fmla="*/ 0 h 1008"/>
                <a:gd name="T28" fmla="*/ 0 w 3456"/>
                <a:gd name="T29" fmla="*/ 576 h 1008"/>
                <a:gd name="T30" fmla="*/ 8 w 3456"/>
                <a:gd name="T31" fmla="*/ 620 h 1008"/>
                <a:gd name="T32" fmla="*/ 36 w 3456"/>
                <a:gd name="T33" fmla="*/ 664 h 1008"/>
                <a:gd name="T34" fmla="*/ 78 w 3456"/>
                <a:gd name="T35" fmla="*/ 704 h 1008"/>
                <a:gd name="T36" fmla="*/ 136 w 3456"/>
                <a:gd name="T37" fmla="*/ 744 h 1008"/>
                <a:gd name="T38" fmla="*/ 208 w 3456"/>
                <a:gd name="T39" fmla="*/ 782 h 1008"/>
                <a:gd name="T40" fmla="*/ 296 w 3456"/>
                <a:gd name="T41" fmla="*/ 818 h 1008"/>
                <a:gd name="T42" fmla="*/ 394 w 3456"/>
                <a:gd name="T43" fmla="*/ 850 h 1008"/>
                <a:gd name="T44" fmla="*/ 506 w 3456"/>
                <a:gd name="T45" fmla="*/ 882 h 1008"/>
                <a:gd name="T46" fmla="*/ 628 w 3456"/>
                <a:gd name="T47" fmla="*/ 910 h 1008"/>
                <a:gd name="T48" fmla="*/ 762 w 3456"/>
                <a:gd name="T49" fmla="*/ 934 h 1008"/>
                <a:gd name="T50" fmla="*/ 1056 w 3456"/>
                <a:gd name="T51" fmla="*/ 974 h 1008"/>
                <a:gd name="T52" fmla="*/ 1380 w 3456"/>
                <a:gd name="T53" fmla="*/ 1000 h 1008"/>
                <a:gd name="T54" fmla="*/ 1728 w 3456"/>
                <a:gd name="T55" fmla="*/ 1008 h 1008"/>
                <a:gd name="T56" fmla="*/ 1904 w 3456"/>
                <a:gd name="T57" fmla="*/ 1006 h 1008"/>
                <a:gd name="T58" fmla="*/ 2242 w 3456"/>
                <a:gd name="T59" fmla="*/ 988 h 1008"/>
                <a:gd name="T60" fmla="*/ 2552 w 3456"/>
                <a:gd name="T61" fmla="*/ 956 h 1008"/>
                <a:gd name="T62" fmla="*/ 2762 w 3456"/>
                <a:gd name="T63" fmla="*/ 922 h 1008"/>
                <a:gd name="T64" fmla="*/ 2890 w 3456"/>
                <a:gd name="T65" fmla="*/ 896 h 1008"/>
                <a:gd name="T66" fmla="*/ 3008 w 3456"/>
                <a:gd name="T67" fmla="*/ 866 h 1008"/>
                <a:gd name="T68" fmla="*/ 3112 w 3456"/>
                <a:gd name="T69" fmla="*/ 834 h 1008"/>
                <a:gd name="T70" fmla="*/ 3206 w 3456"/>
                <a:gd name="T71" fmla="*/ 800 h 1008"/>
                <a:gd name="T72" fmla="*/ 3286 w 3456"/>
                <a:gd name="T73" fmla="*/ 764 h 1008"/>
                <a:gd name="T74" fmla="*/ 3352 w 3456"/>
                <a:gd name="T75" fmla="*/ 724 h 1008"/>
                <a:gd name="T76" fmla="*/ 3402 w 3456"/>
                <a:gd name="T77" fmla="*/ 684 h 1008"/>
                <a:gd name="T78" fmla="*/ 3436 w 3456"/>
                <a:gd name="T79" fmla="*/ 642 h 1008"/>
                <a:gd name="T80" fmla="*/ 3454 w 3456"/>
                <a:gd name="T81" fmla="*/ 598 h 1008"/>
                <a:gd name="T82" fmla="*/ 3456 w 3456"/>
                <a:gd name="T83" fmla="*/ 0 h 1008"/>
                <a:gd name="T84" fmla="*/ 3454 w 3456"/>
                <a:gd name="T85" fmla="*/ 22 h 1008"/>
                <a:gd name="T86" fmla="*/ 3436 w 3456"/>
                <a:gd name="T87" fmla="*/ 66 h 1008"/>
                <a:gd name="T88" fmla="*/ 3402 w 3456"/>
                <a:gd name="T89" fmla="*/ 108 h 1008"/>
                <a:gd name="T90" fmla="*/ 3352 w 3456"/>
                <a:gd name="T91" fmla="*/ 148 h 1008"/>
                <a:gd name="T92" fmla="*/ 3286 w 3456"/>
                <a:gd name="T93" fmla="*/ 188 h 1008"/>
                <a:gd name="T94" fmla="*/ 3206 w 3456"/>
                <a:gd name="T95" fmla="*/ 224 h 1008"/>
                <a:gd name="T96" fmla="*/ 3112 w 3456"/>
                <a:gd name="T97" fmla="*/ 258 h 1008"/>
                <a:gd name="T98" fmla="*/ 3008 w 3456"/>
                <a:gd name="T99" fmla="*/ 290 h 1008"/>
                <a:gd name="T100" fmla="*/ 2890 w 3456"/>
                <a:gd name="T101" fmla="*/ 320 h 1008"/>
                <a:gd name="T102" fmla="*/ 2762 w 3456"/>
                <a:gd name="T103" fmla="*/ 346 h 1008"/>
                <a:gd name="T104" fmla="*/ 2552 w 3456"/>
                <a:gd name="T105" fmla="*/ 380 h 1008"/>
                <a:gd name="T106" fmla="*/ 2242 w 3456"/>
                <a:gd name="T107" fmla="*/ 412 h 1008"/>
                <a:gd name="T108" fmla="*/ 1904 w 3456"/>
                <a:gd name="T109" fmla="*/ 430 h 1008"/>
                <a:gd name="T110" fmla="*/ 1728 w 3456"/>
                <a:gd name="T111" fmla="*/ 43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56" h="1008">
                  <a:moveTo>
                    <a:pt x="1728" y="432"/>
                  </a:moveTo>
                  <a:lnTo>
                    <a:pt x="1728" y="432"/>
                  </a:lnTo>
                  <a:lnTo>
                    <a:pt x="1552" y="430"/>
                  </a:lnTo>
                  <a:lnTo>
                    <a:pt x="1380" y="424"/>
                  </a:lnTo>
                  <a:lnTo>
                    <a:pt x="1214" y="412"/>
                  </a:lnTo>
                  <a:lnTo>
                    <a:pt x="1056" y="398"/>
                  </a:lnTo>
                  <a:lnTo>
                    <a:pt x="904" y="380"/>
                  </a:lnTo>
                  <a:lnTo>
                    <a:pt x="762" y="358"/>
                  </a:lnTo>
                  <a:lnTo>
                    <a:pt x="694" y="346"/>
                  </a:lnTo>
                  <a:lnTo>
                    <a:pt x="628" y="334"/>
                  </a:lnTo>
                  <a:lnTo>
                    <a:pt x="566" y="320"/>
                  </a:lnTo>
                  <a:lnTo>
                    <a:pt x="506" y="306"/>
                  </a:lnTo>
                  <a:lnTo>
                    <a:pt x="448" y="290"/>
                  </a:lnTo>
                  <a:lnTo>
                    <a:pt x="394" y="274"/>
                  </a:lnTo>
                  <a:lnTo>
                    <a:pt x="344" y="258"/>
                  </a:lnTo>
                  <a:lnTo>
                    <a:pt x="296" y="242"/>
                  </a:lnTo>
                  <a:lnTo>
                    <a:pt x="250" y="224"/>
                  </a:lnTo>
                  <a:lnTo>
                    <a:pt x="208" y="206"/>
                  </a:lnTo>
                  <a:lnTo>
                    <a:pt x="170" y="188"/>
                  </a:lnTo>
                  <a:lnTo>
                    <a:pt x="136" y="168"/>
                  </a:lnTo>
                  <a:lnTo>
                    <a:pt x="104" y="148"/>
                  </a:lnTo>
                  <a:lnTo>
                    <a:pt x="78" y="128"/>
                  </a:lnTo>
                  <a:lnTo>
                    <a:pt x="54" y="108"/>
                  </a:lnTo>
                  <a:lnTo>
                    <a:pt x="36" y="88"/>
                  </a:lnTo>
                  <a:lnTo>
                    <a:pt x="20" y="66"/>
                  </a:lnTo>
                  <a:lnTo>
                    <a:pt x="8" y="44"/>
                  </a:lnTo>
                  <a:lnTo>
                    <a:pt x="2" y="22"/>
                  </a:lnTo>
                  <a:lnTo>
                    <a:pt x="0" y="0"/>
                  </a:lnTo>
                  <a:lnTo>
                    <a:pt x="0" y="576"/>
                  </a:lnTo>
                  <a:lnTo>
                    <a:pt x="0" y="576"/>
                  </a:lnTo>
                  <a:lnTo>
                    <a:pt x="2" y="598"/>
                  </a:lnTo>
                  <a:lnTo>
                    <a:pt x="8" y="620"/>
                  </a:lnTo>
                  <a:lnTo>
                    <a:pt x="20" y="642"/>
                  </a:lnTo>
                  <a:lnTo>
                    <a:pt x="36" y="664"/>
                  </a:lnTo>
                  <a:lnTo>
                    <a:pt x="54" y="684"/>
                  </a:lnTo>
                  <a:lnTo>
                    <a:pt x="78" y="704"/>
                  </a:lnTo>
                  <a:lnTo>
                    <a:pt x="104" y="724"/>
                  </a:lnTo>
                  <a:lnTo>
                    <a:pt x="136" y="744"/>
                  </a:lnTo>
                  <a:lnTo>
                    <a:pt x="170" y="764"/>
                  </a:lnTo>
                  <a:lnTo>
                    <a:pt x="208" y="782"/>
                  </a:lnTo>
                  <a:lnTo>
                    <a:pt x="250" y="800"/>
                  </a:lnTo>
                  <a:lnTo>
                    <a:pt x="296" y="818"/>
                  </a:lnTo>
                  <a:lnTo>
                    <a:pt x="344" y="834"/>
                  </a:lnTo>
                  <a:lnTo>
                    <a:pt x="394" y="850"/>
                  </a:lnTo>
                  <a:lnTo>
                    <a:pt x="448" y="866"/>
                  </a:lnTo>
                  <a:lnTo>
                    <a:pt x="506" y="882"/>
                  </a:lnTo>
                  <a:lnTo>
                    <a:pt x="566" y="896"/>
                  </a:lnTo>
                  <a:lnTo>
                    <a:pt x="628" y="910"/>
                  </a:lnTo>
                  <a:lnTo>
                    <a:pt x="694" y="922"/>
                  </a:lnTo>
                  <a:lnTo>
                    <a:pt x="762" y="934"/>
                  </a:lnTo>
                  <a:lnTo>
                    <a:pt x="904" y="956"/>
                  </a:lnTo>
                  <a:lnTo>
                    <a:pt x="1056" y="974"/>
                  </a:lnTo>
                  <a:lnTo>
                    <a:pt x="1214" y="988"/>
                  </a:lnTo>
                  <a:lnTo>
                    <a:pt x="1380" y="1000"/>
                  </a:lnTo>
                  <a:lnTo>
                    <a:pt x="1552" y="1006"/>
                  </a:lnTo>
                  <a:lnTo>
                    <a:pt x="1728" y="1008"/>
                  </a:lnTo>
                  <a:lnTo>
                    <a:pt x="1728" y="1008"/>
                  </a:lnTo>
                  <a:lnTo>
                    <a:pt x="1904" y="1006"/>
                  </a:lnTo>
                  <a:lnTo>
                    <a:pt x="2076" y="1000"/>
                  </a:lnTo>
                  <a:lnTo>
                    <a:pt x="2242" y="988"/>
                  </a:lnTo>
                  <a:lnTo>
                    <a:pt x="2400" y="974"/>
                  </a:lnTo>
                  <a:lnTo>
                    <a:pt x="2552" y="956"/>
                  </a:lnTo>
                  <a:lnTo>
                    <a:pt x="2694" y="934"/>
                  </a:lnTo>
                  <a:lnTo>
                    <a:pt x="2762" y="922"/>
                  </a:lnTo>
                  <a:lnTo>
                    <a:pt x="2828" y="910"/>
                  </a:lnTo>
                  <a:lnTo>
                    <a:pt x="2890" y="896"/>
                  </a:lnTo>
                  <a:lnTo>
                    <a:pt x="2950" y="882"/>
                  </a:lnTo>
                  <a:lnTo>
                    <a:pt x="3008" y="866"/>
                  </a:lnTo>
                  <a:lnTo>
                    <a:pt x="3062" y="850"/>
                  </a:lnTo>
                  <a:lnTo>
                    <a:pt x="3112" y="834"/>
                  </a:lnTo>
                  <a:lnTo>
                    <a:pt x="3160" y="818"/>
                  </a:lnTo>
                  <a:lnTo>
                    <a:pt x="3206" y="800"/>
                  </a:lnTo>
                  <a:lnTo>
                    <a:pt x="3248" y="782"/>
                  </a:lnTo>
                  <a:lnTo>
                    <a:pt x="3286" y="764"/>
                  </a:lnTo>
                  <a:lnTo>
                    <a:pt x="3320" y="744"/>
                  </a:lnTo>
                  <a:lnTo>
                    <a:pt x="3352" y="724"/>
                  </a:lnTo>
                  <a:lnTo>
                    <a:pt x="3378" y="704"/>
                  </a:lnTo>
                  <a:lnTo>
                    <a:pt x="3402" y="684"/>
                  </a:lnTo>
                  <a:lnTo>
                    <a:pt x="3420" y="664"/>
                  </a:lnTo>
                  <a:lnTo>
                    <a:pt x="3436" y="642"/>
                  </a:lnTo>
                  <a:lnTo>
                    <a:pt x="3448" y="620"/>
                  </a:lnTo>
                  <a:lnTo>
                    <a:pt x="3454" y="598"/>
                  </a:lnTo>
                  <a:lnTo>
                    <a:pt x="3456" y="576"/>
                  </a:lnTo>
                  <a:lnTo>
                    <a:pt x="3456" y="0"/>
                  </a:lnTo>
                  <a:lnTo>
                    <a:pt x="3456" y="0"/>
                  </a:lnTo>
                  <a:lnTo>
                    <a:pt x="3454" y="22"/>
                  </a:lnTo>
                  <a:lnTo>
                    <a:pt x="3448" y="44"/>
                  </a:lnTo>
                  <a:lnTo>
                    <a:pt x="3436" y="66"/>
                  </a:lnTo>
                  <a:lnTo>
                    <a:pt x="3420" y="88"/>
                  </a:lnTo>
                  <a:lnTo>
                    <a:pt x="3402" y="108"/>
                  </a:lnTo>
                  <a:lnTo>
                    <a:pt x="3378" y="128"/>
                  </a:lnTo>
                  <a:lnTo>
                    <a:pt x="3352" y="148"/>
                  </a:lnTo>
                  <a:lnTo>
                    <a:pt x="3320" y="168"/>
                  </a:lnTo>
                  <a:lnTo>
                    <a:pt x="3286" y="188"/>
                  </a:lnTo>
                  <a:lnTo>
                    <a:pt x="3248" y="206"/>
                  </a:lnTo>
                  <a:lnTo>
                    <a:pt x="3206" y="224"/>
                  </a:lnTo>
                  <a:lnTo>
                    <a:pt x="3160" y="242"/>
                  </a:lnTo>
                  <a:lnTo>
                    <a:pt x="3112" y="258"/>
                  </a:lnTo>
                  <a:lnTo>
                    <a:pt x="3062" y="274"/>
                  </a:lnTo>
                  <a:lnTo>
                    <a:pt x="3008" y="290"/>
                  </a:lnTo>
                  <a:lnTo>
                    <a:pt x="2950" y="306"/>
                  </a:lnTo>
                  <a:lnTo>
                    <a:pt x="2890" y="320"/>
                  </a:lnTo>
                  <a:lnTo>
                    <a:pt x="2828" y="334"/>
                  </a:lnTo>
                  <a:lnTo>
                    <a:pt x="2762" y="346"/>
                  </a:lnTo>
                  <a:lnTo>
                    <a:pt x="2694" y="358"/>
                  </a:lnTo>
                  <a:lnTo>
                    <a:pt x="2552" y="380"/>
                  </a:lnTo>
                  <a:lnTo>
                    <a:pt x="2400" y="398"/>
                  </a:lnTo>
                  <a:lnTo>
                    <a:pt x="2242" y="412"/>
                  </a:lnTo>
                  <a:lnTo>
                    <a:pt x="2076" y="424"/>
                  </a:lnTo>
                  <a:lnTo>
                    <a:pt x="1904" y="430"/>
                  </a:lnTo>
                  <a:lnTo>
                    <a:pt x="1728" y="432"/>
                  </a:lnTo>
                  <a:lnTo>
                    <a:pt x="1728" y="432"/>
                  </a:lnTo>
                  <a:close/>
                </a:path>
              </a:pathLst>
            </a:custGeom>
            <a:gradFill rotWithShape="1">
              <a:gsLst>
                <a:gs pos="0">
                  <a:srgbClr val="B2B2B2">
                    <a:gamma/>
                    <a:shade val="51373"/>
                    <a:invGamma/>
                  </a:srgbClr>
                </a:gs>
                <a:gs pos="50000">
                  <a:srgbClr val="B2B2B2"/>
                </a:gs>
                <a:gs pos="100000">
                  <a:srgbClr val="B2B2B2">
                    <a:gamma/>
                    <a:shade val="51373"/>
                    <a:invGamma/>
                  </a:srgbClr>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8" name="Group 10"/>
          <p:cNvGrpSpPr/>
          <p:nvPr/>
        </p:nvGrpSpPr>
        <p:grpSpPr bwMode="auto">
          <a:xfrm>
            <a:off x="2151063" y="2251174"/>
            <a:ext cx="1925637" cy="966787"/>
            <a:chOff x="1728" y="792"/>
            <a:chExt cx="2304" cy="1152"/>
          </a:xfrm>
        </p:grpSpPr>
        <p:sp>
          <p:nvSpPr>
            <p:cNvPr id="9" name="Freeform 11"/>
            <p:cNvSpPr/>
            <p:nvPr/>
          </p:nvSpPr>
          <p:spPr bwMode="auto">
            <a:xfrm>
              <a:off x="1728" y="792"/>
              <a:ext cx="2304" cy="576"/>
            </a:xfrm>
            <a:custGeom>
              <a:avLst/>
              <a:gdLst>
                <a:gd name="T0" fmla="*/ 2304 w 2304"/>
                <a:gd name="T1" fmla="*/ 288 h 576"/>
                <a:gd name="T2" fmla="*/ 2298 w 2304"/>
                <a:gd name="T3" fmla="*/ 318 h 576"/>
                <a:gd name="T4" fmla="*/ 2280 w 2304"/>
                <a:gd name="T5" fmla="*/ 346 h 576"/>
                <a:gd name="T6" fmla="*/ 2252 w 2304"/>
                <a:gd name="T7" fmla="*/ 374 h 576"/>
                <a:gd name="T8" fmla="*/ 2214 w 2304"/>
                <a:gd name="T9" fmla="*/ 400 h 576"/>
                <a:gd name="T10" fmla="*/ 2164 w 2304"/>
                <a:gd name="T11" fmla="*/ 426 h 576"/>
                <a:gd name="T12" fmla="*/ 2040 w 2304"/>
                <a:gd name="T13" fmla="*/ 472 h 576"/>
                <a:gd name="T14" fmla="*/ 1884 w 2304"/>
                <a:gd name="T15" fmla="*/ 510 h 576"/>
                <a:gd name="T16" fmla="*/ 1702 w 2304"/>
                <a:gd name="T17" fmla="*/ 542 h 576"/>
                <a:gd name="T18" fmla="*/ 1494 w 2304"/>
                <a:gd name="T19" fmla="*/ 564 h 576"/>
                <a:gd name="T20" fmla="*/ 1270 w 2304"/>
                <a:gd name="T21" fmla="*/ 574 h 576"/>
                <a:gd name="T22" fmla="*/ 1152 w 2304"/>
                <a:gd name="T23" fmla="*/ 576 h 576"/>
                <a:gd name="T24" fmla="*/ 920 w 2304"/>
                <a:gd name="T25" fmla="*/ 570 h 576"/>
                <a:gd name="T26" fmla="*/ 704 w 2304"/>
                <a:gd name="T27" fmla="*/ 554 h 576"/>
                <a:gd name="T28" fmla="*/ 508 w 2304"/>
                <a:gd name="T29" fmla="*/ 526 h 576"/>
                <a:gd name="T30" fmla="*/ 338 w 2304"/>
                <a:gd name="T31" fmla="*/ 492 h 576"/>
                <a:gd name="T32" fmla="*/ 196 w 2304"/>
                <a:gd name="T33" fmla="*/ 450 h 576"/>
                <a:gd name="T34" fmla="*/ 114 w 2304"/>
                <a:gd name="T35" fmla="*/ 412 h 576"/>
                <a:gd name="T36" fmla="*/ 70 w 2304"/>
                <a:gd name="T37" fmla="*/ 388 h 576"/>
                <a:gd name="T38" fmla="*/ 36 w 2304"/>
                <a:gd name="T39" fmla="*/ 360 h 576"/>
                <a:gd name="T40" fmla="*/ 14 w 2304"/>
                <a:gd name="T41" fmla="*/ 332 h 576"/>
                <a:gd name="T42" fmla="*/ 2 w 2304"/>
                <a:gd name="T43" fmla="*/ 302 h 576"/>
                <a:gd name="T44" fmla="*/ 0 w 2304"/>
                <a:gd name="T45" fmla="*/ 288 h 576"/>
                <a:gd name="T46" fmla="*/ 6 w 2304"/>
                <a:gd name="T47" fmla="*/ 258 h 576"/>
                <a:gd name="T48" fmla="*/ 24 w 2304"/>
                <a:gd name="T49" fmla="*/ 230 h 576"/>
                <a:gd name="T50" fmla="*/ 52 w 2304"/>
                <a:gd name="T51" fmla="*/ 202 h 576"/>
                <a:gd name="T52" fmla="*/ 90 w 2304"/>
                <a:gd name="T53" fmla="*/ 176 h 576"/>
                <a:gd name="T54" fmla="*/ 140 w 2304"/>
                <a:gd name="T55" fmla="*/ 150 h 576"/>
                <a:gd name="T56" fmla="*/ 264 w 2304"/>
                <a:gd name="T57" fmla="*/ 104 h 576"/>
                <a:gd name="T58" fmla="*/ 420 w 2304"/>
                <a:gd name="T59" fmla="*/ 66 h 576"/>
                <a:gd name="T60" fmla="*/ 602 w 2304"/>
                <a:gd name="T61" fmla="*/ 34 h 576"/>
                <a:gd name="T62" fmla="*/ 810 w 2304"/>
                <a:gd name="T63" fmla="*/ 12 h 576"/>
                <a:gd name="T64" fmla="*/ 1034 w 2304"/>
                <a:gd name="T65" fmla="*/ 2 h 576"/>
                <a:gd name="T66" fmla="*/ 1152 w 2304"/>
                <a:gd name="T67" fmla="*/ 0 h 576"/>
                <a:gd name="T68" fmla="*/ 1384 w 2304"/>
                <a:gd name="T69" fmla="*/ 6 h 576"/>
                <a:gd name="T70" fmla="*/ 1600 w 2304"/>
                <a:gd name="T71" fmla="*/ 22 h 576"/>
                <a:gd name="T72" fmla="*/ 1796 w 2304"/>
                <a:gd name="T73" fmla="*/ 50 h 576"/>
                <a:gd name="T74" fmla="*/ 1966 w 2304"/>
                <a:gd name="T75" fmla="*/ 84 h 576"/>
                <a:gd name="T76" fmla="*/ 2108 w 2304"/>
                <a:gd name="T77" fmla="*/ 126 h 576"/>
                <a:gd name="T78" fmla="*/ 2190 w 2304"/>
                <a:gd name="T79" fmla="*/ 164 h 576"/>
                <a:gd name="T80" fmla="*/ 2234 w 2304"/>
                <a:gd name="T81" fmla="*/ 188 h 576"/>
                <a:gd name="T82" fmla="*/ 2268 w 2304"/>
                <a:gd name="T83" fmla="*/ 216 h 576"/>
                <a:gd name="T84" fmla="*/ 2290 w 2304"/>
                <a:gd name="T85" fmla="*/ 244 h 576"/>
                <a:gd name="T86" fmla="*/ 2302 w 2304"/>
                <a:gd name="T87" fmla="*/ 274 h 576"/>
                <a:gd name="T88" fmla="*/ 2304 w 2304"/>
                <a:gd name="T89" fmla="*/ 28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04" h="576">
                  <a:moveTo>
                    <a:pt x="2304" y="288"/>
                  </a:moveTo>
                  <a:lnTo>
                    <a:pt x="2304" y="288"/>
                  </a:lnTo>
                  <a:lnTo>
                    <a:pt x="2302" y="302"/>
                  </a:lnTo>
                  <a:lnTo>
                    <a:pt x="2298" y="318"/>
                  </a:lnTo>
                  <a:lnTo>
                    <a:pt x="2290" y="332"/>
                  </a:lnTo>
                  <a:lnTo>
                    <a:pt x="2280" y="346"/>
                  </a:lnTo>
                  <a:lnTo>
                    <a:pt x="2268" y="360"/>
                  </a:lnTo>
                  <a:lnTo>
                    <a:pt x="2252" y="374"/>
                  </a:lnTo>
                  <a:lnTo>
                    <a:pt x="2234" y="388"/>
                  </a:lnTo>
                  <a:lnTo>
                    <a:pt x="2214" y="400"/>
                  </a:lnTo>
                  <a:lnTo>
                    <a:pt x="2190" y="412"/>
                  </a:lnTo>
                  <a:lnTo>
                    <a:pt x="2164" y="426"/>
                  </a:lnTo>
                  <a:lnTo>
                    <a:pt x="2108" y="450"/>
                  </a:lnTo>
                  <a:lnTo>
                    <a:pt x="2040" y="472"/>
                  </a:lnTo>
                  <a:lnTo>
                    <a:pt x="1966" y="492"/>
                  </a:lnTo>
                  <a:lnTo>
                    <a:pt x="1884" y="510"/>
                  </a:lnTo>
                  <a:lnTo>
                    <a:pt x="1796" y="526"/>
                  </a:lnTo>
                  <a:lnTo>
                    <a:pt x="1702" y="542"/>
                  </a:lnTo>
                  <a:lnTo>
                    <a:pt x="1600" y="554"/>
                  </a:lnTo>
                  <a:lnTo>
                    <a:pt x="1494" y="564"/>
                  </a:lnTo>
                  <a:lnTo>
                    <a:pt x="1384" y="570"/>
                  </a:lnTo>
                  <a:lnTo>
                    <a:pt x="1270" y="574"/>
                  </a:lnTo>
                  <a:lnTo>
                    <a:pt x="1152" y="576"/>
                  </a:lnTo>
                  <a:lnTo>
                    <a:pt x="1152" y="576"/>
                  </a:lnTo>
                  <a:lnTo>
                    <a:pt x="1034" y="574"/>
                  </a:lnTo>
                  <a:lnTo>
                    <a:pt x="920" y="570"/>
                  </a:lnTo>
                  <a:lnTo>
                    <a:pt x="810" y="564"/>
                  </a:lnTo>
                  <a:lnTo>
                    <a:pt x="704" y="554"/>
                  </a:lnTo>
                  <a:lnTo>
                    <a:pt x="602" y="542"/>
                  </a:lnTo>
                  <a:lnTo>
                    <a:pt x="508" y="526"/>
                  </a:lnTo>
                  <a:lnTo>
                    <a:pt x="420" y="510"/>
                  </a:lnTo>
                  <a:lnTo>
                    <a:pt x="338" y="492"/>
                  </a:lnTo>
                  <a:lnTo>
                    <a:pt x="264" y="472"/>
                  </a:lnTo>
                  <a:lnTo>
                    <a:pt x="196" y="450"/>
                  </a:lnTo>
                  <a:lnTo>
                    <a:pt x="140" y="426"/>
                  </a:lnTo>
                  <a:lnTo>
                    <a:pt x="114" y="412"/>
                  </a:lnTo>
                  <a:lnTo>
                    <a:pt x="90" y="400"/>
                  </a:lnTo>
                  <a:lnTo>
                    <a:pt x="70" y="388"/>
                  </a:lnTo>
                  <a:lnTo>
                    <a:pt x="52" y="374"/>
                  </a:lnTo>
                  <a:lnTo>
                    <a:pt x="36" y="360"/>
                  </a:lnTo>
                  <a:lnTo>
                    <a:pt x="24" y="346"/>
                  </a:lnTo>
                  <a:lnTo>
                    <a:pt x="14" y="332"/>
                  </a:lnTo>
                  <a:lnTo>
                    <a:pt x="6" y="318"/>
                  </a:lnTo>
                  <a:lnTo>
                    <a:pt x="2" y="302"/>
                  </a:lnTo>
                  <a:lnTo>
                    <a:pt x="0" y="288"/>
                  </a:lnTo>
                  <a:lnTo>
                    <a:pt x="0" y="288"/>
                  </a:lnTo>
                  <a:lnTo>
                    <a:pt x="2" y="274"/>
                  </a:lnTo>
                  <a:lnTo>
                    <a:pt x="6" y="258"/>
                  </a:lnTo>
                  <a:lnTo>
                    <a:pt x="14" y="244"/>
                  </a:lnTo>
                  <a:lnTo>
                    <a:pt x="24" y="230"/>
                  </a:lnTo>
                  <a:lnTo>
                    <a:pt x="36" y="216"/>
                  </a:lnTo>
                  <a:lnTo>
                    <a:pt x="52" y="202"/>
                  </a:lnTo>
                  <a:lnTo>
                    <a:pt x="70" y="188"/>
                  </a:lnTo>
                  <a:lnTo>
                    <a:pt x="90" y="176"/>
                  </a:lnTo>
                  <a:lnTo>
                    <a:pt x="114" y="164"/>
                  </a:lnTo>
                  <a:lnTo>
                    <a:pt x="140" y="150"/>
                  </a:lnTo>
                  <a:lnTo>
                    <a:pt x="196" y="126"/>
                  </a:lnTo>
                  <a:lnTo>
                    <a:pt x="264" y="104"/>
                  </a:lnTo>
                  <a:lnTo>
                    <a:pt x="338" y="84"/>
                  </a:lnTo>
                  <a:lnTo>
                    <a:pt x="420" y="66"/>
                  </a:lnTo>
                  <a:lnTo>
                    <a:pt x="508" y="50"/>
                  </a:lnTo>
                  <a:lnTo>
                    <a:pt x="602" y="34"/>
                  </a:lnTo>
                  <a:lnTo>
                    <a:pt x="704" y="22"/>
                  </a:lnTo>
                  <a:lnTo>
                    <a:pt x="810" y="12"/>
                  </a:lnTo>
                  <a:lnTo>
                    <a:pt x="920" y="6"/>
                  </a:lnTo>
                  <a:lnTo>
                    <a:pt x="1034" y="2"/>
                  </a:lnTo>
                  <a:lnTo>
                    <a:pt x="1152" y="0"/>
                  </a:lnTo>
                  <a:lnTo>
                    <a:pt x="1152" y="0"/>
                  </a:lnTo>
                  <a:lnTo>
                    <a:pt x="1270" y="2"/>
                  </a:lnTo>
                  <a:lnTo>
                    <a:pt x="1384" y="6"/>
                  </a:lnTo>
                  <a:lnTo>
                    <a:pt x="1494" y="12"/>
                  </a:lnTo>
                  <a:lnTo>
                    <a:pt x="1600" y="22"/>
                  </a:lnTo>
                  <a:lnTo>
                    <a:pt x="1702" y="34"/>
                  </a:lnTo>
                  <a:lnTo>
                    <a:pt x="1796" y="50"/>
                  </a:lnTo>
                  <a:lnTo>
                    <a:pt x="1884" y="66"/>
                  </a:lnTo>
                  <a:lnTo>
                    <a:pt x="1966" y="84"/>
                  </a:lnTo>
                  <a:lnTo>
                    <a:pt x="2040" y="104"/>
                  </a:lnTo>
                  <a:lnTo>
                    <a:pt x="2108" y="126"/>
                  </a:lnTo>
                  <a:lnTo>
                    <a:pt x="2164" y="150"/>
                  </a:lnTo>
                  <a:lnTo>
                    <a:pt x="2190" y="164"/>
                  </a:lnTo>
                  <a:lnTo>
                    <a:pt x="2214" y="176"/>
                  </a:lnTo>
                  <a:lnTo>
                    <a:pt x="2234" y="188"/>
                  </a:lnTo>
                  <a:lnTo>
                    <a:pt x="2252" y="202"/>
                  </a:lnTo>
                  <a:lnTo>
                    <a:pt x="2268" y="216"/>
                  </a:lnTo>
                  <a:lnTo>
                    <a:pt x="2280" y="230"/>
                  </a:lnTo>
                  <a:lnTo>
                    <a:pt x="2290" y="244"/>
                  </a:lnTo>
                  <a:lnTo>
                    <a:pt x="2298" y="258"/>
                  </a:lnTo>
                  <a:lnTo>
                    <a:pt x="2302" y="274"/>
                  </a:lnTo>
                  <a:lnTo>
                    <a:pt x="2304" y="288"/>
                  </a:lnTo>
                  <a:lnTo>
                    <a:pt x="2304" y="288"/>
                  </a:lnTo>
                  <a:close/>
                </a:path>
              </a:pathLst>
            </a:custGeom>
            <a:solidFill>
              <a:srgbClr val="EAEAEA"/>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 name="Freeform 12"/>
            <p:cNvSpPr/>
            <p:nvPr/>
          </p:nvSpPr>
          <p:spPr bwMode="auto">
            <a:xfrm>
              <a:off x="1728" y="1080"/>
              <a:ext cx="2304" cy="864"/>
            </a:xfrm>
            <a:custGeom>
              <a:avLst/>
              <a:gdLst>
                <a:gd name="T0" fmla="*/ 1152 w 2304"/>
                <a:gd name="T1" fmla="*/ 288 h 864"/>
                <a:gd name="T2" fmla="*/ 920 w 2304"/>
                <a:gd name="T3" fmla="*/ 282 h 864"/>
                <a:gd name="T4" fmla="*/ 704 w 2304"/>
                <a:gd name="T5" fmla="*/ 266 h 864"/>
                <a:gd name="T6" fmla="*/ 508 w 2304"/>
                <a:gd name="T7" fmla="*/ 238 h 864"/>
                <a:gd name="T8" fmla="*/ 338 w 2304"/>
                <a:gd name="T9" fmla="*/ 204 h 864"/>
                <a:gd name="T10" fmla="*/ 196 w 2304"/>
                <a:gd name="T11" fmla="*/ 162 h 864"/>
                <a:gd name="T12" fmla="*/ 114 w 2304"/>
                <a:gd name="T13" fmla="*/ 124 h 864"/>
                <a:gd name="T14" fmla="*/ 70 w 2304"/>
                <a:gd name="T15" fmla="*/ 100 h 864"/>
                <a:gd name="T16" fmla="*/ 36 w 2304"/>
                <a:gd name="T17" fmla="*/ 72 h 864"/>
                <a:gd name="T18" fmla="*/ 14 w 2304"/>
                <a:gd name="T19" fmla="*/ 44 h 864"/>
                <a:gd name="T20" fmla="*/ 2 w 2304"/>
                <a:gd name="T21" fmla="*/ 14 h 864"/>
                <a:gd name="T22" fmla="*/ 0 w 2304"/>
                <a:gd name="T23" fmla="*/ 576 h 864"/>
                <a:gd name="T24" fmla="*/ 2 w 2304"/>
                <a:gd name="T25" fmla="*/ 590 h 864"/>
                <a:gd name="T26" fmla="*/ 14 w 2304"/>
                <a:gd name="T27" fmla="*/ 620 h 864"/>
                <a:gd name="T28" fmla="*/ 36 w 2304"/>
                <a:gd name="T29" fmla="*/ 648 h 864"/>
                <a:gd name="T30" fmla="*/ 70 w 2304"/>
                <a:gd name="T31" fmla="*/ 676 h 864"/>
                <a:gd name="T32" fmla="*/ 114 w 2304"/>
                <a:gd name="T33" fmla="*/ 700 h 864"/>
                <a:gd name="T34" fmla="*/ 196 w 2304"/>
                <a:gd name="T35" fmla="*/ 738 h 864"/>
                <a:gd name="T36" fmla="*/ 338 w 2304"/>
                <a:gd name="T37" fmla="*/ 780 h 864"/>
                <a:gd name="T38" fmla="*/ 508 w 2304"/>
                <a:gd name="T39" fmla="*/ 814 h 864"/>
                <a:gd name="T40" fmla="*/ 704 w 2304"/>
                <a:gd name="T41" fmla="*/ 842 h 864"/>
                <a:gd name="T42" fmla="*/ 920 w 2304"/>
                <a:gd name="T43" fmla="*/ 858 h 864"/>
                <a:gd name="T44" fmla="*/ 1152 w 2304"/>
                <a:gd name="T45" fmla="*/ 864 h 864"/>
                <a:gd name="T46" fmla="*/ 1270 w 2304"/>
                <a:gd name="T47" fmla="*/ 862 h 864"/>
                <a:gd name="T48" fmla="*/ 1494 w 2304"/>
                <a:gd name="T49" fmla="*/ 852 h 864"/>
                <a:gd name="T50" fmla="*/ 1702 w 2304"/>
                <a:gd name="T51" fmla="*/ 830 h 864"/>
                <a:gd name="T52" fmla="*/ 1884 w 2304"/>
                <a:gd name="T53" fmla="*/ 798 h 864"/>
                <a:gd name="T54" fmla="*/ 2040 w 2304"/>
                <a:gd name="T55" fmla="*/ 760 h 864"/>
                <a:gd name="T56" fmla="*/ 2164 w 2304"/>
                <a:gd name="T57" fmla="*/ 714 h 864"/>
                <a:gd name="T58" fmla="*/ 2214 w 2304"/>
                <a:gd name="T59" fmla="*/ 688 h 864"/>
                <a:gd name="T60" fmla="*/ 2252 w 2304"/>
                <a:gd name="T61" fmla="*/ 662 h 864"/>
                <a:gd name="T62" fmla="*/ 2280 w 2304"/>
                <a:gd name="T63" fmla="*/ 634 h 864"/>
                <a:gd name="T64" fmla="*/ 2298 w 2304"/>
                <a:gd name="T65" fmla="*/ 606 h 864"/>
                <a:gd name="T66" fmla="*/ 2304 w 2304"/>
                <a:gd name="T67" fmla="*/ 576 h 864"/>
                <a:gd name="T68" fmla="*/ 2304 w 2304"/>
                <a:gd name="T69" fmla="*/ 0 h 864"/>
                <a:gd name="T70" fmla="*/ 2298 w 2304"/>
                <a:gd name="T71" fmla="*/ 30 h 864"/>
                <a:gd name="T72" fmla="*/ 2280 w 2304"/>
                <a:gd name="T73" fmla="*/ 58 h 864"/>
                <a:gd name="T74" fmla="*/ 2252 w 2304"/>
                <a:gd name="T75" fmla="*/ 86 h 864"/>
                <a:gd name="T76" fmla="*/ 2214 w 2304"/>
                <a:gd name="T77" fmla="*/ 112 h 864"/>
                <a:gd name="T78" fmla="*/ 2164 w 2304"/>
                <a:gd name="T79" fmla="*/ 138 h 864"/>
                <a:gd name="T80" fmla="*/ 2040 w 2304"/>
                <a:gd name="T81" fmla="*/ 184 h 864"/>
                <a:gd name="T82" fmla="*/ 1884 w 2304"/>
                <a:gd name="T83" fmla="*/ 222 h 864"/>
                <a:gd name="T84" fmla="*/ 1702 w 2304"/>
                <a:gd name="T85" fmla="*/ 254 h 864"/>
                <a:gd name="T86" fmla="*/ 1494 w 2304"/>
                <a:gd name="T87" fmla="*/ 276 h 864"/>
                <a:gd name="T88" fmla="*/ 1270 w 2304"/>
                <a:gd name="T89" fmla="*/ 286 h 864"/>
                <a:gd name="T90" fmla="*/ 1152 w 2304"/>
                <a:gd name="T91" fmla="*/ 28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4" h="864">
                  <a:moveTo>
                    <a:pt x="1152" y="288"/>
                  </a:moveTo>
                  <a:lnTo>
                    <a:pt x="1152" y="288"/>
                  </a:lnTo>
                  <a:lnTo>
                    <a:pt x="1034" y="286"/>
                  </a:lnTo>
                  <a:lnTo>
                    <a:pt x="920" y="282"/>
                  </a:lnTo>
                  <a:lnTo>
                    <a:pt x="810" y="276"/>
                  </a:lnTo>
                  <a:lnTo>
                    <a:pt x="704" y="266"/>
                  </a:lnTo>
                  <a:lnTo>
                    <a:pt x="602" y="254"/>
                  </a:lnTo>
                  <a:lnTo>
                    <a:pt x="508" y="238"/>
                  </a:lnTo>
                  <a:lnTo>
                    <a:pt x="420" y="222"/>
                  </a:lnTo>
                  <a:lnTo>
                    <a:pt x="338" y="204"/>
                  </a:lnTo>
                  <a:lnTo>
                    <a:pt x="264" y="184"/>
                  </a:lnTo>
                  <a:lnTo>
                    <a:pt x="196" y="162"/>
                  </a:lnTo>
                  <a:lnTo>
                    <a:pt x="140" y="138"/>
                  </a:lnTo>
                  <a:lnTo>
                    <a:pt x="114" y="124"/>
                  </a:lnTo>
                  <a:lnTo>
                    <a:pt x="90" y="112"/>
                  </a:lnTo>
                  <a:lnTo>
                    <a:pt x="70" y="100"/>
                  </a:lnTo>
                  <a:lnTo>
                    <a:pt x="52" y="86"/>
                  </a:lnTo>
                  <a:lnTo>
                    <a:pt x="36" y="72"/>
                  </a:lnTo>
                  <a:lnTo>
                    <a:pt x="24" y="58"/>
                  </a:lnTo>
                  <a:lnTo>
                    <a:pt x="14" y="44"/>
                  </a:lnTo>
                  <a:lnTo>
                    <a:pt x="6" y="30"/>
                  </a:lnTo>
                  <a:lnTo>
                    <a:pt x="2" y="14"/>
                  </a:lnTo>
                  <a:lnTo>
                    <a:pt x="0" y="0"/>
                  </a:lnTo>
                  <a:lnTo>
                    <a:pt x="0" y="576"/>
                  </a:lnTo>
                  <a:lnTo>
                    <a:pt x="0" y="576"/>
                  </a:lnTo>
                  <a:lnTo>
                    <a:pt x="2" y="590"/>
                  </a:lnTo>
                  <a:lnTo>
                    <a:pt x="6" y="606"/>
                  </a:lnTo>
                  <a:lnTo>
                    <a:pt x="14" y="620"/>
                  </a:lnTo>
                  <a:lnTo>
                    <a:pt x="24" y="634"/>
                  </a:lnTo>
                  <a:lnTo>
                    <a:pt x="36" y="648"/>
                  </a:lnTo>
                  <a:lnTo>
                    <a:pt x="52" y="662"/>
                  </a:lnTo>
                  <a:lnTo>
                    <a:pt x="70" y="676"/>
                  </a:lnTo>
                  <a:lnTo>
                    <a:pt x="90" y="688"/>
                  </a:lnTo>
                  <a:lnTo>
                    <a:pt x="114" y="700"/>
                  </a:lnTo>
                  <a:lnTo>
                    <a:pt x="140" y="714"/>
                  </a:lnTo>
                  <a:lnTo>
                    <a:pt x="196" y="738"/>
                  </a:lnTo>
                  <a:lnTo>
                    <a:pt x="264" y="760"/>
                  </a:lnTo>
                  <a:lnTo>
                    <a:pt x="338" y="780"/>
                  </a:lnTo>
                  <a:lnTo>
                    <a:pt x="420" y="798"/>
                  </a:lnTo>
                  <a:lnTo>
                    <a:pt x="508" y="814"/>
                  </a:lnTo>
                  <a:lnTo>
                    <a:pt x="602" y="830"/>
                  </a:lnTo>
                  <a:lnTo>
                    <a:pt x="704" y="842"/>
                  </a:lnTo>
                  <a:lnTo>
                    <a:pt x="810" y="852"/>
                  </a:lnTo>
                  <a:lnTo>
                    <a:pt x="920" y="858"/>
                  </a:lnTo>
                  <a:lnTo>
                    <a:pt x="1034" y="862"/>
                  </a:lnTo>
                  <a:lnTo>
                    <a:pt x="1152" y="864"/>
                  </a:lnTo>
                  <a:lnTo>
                    <a:pt x="1152" y="864"/>
                  </a:lnTo>
                  <a:lnTo>
                    <a:pt x="1270" y="862"/>
                  </a:lnTo>
                  <a:lnTo>
                    <a:pt x="1384" y="858"/>
                  </a:lnTo>
                  <a:lnTo>
                    <a:pt x="1494" y="852"/>
                  </a:lnTo>
                  <a:lnTo>
                    <a:pt x="1600" y="842"/>
                  </a:lnTo>
                  <a:lnTo>
                    <a:pt x="1702" y="830"/>
                  </a:lnTo>
                  <a:lnTo>
                    <a:pt x="1796" y="814"/>
                  </a:lnTo>
                  <a:lnTo>
                    <a:pt x="1884" y="798"/>
                  </a:lnTo>
                  <a:lnTo>
                    <a:pt x="1966" y="780"/>
                  </a:lnTo>
                  <a:lnTo>
                    <a:pt x="2040" y="760"/>
                  </a:lnTo>
                  <a:lnTo>
                    <a:pt x="2108" y="738"/>
                  </a:lnTo>
                  <a:lnTo>
                    <a:pt x="2164" y="714"/>
                  </a:lnTo>
                  <a:lnTo>
                    <a:pt x="2190" y="700"/>
                  </a:lnTo>
                  <a:lnTo>
                    <a:pt x="2214" y="688"/>
                  </a:lnTo>
                  <a:lnTo>
                    <a:pt x="2234" y="676"/>
                  </a:lnTo>
                  <a:lnTo>
                    <a:pt x="2252" y="662"/>
                  </a:lnTo>
                  <a:lnTo>
                    <a:pt x="2268" y="648"/>
                  </a:lnTo>
                  <a:lnTo>
                    <a:pt x="2280" y="634"/>
                  </a:lnTo>
                  <a:lnTo>
                    <a:pt x="2290" y="620"/>
                  </a:lnTo>
                  <a:lnTo>
                    <a:pt x="2298" y="606"/>
                  </a:lnTo>
                  <a:lnTo>
                    <a:pt x="2302" y="590"/>
                  </a:lnTo>
                  <a:lnTo>
                    <a:pt x="2304" y="576"/>
                  </a:lnTo>
                  <a:lnTo>
                    <a:pt x="2304" y="0"/>
                  </a:lnTo>
                  <a:lnTo>
                    <a:pt x="2304" y="0"/>
                  </a:lnTo>
                  <a:lnTo>
                    <a:pt x="2302" y="14"/>
                  </a:lnTo>
                  <a:lnTo>
                    <a:pt x="2298" y="30"/>
                  </a:lnTo>
                  <a:lnTo>
                    <a:pt x="2290" y="44"/>
                  </a:lnTo>
                  <a:lnTo>
                    <a:pt x="2280" y="58"/>
                  </a:lnTo>
                  <a:lnTo>
                    <a:pt x="2268" y="72"/>
                  </a:lnTo>
                  <a:lnTo>
                    <a:pt x="2252" y="86"/>
                  </a:lnTo>
                  <a:lnTo>
                    <a:pt x="2234" y="100"/>
                  </a:lnTo>
                  <a:lnTo>
                    <a:pt x="2214" y="112"/>
                  </a:lnTo>
                  <a:lnTo>
                    <a:pt x="2190" y="124"/>
                  </a:lnTo>
                  <a:lnTo>
                    <a:pt x="2164" y="138"/>
                  </a:lnTo>
                  <a:lnTo>
                    <a:pt x="2108" y="162"/>
                  </a:lnTo>
                  <a:lnTo>
                    <a:pt x="2040" y="184"/>
                  </a:lnTo>
                  <a:lnTo>
                    <a:pt x="1966" y="204"/>
                  </a:lnTo>
                  <a:lnTo>
                    <a:pt x="1884" y="222"/>
                  </a:lnTo>
                  <a:lnTo>
                    <a:pt x="1796" y="238"/>
                  </a:lnTo>
                  <a:lnTo>
                    <a:pt x="1702" y="254"/>
                  </a:lnTo>
                  <a:lnTo>
                    <a:pt x="1600" y="266"/>
                  </a:lnTo>
                  <a:lnTo>
                    <a:pt x="1494" y="276"/>
                  </a:lnTo>
                  <a:lnTo>
                    <a:pt x="1384" y="282"/>
                  </a:lnTo>
                  <a:lnTo>
                    <a:pt x="1270" y="286"/>
                  </a:lnTo>
                  <a:lnTo>
                    <a:pt x="1152" y="288"/>
                  </a:lnTo>
                  <a:lnTo>
                    <a:pt x="1152" y="288"/>
                  </a:lnTo>
                  <a:close/>
                </a:path>
              </a:pathLst>
            </a:custGeom>
            <a:gradFill rotWithShape="1">
              <a:gsLst>
                <a:gs pos="0">
                  <a:srgbClr val="B2B2B2">
                    <a:gamma/>
                    <a:shade val="51373"/>
                    <a:invGamma/>
                  </a:srgbClr>
                </a:gs>
                <a:gs pos="50000">
                  <a:srgbClr val="B2B2B2"/>
                </a:gs>
                <a:gs pos="100000">
                  <a:srgbClr val="B2B2B2">
                    <a:gamma/>
                    <a:shade val="51373"/>
                    <a:invGamma/>
                  </a:srgbClr>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11" name="AutoShape 13"/>
          <p:cNvSpPr>
            <a:spLocks noChangeArrowheads="1"/>
          </p:cNvSpPr>
          <p:nvPr/>
        </p:nvSpPr>
        <p:spPr bwMode="auto">
          <a:xfrm>
            <a:off x="2752725" y="1730474"/>
            <a:ext cx="739775" cy="755650"/>
          </a:xfrm>
          <a:prstGeom prst="upArrow">
            <a:avLst>
              <a:gd name="adj1" fmla="val 52463"/>
              <a:gd name="adj2" fmla="val 46136"/>
            </a:avLst>
          </a:prstGeom>
          <a:gradFill rotWithShape="1">
            <a:gsLst>
              <a:gs pos="0">
                <a:schemeClr val="bg1"/>
              </a:gs>
              <a:gs pos="100000">
                <a:schemeClr val="bg1">
                  <a:gamma/>
                  <a:tint val="0"/>
                  <a:invGamma/>
                  <a:alpha val="0"/>
                </a:schemeClr>
              </a:gs>
            </a:gsLst>
            <a:lin ang="5400000" scaled="1"/>
          </a:gradFill>
          <a:ln>
            <a:noFill/>
          </a:ln>
          <a:effectLst/>
          <a:extLs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12" name="Group 14"/>
          <p:cNvGrpSpPr/>
          <p:nvPr/>
        </p:nvGrpSpPr>
        <p:grpSpPr bwMode="auto">
          <a:xfrm>
            <a:off x="2632075" y="1082774"/>
            <a:ext cx="963613" cy="725487"/>
            <a:chOff x="2304" y="-216"/>
            <a:chExt cx="1152" cy="864"/>
          </a:xfrm>
        </p:grpSpPr>
        <p:sp>
          <p:nvSpPr>
            <p:cNvPr id="13" name="Freeform 15"/>
            <p:cNvSpPr/>
            <p:nvPr/>
          </p:nvSpPr>
          <p:spPr bwMode="auto">
            <a:xfrm>
              <a:off x="2304" y="-216"/>
              <a:ext cx="1152" cy="288"/>
            </a:xfrm>
            <a:custGeom>
              <a:avLst/>
              <a:gdLst>
                <a:gd name="T0" fmla="*/ 1152 w 1152"/>
                <a:gd name="T1" fmla="*/ 144 h 288"/>
                <a:gd name="T2" fmla="*/ 1150 w 1152"/>
                <a:gd name="T3" fmla="*/ 158 h 288"/>
                <a:gd name="T4" fmla="*/ 1140 w 1152"/>
                <a:gd name="T5" fmla="*/ 174 h 288"/>
                <a:gd name="T6" fmla="*/ 1106 w 1152"/>
                <a:gd name="T7" fmla="*/ 200 h 288"/>
                <a:gd name="T8" fmla="*/ 1054 w 1152"/>
                <a:gd name="T9" fmla="*/ 224 h 288"/>
                <a:gd name="T10" fmla="*/ 984 w 1152"/>
                <a:gd name="T11" fmla="*/ 246 h 288"/>
                <a:gd name="T12" fmla="*/ 898 w 1152"/>
                <a:gd name="T13" fmla="*/ 264 h 288"/>
                <a:gd name="T14" fmla="*/ 800 w 1152"/>
                <a:gd name="T15" fmla="*/ 276 h 288"/>
                <a:gd name="T16" fmla="*/ 692 w 1152"/>
                <a:gd name="T17" fmla="*/ 286 h 288"/>
                <a:gd name="T18" fmla="*/ 576 w 1152"/>
                <a:gd name="T19" fmla="*/ 288 h 288"/>
                <a:gd name="T20" fmla="*/ 518 w 1152"/>
                <a:gd name="T21" fmla="*/ 288 h 288"/>
                <a:gd name="T22" fmla="*/ 404 w 1152"/>
                <a:gd name="T23" fmla="*/ 282 h 288"/>
                <a:gd name="T24" fmla="*/ 302 w 1152"/>
                <a:gd name="T25" fmla="*/ 270 h 288"/>
                <a:gd name="T26" fmla="*/ 210 w 1152"/>
                <a:gd name="T27" fmla="*/ 256 h 288"/>
                <a:gd name="T28" fmla="*/ 132 w 1152"/>
                <a:gd name="T29" fmla="*/ 236 h 288"/>
                <a:gd name="T30" fmla="*/ 70 w 1152"/>
                <a:gd name="T31" fmla="*/ 212 h 288"/>
                <a:gd name="T32" fmla="*/ 26 w 1152"/>
                <a:gd name="T33" fmla="*/ 186 h 288"/>
                <a:gd name="T34" fmla="*/ 6 w 1152"/>
                <a:gd name="T35" fmla="*/ 166 h 288"/>
                <a:gd name="T36" fmla="*/ 0 w 1152"/>
                <a:gd name="T37" fmla="*/ 152 h 288"/>
                <a:gd name="T38" fmla="*/ 0 w 1152"/>
                <a:gd name="T39" fmla="*/ 144 h 288"/>
                <a:gd name="T40" fmla="*/ 2 w 1152"/>
                <a:gd name="T41" fmla="*/ 130 h 288"/>
                <a:gd name="T42" fmla="*/ 12 w 1152"/>
                <a:gd name="T43" fmla="*/ 114 h 288"/>
                <a:gd name="T44" fmla="*/ 46 w 1152"/>
                <a:gd name="T45" fmla="*/ 88 h 288"/>
                <a:gd name="T46" fmla="*/ 98 w 1152"/>
                <a:gd name="T47" fmla="*/ 64 h 288"/>
                <a:gd name="T48" fmla="*/ 168 w 1152"/>
                <a:gd name="T49" fmla="*/ 42 h 288"/>
                <a:gd name="T50" fmla="*/ 254 w 1152"/>
                <a:gd name="T51" fmla="*/ 24 h 288"/>
                <a:gd name="T52" fmla="*/ 352 w 1152"/>
                <a:gd name="T53" fmla="*/ 12 h 288"/>
                <a:gd name="T54" fmla="*/ 460 w 1152"/>
                <a:gd name="T55" fmla="*/ 2 h 288"/>
                <a:gd name="T56" fmla="*/ 576 w 1152"/>
                <a:gd name="T57" fmla="*/ 0 h 288"/>
                <a:gd name="T58" fmla="*/ 634 w 1152"/>
                <a:gd name="T59" fmla="*/ 0 h 288"/>
                <a:gd name="T60" fmla="*/ 748 w 1152"/>
                <a:gd name="T61" fmla="*/ 6 h 288"/>
                <a:gd name="T62" fmla="*/ 850 w 1152"/>
                <a:gd name="T63" fmla="*/ 18 h 288"/>
                <a:gd name="T64" fmla="*/ 942 w 1152"/>
                <a:gd name="T65" fmla="*/ 32 h 288"/>
                <a:gd name="T66" fmla="*/ 1020 w 1152"/>
                <a:gd name="T67" fmla="*/ 52 h 288"/>
                <a:gd name="T68" fmla="*/ 1082 w 1152"/>
                <a:gd name="T69" fmla="*/ 76 h 288"/>
                <a:gd name="T70" fmla="*/ 1126 w 1152"/>
                <a:gd name="T71" fmla="*/ 102 h 288"/>
                <a:gd name="T72" fmla="*/ 1146 w 1152"/>
                <a:gd name="T73" fmla="*/ 122 h 288"/>
                <a:gd name="T74" fmla="*/ 1152 w 1152"/>
                <a:gd name="T75" fmla="*/ 136 h 288"/>
                <a:gd name="T76" fmla="*/ 1152 w 1152"/>
                <a:gd name="T77"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2" h="288">
                  <a:moveTo>
                    <a:pt x="1152" y="144"/>
                  </a:moveTo>
                  <a:lnTo>
                    <a:pt x="1152" y="144"/>
                  </a:lnTo>
                  <a:lnTo>
                    <a:pt x="1152" y="152"/>
                  </a:lnTo>
                  <a:lnTo>
                    <a:pt x="1150" y="158"/>
                  </a:lnTo>
                  <a:lnTo>
                    <a:pt x="1146" y="166"/>
                  </a:lnTo>
                  <a:lnTo>
                    <a:pt x="1140" y="174"/>
                  </a:lnTo>
                  <a:lnTo>
                    <a:pt x="1126" y="186"/>
                  </a:lnTo>
                  <a:lnTo>
                    <a:pt x="1106" y="200"/>
                  </a:lnTo>
                  <a:lnTo>
                    <a:pt x="1082" y="212"/>
                  </a:lnTo>
                  <a:lnTo>
                    <a:pt x="1054" y="224"/>
                  </a:lnTo>
                  <a:lnTo>
                    <a:pt x="1020" y="236"/>
                  </a:lnTo>
                  <a:lnTo>
                    <a:pt x="984" y="246"/>
                  </a:lnTo>
                  <a:lnTo>
                    <a:pt x="942" y="256"/>
                  </a:lnTo>
                  <a:lnTo>
                    <a:pt x="898" y="264"/>
                  </a:lnTo>
                  <a:lnTo>
                    <a:pt x="850" y="270"/>
                  </a:lnTo>
                  <a:lnTo>
                    <a:pt x="800" y="276"/>
                  </a:lnTo>
                  <a:lnTo>
                    <a:pt x="748" y="282"/>
                  </a:lnTo>
                  <a:lnTo>
                    <a:pt x="692" y="286"/>
                  </a:lnTo>
                  <a:lnTo>
                    <a:pt x="634" y="288"/>
                  </a:lnTo>
                  <a:lnTo>
                    <a:pt x="576" y="288"/>
                  </a:lnTo>
                  <a:lnTo>
                    <a:pt x="576" y="288"/>
                  </a:lnTo>
                  <a:lnTo>
                    <a:pt x="518" y="288"/>
                  </a:lnTo>
                  <a:lnTo>
                    <a:pt x="460" y="286"/>
                  </a:lnTo>
                  <a:lnTo>
                    <a:pt x="404" y="282"/>
                  </a:lnTo>
                  <a:lnTo>
                    <a:pt x="352" y="276"/>
                  </a:lnTo>
                  <a:lnTo>
                    <a:pt x="302" y="270"/>
                  </a:lnTo>
                  <a:lnTo>
                    <a:pt x="254" y="264"/>
                  </a:lnTo>
                  <a:lnTo>
                    <a:pt x="210" y="256"/>
                  </a:lnTo>
                  <a:lnTo>
                    <a:pt x="168" y="246"/>
                  </a:lnTo>
                  <a:lnTo>
                    <a:pt x="132" y="236"/>
                  </a:lnTo>
                  <a:lnTo>
                    <a:pt x="98" y="224"/>
                  </a:lnTo>
                  <a:lnTo>
                    <a:pt x="70" y="212"/>
                  </a:lnTo>
                  <a:lnTo>
                    <a:pt x="46" y="200"/>
                  </a:lnTo>
                  <a:lnTo>
                    <a:pt x="26" y="186"/>
                  </a:lnTo>
                  <a:lnTo>
                    <a:pt x="12" y="174"/>
                  </a:lnTo>
                  <a:lnTo>
                    <a:pt x="6" y="166"/>
                  </a:lnTo>
                  <a:lnTo>
                    <a:pt x="2" y="158"/>
                  </a:lnTo>
                  <a:lnTo>
                    <a:pt x="0" y="152"/>
                  </a:lnTo>
                  <a:lnTo>
                    <a:pt x="0" y="144"/>
                  </a:lnTo>
                  <a:lnTo>
                    <a:pt x="0" y="144"/>
                  </a:lnTo>
                  <a:lnTo>
                    <a:pt x="0" y="136"/>
                  </a:lnTo>
                  <a:lnTo>
                    <a:pt x="2" y="130"/>
                  </a:lnTo>
                  <a:lnTo>
                    <a:pt x="6" y="122"/>
                  </a:lnTo>
                  <a:lnTo>
                    <a:pt x="12" y="114"/>
                  </a:lnTo>
                  <a:lnTo>
                    <a:pt x="26" y="102"/>
                  </a:lnTo>
                  <a:lnTo>
                    <a:pt x="46" y="88"/>
                  </a:lnTo>
                  <a:lnTo>
                    <a:pt x="70" y="76"/>
                  </a:lnTo>
                  <a:lnTo>
                    <a:pt x="98" y="64"/>
                  </a:lnTo>
                  <a:lnTo>
                    <a:pt x="132" y="52"/>
                  </a:lnTo>
                  <a:lnTo>
                    <a:pt x="168" y="42"/>
                  </a:lnTo>
                  <a:lnTo>
                    <a:pt x="210" y="32"/>
                  </a:lnTo>
                  <a:lnTo>
                    <a:pt x="254" y="24"/>
                  </a:lnTo>
                  <a:lnTo>
                    <a:pt x="302" y="18"/>
                  </a:lnTo>
                  <a:lnTo>
                    <a:pt x="352" y="12"/>
                  </a:lnTo>
                  <a:lnTo>
                    <a:pt x="404" y="6"/>
                  </a:lnTo>
                  <a:lnTo>
                    <a:pt x="460" y="2"/>
                  </a:lnTo>
                  <a:lnTo>
                    <a:pt x="518" y="0"/>
                  </a:lnTo>
                  <a:lnTo>
                    <a:pt x="576" y="0"/>
                  </a:lnTo>
                  <a:lnTo>
                    <a:pt x="576" y="0"/>
                  </a:lnTo>
                  <a:lnTo>
                    <a:pt x="634" y="0"/>
                  </a:lnTo>
                  <a:lnTo>
                    <a:pt x="692" y="2"/>
                  </a:lnTo>
                  <a:lnTo>
                    <a:pt x="748" y="6"/>
                  </a:lnTo>
                  <a:lnTo>
                    <a:pt x="800" y="12"/>
                  </a:lnTo>
                  <a:lnTo>
                    <a:pt x="850" y="18"/>
                  </a:lnTo>
                  <a:lnTo>
                    <a:pt x="898" y="24"/>
                  </a:lnTo>
                  <a:lnTo>
                    <a:pt x="942" y="32"/>
                  </a:lnTo>
                  <a:lnTo>
                    <a:pt x="984" y="42"/>
                  </a:lnTo>
                  <a:lnTo>
                    <a:pt x="1020" y="52"/>
                  </a:lnTo>
                  <a:lnTo>
                    <a:pt x="1054" y="64"/>
                  </a:lnTo>
                  <a:lnTo>
                    <a:pt x="1082" y="76"/>
                  </a:lnTo>
                  <a:lnTo>
                    <a:pt x="1106" y="88"/>
                  </a:lnTo>
                  <a:lnTo>
                    <a:pt x="1126" y="102"/>
                  </a:lnTo>
                  <a:lnTo>
                    <a:pt x="1140" y="114"/>
                  </a:lnTo>
                  <a:lnTo>
                    <a:pt x="1146" y="122"/>
                  </a:lnTo>
                  <a:lnTo>
                    <a:pt x="1150" y="130"/>
                  </a:lnTo>
                  <a:lnTo>
                    <a:pt x="1152" y="136"/>
                  </a:lnTo>
                  <a:lnTo>
                    <a:pt x="1152" y="144"/>
                  </a:lnTo>
                  <a:lnTo>
                    <a:pt x="1152" y="144"/>
                  </a:lnTo>
                  <a:close/>
                </a:path>
              </a:pathLst>
            </a:custGeom>
            <a:gradFill rotWithShape="1">
              <a:gsLst>
                <a:gs pos="0">
                  <a:srgbClr val="03A550"/>
                </a:gs>
                <a:gs pos="100000">
                  <a:srgbClr val="FFCC00">
                    <a:gamma/>
                    <a:tint val="0"/>
                    <a:invGamma/>
                  </a:srgb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sp>
          <p:nvSpPr>
            <p:cNvPr id="14" name="Freeform 16"/>
            <p:cNvSpPr/>
            <p:nvPr/>
          </p:nvSpPr>
          <p:spPr bwMode="auto">
            <a:xfrm>
              <a:off x="2304" y="-72"/>
              <a:ext cx="1152" cy="720"/>
            </a:xfrm>
            <a:custGeom>
              <a:avLst/>
              <a:gdLst>
                <a:gd name="T0" fmla="*/ 576 w 1152"/>
                <a:gd name="T1" fmla="*/ 144 h 720"/>
                <a:gd name="T2" fmla="*/ 460 w 1152"/>
                <a:gd name="T3" fmla="*/ 142 h 720"/>
                <a:gd name="T4" fmla="*/ 352 w 1152"/>
                <a:gd name="T5" fmla="*/ 132 h 720"/>
                <a:gd name="T6" fmla="*/ 254 w 1152"/>
                <a:gd name="T7" fmla="*/ 120 h 720"/>
                <a:gd name="T8" fmla="*/ 168 w 1152"/>
                <a:gd name="T9" fmla="*/ 102 h 720"/>
                <a:gd name="T10" fmla="*/ 98 w 1152"/>
                <a:gd name="T11" fmla="*/ 80 h 720"/>
                <a:gd name="T12" fmla="*/ 46 w 1152"/>
                <a:gd name="T13" fmla="*/ 56 h 720"/>
                <a:gd name="T14" fmla="*/ 12 w 1152"/>
                <a:gd name="T15" fmla="*/ 30 h 720"/>
                <a:gd name="T16" fmla="*/ 2 w 1152"/>
                <a:gd name="T17" fmla="*/ 14 h 720"/>
                <a:gd name="T18" fmla="*/ 0 w 1152"/>
                <a:gd name="T19" fmla="*/ 0 h 720"/>
                <a:gd name="T20" fmla="*/ 0 w 1152"/>
                <a:gd name="T21" fmla="*/ 576 h 720"/>
                <a:gd name="T22" fmla="*/ 2 w 1152"/>
                <a:gd name="T23" fmla="*/ 590 h 720"/>
                <a:gd name="T24" fmla="*/ 12 w 1152"/>
                <a:gd name="T25" fmla="*/ 606 h 720"/>
                <a:gd name="T26" fmla="*/ 46 w 1152"/>
                <a:gd name="T27" fmla="*/ 632 h 720"/>
                <a:gd name="T28" fmla="*/ 98 w 1152"/>
                <a:gd name="T29" fmla="*/ 656 h 720"/>
                <a:gd name="T30" fmla="*/ 168 w 1152"/>
                <a:gd name="T31" fmla="*/ 678 h 720"/>
                <a:gd name="T32" fmla="*/ 254 w 1152"/>
                <a:gd name="T33" fmla="*/ 696 h 720"/>
                <a:gd name="T34" fmla="*/ 352 w 1152"/>
                <a:gd name="T35" fmla="*/ 708 h 720"/>
                <a:gd name="T36" fmla="*/ 460 w 1152"/>
                <a:gd name="T37" fmla="*/ 718 h 720"/>
                <a:gd name="T38" fmla="*/ 576 w 1152"/>
                <a:gd name="T39" fmla="*/ 720 h 720"/>
                <a:gd name="T40" fmla="*/ 634 w 1152"/>
                <a:gd name="T41" fmla="*/ 720 h 720"/>
                <a:gd name="T42" fmla="*/ 748 w 1152"/>
                <a:gd name="T43" fmla="*/ 714 h 720"/>
                <a:gd name="T44" fmla="*/ 850 w 1152"/>
                <a:gd name="T45" fmla="*/ 702 h 720"/>
                <a:gd name="T46" fmla="*/ 942 w 1152"/>
                <a:gd name="T47" fmla="*/ 688 h 720"/>
                <a:gd name="T48" fmla="*/ 1020 w 1152"/>
                <a:gd name="T49" fmla="*/ 668 h 720"/>
                <a:gd name="T50" fmla="*/ 1082 w 1152"/>
                <a:gd name="T51" fmla="*/ 644 h 720"/>
                <a:gd name="T52" fmla="*/ 1126 w 1152"/>
                <a:gd name="T53" fmla="*/ 618 h 720"/>
                <a:gd name="T54" fmla="*/ 1146 w 1152"/>
                <a:gd name="T55" fmla="*/ 598 h 720"/>
                <a:gd name="T56" fmla="*/ 1152 w 1152"/>
                <a:gd name="T57" fmla="*/ 584 h 720"/>
                <a:gd name="T58" fmla="*/ 1152 w 1152"/>
                <a:gd name="T59" fmla="*/ 0 h 720"/>
                <a:gd name="T60" fmla="*/ 1152 w 1152"/>
                <a:gd name="T61" fmla="*/ 8 h 720"/>
                <a:gd name="T62" fmla="*/ 1146 w 1152"/>
                <a:gd name="T63" fmla="*/ 22 h 720"/>
                <a:gd name="T64" fmla="*/ 1126 w 1152"/>
                <a:gd name="T65" fmla="*/ 42 h 720"/>
                <a:gd name="T66" fmla="*/ 1082 w 1152"/>
                <a:gd name="T67" fmla="*/ 68 h 720"/>
                <a:gd name="T68" fmla="*/ 1020 w 1152"/>
                <a:gd name="T69" fmla="*/ 92 h 720"/>
                <a:gd name="T70" fmla="*/ 942 w 1152"/>
                <a:gd name="T71" fmla="*/ 112 h 720"/>
                <a:gd name="T72" fmla="*/ 850 w 1152"/>
                <a:gd name="T73" fmla="*/ 126 h 720"/>
                <a:gd name="T74" fmla="*/ 748 w 1152"/>
                <a:gd name="T75" fmla="*/ 138 h 720"/>
                <a:gd name="T76" fmla="*/ 634 w 1152"/>
                <a:gd name="T77" fmla="*/ 144 h 720"/>
                <a:gd name="T78" fmla="*/ 576 w 1152"/>
                <a:gd name="T79" fmla="*/ 14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52" h="720">
                  <a:moveTo>
                    <a:pt x="576" y="144"/>
                  </a:moveTo>
                  <a:lnTo>
                    <a:pt x="576" y="144"/>
                  </a:lnTo>
                  <a:lnTo>
                    <a:pt x="518" y="144"/>
                  </a:lnTo>
                  <a:lnTo>
                    <a:pt x="460" y="142"/>
                  </a:lnTo>
                  <a:lnTo>
                    <a:pt x="404" y="138"/>
                  </a:lnTo>
                  <a:lnTo>
                    <a:pt x="352" y="132"/>
                  </a:lnTo>
                  <a:lnTo>
                    <a:pt x="302" y="126"/>
                  </a:lnTo>
                  <a:lnTo>
                    <a:pt x="254" y="120"/>
                  </a:lnTo>
                  <a:lnTo>
                    <a:pt x="210" y="112"/>
                  </a:lnTo>
                  <a:lnTo>
                    <a:pt x="168" y="102"/>
                  </a:lnTo>
                  <a:lnTo>
                    <a:pt x="132" y="92"/>
                  </a:lnTo>
                  <a:lnTo>
                    <a:pt x="98" y="80"/>
                  </a:lnTo>
                  <a:lnTo>
                    <a:pt x="70" y="68"/>
                  </a:lnTo>
                  <a:lnTo>
                    <a:pt x="46" y="56"/>
                  </a:lnTo>
                  <a:lnTo>
                    <a:pt x="26" y="42"/>
                  </a:lnTo>
                  <a:lnTo>
                    <a:pt x="12" y="30"/>
                  </a:lnTo>
                  <a:lnTo>
                    <a:pt x="6" y="22"/>
                  </a:lnTo>
                  <a:lnTo>
                    <a:pt x="2" y="14"/>
                  </a:lnTo>
                  <a:lnTo>
                    <a:pt x="0" y="8"/>
                  </a:lnTo>
                  <a:lnTo>
                    <a:pt x="0" y="0"/>
                  </a:lnTo>
                  <a:lnTo>
                    <a:pt x="0" y="576"/>
                  </a:lnTo>
                  <a:lnTo>
                    <a:pt x="0" y="576"/>
                  </a:lnTo>
                  <a:lnTo>
                    <a:pt x="0" y="584"/>
                  </a:lnTo>
                  <a:lnTo>
                    <a:pt x="2" y="590"/>
                  </a:lnTo>
                  <a:lnTo>
                    <a:pt x="6" y="598"/>
                  </a:lnTo>
                  <a:lnTo>
                    <a:pt x="12" y="606"/>
                  </a:lnTo>
                  <a:lnTo>
                    <a:pt x="26" y="618"/>
                  </a:lnTo>
                  <a:lnTo>
                    <a:pt x="46" y="632"/>
                  </a:lnTo>
                  <a:lnTo>
                    <a:pt x="70" y="644"/>
                  </a:lnTo>
                  <a:lnTo>
                    <a:pt x="98" y="656"/>
                  </a:lnTo>
                  <a:lnTo>
                    <a:pt x="132" y="668"/>
                  </a:lnTo>
                  <a:lnTo>
                    <a:pt x="168" y="678"/>
                  </a:lnTo>
                  <a:lnTo>
                    <a:pt x="210" y="688"/>
                  </a:lnTo>
                  <a:lnTo>
                    <a:pt x="254" y="696"/>
                  </a:lnTo>
                  <a:lnTo>
                    <a:pt x="302" y="702"/>
                  </a:lnTo>
                  <a:lnTo>
                    <a:pt x="352" y="708"/>
                  </a:lnTo>
                  <a:lnTo>
                    <a:pt x="404" y="714"/>
                  </a:lnTo>
                  <a:lnTo>
                    <a:pt x="460" y="718"/>
                  </a:lnTo>
                  <a:lnTo>
                    <a:pt x="518" y="720"/>
                  </a:lnTo>
                  <a:lnTo>
                    <a:pt x="576" y="720"/>
                  </a:lnTo>
                  <a:lnTo>
                    <a:pt x="576" y="720"/>
                  </a:lnTo>
                  <a:lnTo>
                    <a:pt x="634" y="720"/>
                  </a:lnTo>
                  <a:lnTo>
                    <a:pt x="692" y="718"/>
                  </a:lnTo>
                  <a:lnTo>
                    <a:pt x="748" y="714"/>
                  </a:lnTo>
                  <a:lnTo>
                    <a:pt x="800" y="708"/>
                  </a:lnTo>
                  <a:lnTo>
                    <a:pt x="850" y="702"/>
                  </a:lnTo>
                  <a:lnTo>
                    <a:pt x="898" y="696"/>
                  </a:lnTo>
                  <a:lnTo>
                    <a:pt x="942" y="688"/>
                  </a:lnTo>
                  <a:lnTo>
                    <a:pt x="984" y="678"/>
                  </a:lnTo>
                  <a:lnTo>
                    <a:pt x="1020" y="668"/>
                  </a:lnTo>
                  <a:lnTo>
                    <a:pt x="1054" y="656"/>
                  </a:lnTo>
                  <a:lnTo>
                    <a:pt x="1082" y="644"/>
                  </a:lnTo>
                  <a:lnTo>
                    <a:pt x="1106" y="632"/>
                  </a:lnTo>
                  <a:lnTo>
                    <a:pt x="1126" y="618"/>
                  </a:lnTo>
                  <a:lnTo>
                    <a:pt x="1140" y="606"/>
                  </a:lnTo>
                  <a:lnTo>
                    <a:pt x="1146" y="598"/>
                  </a:lnTo>
                  <a:lnTo>
                    <a:pt x="1150" y="590"/>
                  </a:lnTo>
                  <a:lnTo>
                    <a:pt x="1152" y="584"/>
                  </a:lnTo>
                  <a:lnTo>
                    <a:pt x="1152" y="576"/>
                  </a:lnTo>
                  <a:lnTo>
                    <a:pt x="1152" y="0"/>
                  </a:lnTo>
                  <a:lnTo>
                    <a:pt x="1152" y="0"/>
                  </a:lnTo>
                  <a:lnTo>
                    <a:pt x="1152" y="8"/>
                  </a:lnTo>
                  <a:lnTo>
                    <a:pt x="1150" y="14"/>
                  </a:lnTo>
                  <a:lnTo>
                    <a:pt x="1146" y="22"/>
                  </a:lnTo>
                  <a:lnTo>
                    <a:pt x="1140" y="30"/>
                  </a:lnTo>
                  <a:lnTo>
                    <a:pt x="1126" y="42"/>
                  </a:lnTo>
                  <a:lnTo>
                    <a:pt x="1106" y="56"/>
                  </a:lnTo>
                  <a:lnTo>
                    <a:pt x="1082" y="68"/>
                  </a:lnTo>
                  <a:lnTo>
                    <a:pt x="1054" y="80"/>
                  </a:lnTo>
                  <a:lnTo>
                    <a:pt x="1020" y="92"/>
                  </a:lnTo>
                  <a:lnTo>
                    <a:pt x="984" y="102"/>
                  </a:lnTo>
                  <a:lnTo>
                    <a:pt x="942" y="112"/>
                  </a:lnTo>
                  <a:lnTo>
                    <a:pt x="898" y="120"/>
                  </a:lnTo>
                  <a:lnTo>
                    <a:pt x="850" y="126"/>
                  </a:lnTo>
                  <a:lnTo>
                    <a:pt x="800" y="132"/>
                  </a:lnTo>
                  <a:lnTo>
                    <a:pt x="748" y="138"/>
                  </a:lnTo>
                  <a:lnTo>
                    <a:pt x="692" y="142"/>
                  </a:lnTo>
                  <a:lnTo>
                    <a:pt x="634" y="144"/>
                  </a:lnTo>
                  <a:lnTo>
                    <a:pt x="576" y="144"/>
                  </a:lnTo>
                  <a:lnTo>
                    <a:pt x="576" y="144"/>
                  </a:lnTo>
                  <a:close/>
                </a:path>
              </a:pathLst>
            </a:custGeom>
            <a:gradFill rotWithShape="1">
              <a:gsLst>
                <a:gs pos="0">
                  <a:schemeClr val="bg2"/>
                </a:gs>
                <a:gs pos="100000">
                  <a:schemeClr val="bg2"/>
                </a:gs>
                <a:gs pos="50000">
                  <a:srgbClr val="03A550"/>
                </a:gs>
              </a:gsLst>
              <a:lin ang="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grpSp>
      <p:sp>
        <p:nvSpPr>
          <p:cNvPr id="17" name="Line 19"/>
          <p:cNvSpPr>
            <a:spLocks noChangeShapeType="1"/>
          </p:cNvSpPr>
          <p:nvPr/>
        </p:nvSpPr>
        <p:spPr bwMode="auto">
          <a:xfrm>
            <a:off x="6192838" y="2522636"/>
            <a:ext cx="2339975" cy="0"/>
          </a:xfrm>
          <a:prstGeom prst="line">
            <a:avLst/>
          </a:prstGeom>
          <a:noFill/>
          <a:ln w="15875">
            <a:solidFill>
              <a:srgbClr val="9E9E9E"/>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8" name="Group 20"/>
          <p:cNvGrpSpPr/>
          <p:nvPr/>
        </p:nvGrpSpPr>
        <p:grpSpPr bwMode="auto">
          <a:xfrm>
            <a:off x="6156325" y="938311"/>
            <a:ext cx="576263" cy="433388"/>
            <a:chOff x="2304" y="-216"/>
            <a:chExt cx="1152" cy="864"/>
          </a:xfrm>
        </p:grpSpPr>
        <p:sp>
          <p:nvSpPr>
            <p:cNvPr id="19" name="Freeform 21"/>
            <p:cNvSpPr/>
            <p:nvPr/>
          </p:nvSpPr>
          <p:spPr bwMode="auto">
            <a:xfrm>
              <a:off x="2304" y="-216"/>
              <a:ext cx="1152" cy="288"/>
            </a:xfrm>
            <a:custGeom>
              <a:avLst/>
              <a:gdLst>
                <a:gd name="T0" fmla="*/ 1152 w 1152"/>
                <a:gd name="T1" fmla="*/ 144 h 288"/>
                <a:gd name="T2" fmla="*/ 1150 w 1152"/>
                <a:gd name="T3" fmla="*/ 158 h 288"/>
                <a:gd name="T4" fmla="*/ 1140 w 1152"/>
                <a:gd name="T5" fmla="*/ 174 h 288"/>
                <a:gd name="T6" fmla="*/ 1106 w 1152"/>
                <a:gd name="T7" fmla="*/ 200 h 288"/>
                <a:gd name="T8" fmla="*/ 1054 w 1152"/>
                <a:gd name="T9" fmla="*/ 224 h 288"/>
                <a:gd name="T10" fmla="*/ 984 w 1152"/>
                <a:gd name="T11" fmla="*/ 246 h 288"/>
                <a:gd name="T12" fmla="*/ 898 w 1152"/>
                <a:gd name="T13" fmla="*/ 264 h 288"/>
                <a:gd name="T14" fmla="*/ 800 w 1152"/>
                <a:gd name="T15" fmla="*/ 276 h 288"/>
                <a:gd name="T16" fmla="*/ 692 w 1152"/>
                <a:gd name="T17" fmla="*/ 286 h 288"/>
                <a:gd name="T18" fmla="*/ 576 w 1152"/>
                <a:gd name="T19" fmla="*/ 288 h 288"/>
                <a:gd name="T20" fmla="*/ 518 w 1152"/>
                <a:gd name="T21" fmla="*/ 288 h 288"/>
                <a:gd name="T22" fmla="*/ 404 w 1152"/>
                <a:gd name="T23" fmla="*/ 282 h 288"/>
                <a:gd name="T24" fmla="*/ 302 w 1152"/>
                <a:gd name="T25" fmla="*/ 270 h 288"/>
                <a:gd name="T26" fmla="*/ 210 w 1152"/>
                <a:gd name="T27" fmla="*/ 256 h 288"/>
                <a:gd name="T28" fmla="*/ 132 w 1152"/>
                <a:gd name="T29" fmla="*/ 236 h 288"/>
                <a:gd name="T30" fmla="*/ 70 w 1152"/>
                <a:gd name="T31" fmla="*/ 212 h 288"/>
                <a:gd name="T32" fmla="*/ 26 w 1152"/>
                <a:gd name="T33" fmla="*/ 186 h 288"/>
                <a:gd name="T34" fmla="*/ 6 w 1152"/>
                <a:gd name="T35" fmla="*/ 166 h 288"/>
                <a:gd name="T36" fmla="*/ 0 w 1152"/>
                <a:gd name="T37" fmla="*/ 152 h 288"/>
                <a:gd name="T38" fmla="*/ 0 w 1152"/>
                <a:gd name="T39" fmla="*/ 144 h 288"/>
                <a:gd name="T40" fmla="*/ 2 w 1152"/>
                <a:gd name="T41" fmla="*/ 130 h 288"/>
                <a:gd name="T42" fmla="*/ 12 w 1152"/>
                <a:gd name="T43" fmla="*/ 114 h 288"/>
                <a:gd name="T44" fmla="*/ 46 w 1152"/>
                <a:gd name="T45" fmla="*/ 88 h 288"/>
                <a:gd name="T46" fmla="*/ 98 w 1152"/>
                <a:gd name="T47" fmla="*/ 64 h 288"/>
                <a:gd name="T48" fmla="*/ 168 w 1152"/>
                <a:gd name="T49" fmla="*/ 42 h 288"/>
                <a:gd name="T50" fmla="*/ 254 w 1152"/>
                <a:gd name="T51" fmla="*/ 24 h 288"/>
                <a:gd name="T52" fmla="*/ 352 w 1152"/>
                <a:gd name="T53" fmla="*/ 12 h 288"/>
                <a:gd name="T54" fmla="*/ 460 w 1152"/>
                <a:gd name="T55" fmla="*/ 2 h 288"/>
                <a:gd name="T56" fmla="*/ 576 w 1152"/>
                <a:gd name="T57" fmla="*/ 0 h 288"/>
                <a:gd name="T58" fmla="*/ 634 w 1152"/>
                <a:gd name="T59" fmla="*/ 0 h 288"/>
                <a:gd name="T60" fmla="*/ 748 w 1152"/>
                <a:gd name="T61" fmla="*/ 6 h 288"/>
                <a:gd name="T62" fmla="*/ 850 w 1152"/>
                <a:gd name="T63" fmla="*/ 18 h 288"/>
                <a:gd name="T64" fmla="*/ 942 w 1152"/>
                <a:gd name="T65" fmla="*/ 32 h 288"/>
                <a:gd name="T66" fmla="*/ 1020 w 1152"/>
                <a:gd name="T67" fmla="*/ 52 h 288"/>
                <a:gd name="T68" fmla="*/ 1082 w 1152"/>
                <a:gd name="T69" fmla="*/ 76 h 288"/>
                <a:gd name="T70" fmla="*/ 1126 w 1152"/>
                <a:gd name="T71" fmla="*/ 102 h 288"/>
                <a:gd name="T72" fmla="*/ 1146 w 1152"/>
                <a:gd name="T73" fmla="*/ 122 h 288"/>
                <a:gd name="T74" fmla="*/ 1152 w 1152"/>
                <a:gd name="T75" fmla="*/ 136 h 288"/>
                <a:gd name="T76" fmla="*/ 1152 w 1152"/>
                <a:gd name="T77"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2" h="288">
                  <a:moveTo>
                    <a:pt x="1152" y="144"/>
                  </a:moveTo>
                  <a:lnTo>
                    <a:pt x="1152" y="144"/>
                  </a:lnTo>
                  <a:lnTo>
                    <a:pt x="1152" y="152"/>
                  </a:lnTo>
                  <a:lnTo>
                    <a:pt x="1150" y="158"/>
                  </a:lnTo>
                  <a:lnTo>
                    <a:pt x="1146" y="166"/>
                  </a:lnTo>
                  <a:lnTo>
                    <a:pt x="1140" y="174"/>
                  </a:lnTo>
                  <a:lnTo>
                    <a:pt x="1126" y="186"/>
                  </a:lnTo>
                  <a:lnTo>
                    <a:pt x="1106" y="200"/>
                  </a:lnTo>
                  <a:lnTo>
                    <a:pt x="1082" y="212"/>
                  </a:lnTo>
                  <a:lnTo>
                    <a:pt x="1054" y="224"/>
                  </a:lnTo>
                  <a:lnTo>
                    <a:pt x="1020" y="236"/>
                  </a:lnTo>
                  <a:lnTo>
                    <a:pt x="984" y="246"/>
                  </a:lnTo>
                  <a:lnTo>
                    <a:pt x="942" y="256"/>
                  </a:lnTo>
                  <a:lnTo>
                    <a:pt x="898" y="264"/>
                  </a:lnTo>
                  <a:lnTo>
                    <a:pt x="850" y="270"/>
                  </a:lnTo>
                  <a:lnTo>
                    <a:pt x="800" y="276"/>
                  </a:lnTo>
                  <a:lnTo>
                    <a:pt x="748" y="282"/>
                  </a:lnTo>
                  <a:lnTo>
                    <a:pt x="692" y="286"/>
                  </a:lnTo>
                  <a:lnTo>
                    <a:pt x="634" y="288"/>
                  </a:lnTo>
                  <a:lnTo>
                    <a:pt x="576" y="288"/>
                  </a:lnTo>
                  <a:lnTo>
                    <a:pt x="576" y="288"/>
                  </a:lnTo>
                  <a:lnTo>
                    <a:pt x="518" y="288"/>
                  </a:lnTo>
                  <a:lnTo>
                    <a:pt x="460" y="286"/>
                  </a:lnTo>
                  <a:lnTo>
                    <a:pt x="404" y="282"/>
                  </a:lnTo>
                  <a:lnTo>
                    <a:pt x="352" y="276"/>
                  </a:lnTo>
                  <a:lnTo>
                    <a:pt x="302" y="270"/>
                  </a:lnTo>
                  <a:lnTo>
                    <a:pt x="254" y="264"/>
                  </a:lnTo>
                  <a:lnTo>
                    <a:pt x="210" y="256"/>
                  </a:lnTo>
                  <a:lnTo>
                    <a:pt x="168" y="246"/>
                  </a:lnTo>
                  <a:lnTo>
                    <a:pt x="132" y="236"/>
                  </a:lnTo>
                  <a:lnTo>
                    <a:pt x="98" y="224"/>
                  </a:lnTo>
                  <a:lnTo>
                    <a:pt x="70" y="212"/>
                  </a:lnTo>
                  <a:lnTo>
                    <a:pt x="46" y="200"/>
                  </a:lnTo>
                  <a:lnTo>
                    <a:pt x="26" y="186"/>
                  </a:lnTo>
                  <a:lnTo>
                    <a:pt x="12" y="174"/>
                  </a:lnTo>
                  <a:lnTo>
                    <a:pt x="6" y="166"/>
                  </a:lnTo>
                  <a:lnTo>
                    <a:pt x="2" y="158"/>
                  </a:lnTo>
                  <a:lnTo>
                    <a:pt x="0" y="152"/>
                  </a:lnTo>
                  <a:lnTo>
                    <a:pt x="0" y="144"/>
                  </a:lnTo>
                  <a:lnTo>
                    <a:pt x="0" y="144"/>
                  </a:lnTo>
                  <a:lnTo>
                    <a:pt x="0" y="136"/>
                  </a:lnTo>
                  <a:lnTo>
                    <a:pt x="2" y="130"/>
                  </a:lnTo>
                  <a:lnTo>
                    <a:pt x="6" y="122"/>
                  </a:lnTo>
                  <a:lnTo>
                    <a:pt x="12" y="114"/>
                  </a:lnTo>
                  <a:lnTo>
                    <a:pt x="26" y="102"/>
                  </a:lnTo>
                  <a:lnTo>
                    <a:pt x="46" y="88"/>
                  </a:lnTo>
                  <a:lnTo>
                    <a:pt x="70" y="76"/>
                  </a:lnTo>
                  <a:lnTo>
                    <a:pt x="98" y="64"/>
                  </a:lnTo>
                  <a:lnTo>
                    <a:pt x="132" y="52"/>
                  </a:lnTo>
                  <a:lnTo>
                    <a:pt x="168" y="42"/>
                  </a:lnTo>
                  <a:lnTo>
                    <a:pt x="210" y="32"/>
                  </a:lnTo>
                  <a:lnTo>
                    <a:pt x="254" y="24"/>
                  </a:lnTo>
                  <a:lnTo>
                    <a:pt x="302" y="18"/>
                  </a:lnTo>
                  <a:lnTo>
                    <a:pt x="352" y="12"/>
                  </a:lnTo>
                  <a:lnTo>
                    <a:pt x="404" y="6"/>
                  </a:lnTo>
                  <a:lnTo>
                    <a:pt x="460" y="2"/>
                  </a:lnTo>
                  <a:lnTo>
                    <a:pt x="518" y="0"/>
                  </a:lnTo>
                  <a:lnTo>
                    <a:pt x="576" y="0"/>
                  </a:lnTo>
                  <a:lnTo>
                    <a:pt x="576" y="0"/>
                  </a:lnTo>
                  <a:lnTo>
                    <a:pt x="634" y="0"/>
                  </a:lnTo>
                  <a:lnTo>
                    <a:pt x="692" y="2"/>
                  </a:lnTo>
                  <a:lnTo>
                    <a:pt x="748" y="6"/>
                  </a:lnTo>
                  <a:lnTo>
                    <a:pt x="800" y="12"/>
                  </a:lnTo>
                  <a:lnTo>
                    <a:pt x="850" y="18"/>
                  </a:lnTo>
                  <a:lnTo>
                    <a:pt x="898" y="24"/>
                  </a:lnTo>
                  <a:lnTo>
                    <a:pt x="942" y="32"/>
                  </a:lnTo>
                  <a:lnTo>
                    <a:pt x="984" y="42"/>
                  </a:lnTo>
                  <a:lnTo>
                    <a:pt x="1020" y="52"/>
                  </a:lnTo>
                  <a:lnTo>
                    <a:pt x="1054" y="64"/>
                  </a:lnTo>
                  <a:lnTo>
                    <a:pt x="1082" y="76"/>
                  </a:lnTo>
                  <a:lnTo>
                    <a:pt x="1106" y="88"/>
                  </a:lnTo>
                  <a:lnTo>
                    <a:pt x="1126" y="102"/>
                  </a:lnTo>
                  <a:lnTo>
                    <a:pt x="1140" y="114"/>
                  </a:lnTo>
                  <a:lnTo>
                    <a:pt x="1146" y="122"/>
                  </a:lnTo>
                  <a:lnTo>
                    <a:pt x="1150" y="130"/>
                  </a:lnTo>
                  <a:lnTo>
                    <a:pt x="1152" y="136"/>
                  </a:lnTo>
                  <a:lnTo>
                    <a:pt x="1152" y="144"/>
                  </a:lnTo>
                  <a:lnTo>
                    <a:pt x="1152" y="144"/>
                  </a:lnTo>
                  <a:close/>
                </a:path>
              </a:pathLst>
            </a:custGeom>
            <a:solidFill>
              <a:schemeClr val="tx1">
                <a:lumMod val="85000"/>
              </a:schemeClr>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sp>
          <p:nvSpPr>
            <p:cNvPr id="20" name="Freeform 22"/>
            <p:cNvSpPr/>
            <p:nvPr/>
          </p:nvSpPr>
          <p:spPr bwMode="auto">
            <a:xfrm>
              <a:off x="2304" y="-72"/>
              <a:ext cx="1152" cy="720"/>
            </a:xfrm>
            <a:custGeom>
              <a:avLst/>
              <a:gdLst>
                <a:gd name="T0" fmla="*/ 576 w 1152"/>
                <a:gd name="T1" fmla="*/ 144 h 720"/>
                <a:gd name="T2" fmla="*/ 460 w 1152"/>
                <a:gd name="T3" fmla="*/ 142 h 720"/>
                <a:gd name="T4" fmla="*/ 352 w 1152"/>
                <a:gd name="T5" fmla="*/ 132 h 720"/>
                <a:gd name="T6" fmla="*/ 254 w 1152"/>
                <a:gd name="T7" fmla="*/ 120 h 720"/>
                <a:gd name="T8" fmla="*/ 168 w 1152"/>
                <a:gd name="T9" fmla="*/ 102 h 720"/>
                <a:gd name="T10" fmla="*/ 98 w 1152"/>
                <a:gd name="T11" fmla="*/ 80 h 720"/>
                <a:gd name="T12" fmla="*/ 46 w 1152"/>
                <a:gd name="T13" fmla="*/ 56 h 720"/>
                <a:gd name="T14" fmla="*/ 12 w 1152"/>
                <a:gd name="T15" fmla="*/ 30 h 720"/>
                <a:gd name="T16" fmla="*/ 2 w 1152"/>
                <a:gd name="T17" fmla="*/ 14 h 720"/>
                <a:gd name="T18" fmla="*/ 0 w 1152"/>
                <a:gd name="T19" fmla="*/ 0 h 720"/>
                <a:gd name="T20" fmla="*/ 0 w 1152"/>
                <a:gd name="T21" fmla="*/ 576 h 720"/>
                <a:gd name="T22" fmla="*/ 2 w 1152"/>
                <a:gd name="T23" fmla="*/ 590 h 720"/>
                <a:gd name="T24" fmla="*/ 12 w 1152"/>
                <a:gd name="T25" fmla="*/ 606 h 720"/>
                <a:gd name="T26" fmla="*/ 46 w 1152"/>
                <a:gd name="T27" fmla="*/ 632 h 720"/>
                <a:gd name="T28" fmla="*/ 98 w 1152"/>
                <a:gd name="T29" fmla="*/ 656 h 720"/>
                <a:gd name="T30" fmla="*/ 168 w 1152"/>
                <a:gd name="T31" fmla="*/ 678 h 720"/>
                <a:gd name="T32" fmla="*/ 254 w 1152"/>
                <a:gd name="T33" fmla="*/ 696 h 720"/>
                <a:gd name="T34" fmla="*/ 352 w 1152"/>
                <a:gd name="T35" fmla="*/ 708 h 720"/>
                <a:gd name="T36" fmla="*/ 460 w 1152"/>
                <a:gd name="T37" fmla="*/ 718 h 720"/>
                <a:gd name="T38" fmla="*/ 576 w 1152"/>
                <a:gd name="T39" fmla="*/ 720 h 720"/>
                <a:gd name="T40" fmla="*/ 634 w 1152"/>
                <a:gd name="T41" fmla="*/ 720 h 720"/>
                <a:gd name="T42" fmla="*/ 748 w 1152"/>
                <a:gd name="T43" fmla="*/ 714 h 720"/>
                <a:gd name="T44" fmla="*/ 850 w 1152"/>
                <a:gd name="T45" fmla="*/ 702 h 720"/>
                <a:gd name="T46" fmla="*/ 942 w 1152"/>
                <a:gd name="T47" fmla="*/ 688 h 720"/>
                <a:gd name="T48" fmla="*/ 1020 w 1152"/>
                <a:gd name="T49" fmla="*/ 668 h 720"/>
                <a:gd name="T50" fmla="*/ 1082 w 1152"/>
                <a:gd name="T51" fmla="*/ 644 h 720"/>
                <a:gd name="T52" fmla="*/ 1126 w 1152"/>
                <a:gd name="T53" fmla="*/ 618 h 720"/>
                <a:gd name="T54" fmla="*/ 1146 w 1152"/>
                <a:gd name="T55" fmla="*/ 598 h 720"/>
                <a:gd name="T56" fmla="*/ 1152 w 1152"/>
                <a:gd name="T57" fmla="*/ 584 h 720"/>
                <a:gd name="T58" fmla="*/ 1152 w 1152"/>
                <a:gd name="T59" fmla="*/ 0 h 720"/>
                <a:gd name="T60" fmla="*/ 1152 w 1152"/>
                <a:gd name="T61" fmla="*/ 8 h 720"/>
                <a:gd name="T62" fmla="*/ 1146 w 1152"/>
                <a:gd name="T63" fmla="*/ 22 h 720"/>
                <a:gd name="T64" fmla="*/ 1126 w 1152"/>
                <a:gd name="T65" fmla="*/ 42 h 720"/>
                <a:gd name="T66" fmla="*/ 1082 w 1152"/>
                <a:gd name="T67" fmla="*/ 68 h 720"/>
                <a:gd name="T68" fmla="*/ 1020 w 1152"/>
                <a:gd name="T69" fmla="*/ 92 h 720"/>
                <a:gd name="T70" fmla="*/ 942 w 1152"/>
                <a:gd name="T71" fmla="*/ 112 h 720"/>
                <a:gd name="T72" fmla="*/ 850 w 1152"/>
                <a:gd name="T73" fmla="*/ 126 h 720"/>
                <a:gd name="T74" fmla="*/ 748 w 1152"/>
                <a:gd name="T75" fmla="*/ 138 h 720"/>
                <a:gd name="T76" fmla="*/ 634 w 1152"/>
                <a:gd name="T77" fmla="*/ 144 h 720"/>
                <a:gd name="T78" fmla="*/ 576 w 1152"/>
                <a:gd name="T79" fmla="*/ 14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52" h="720">
                  <a:moveTo>
                    <a:pt x="576" y="144"/>
                  </a:moveTo>
                  <a:lnTo>
                    <a:pt x="576" y="144"/>
                  </a:lnTo>
                  <a:lnTo>
                    <a:pt x="518" y="144"/>
                  </a:lnTo>
                  <a:lnTo>
                    <a:pt x="460" y="142"/>
                  </a:lnTo>
                  <a:lnTo>
                    <a:pt x="404" y="138"/>
                  </a:lnTo>
                  <a:lnTo>
                    <a:pt x="352" y="132"/>
                  </a:lnTo>
                  <a:lnTo>
                    <a:pt x="302" y="126"/>
                  </a:lnTo>
                  <a:lnTo>
                    <a:pt x="254" y="120"/>
                  </a:lnTo>
                  <a:lnTo>
                    <a:pt x="210" y="112"/>
                  </a:lnTo>
                  <a:lnTo>
                    <a:pt x="168" y="102"/>
                  </a:lnTo>
                  <a:lnTo>
                    <a:pt x="132" y="92"/>
                  </a:lnTo>
                  <a:lnTo>
                    <a:pt x="98" y="80"/>
                  </a:lnTo>
                  <a:lnTo>
                    <a:pt x="70" y="68"/>
                  </a:lnTo>
                  <a:lnTo>
                    <a:pt x="46" y="56"/>
                  </a:lnTo>
                  <a:lnTo>
                    <a:pt x="26" y="42"/>
                  </a:lnTo>
                  <a:lnTo>
                    <a:pt x="12" y="30"/>
                  </a:lnTo>
                  <a:lnTo>
                    <a:pt x="6" y="22"/>
                  </a:lnTo>
                  <a:lnTo>
                    <a:pt x="2" y="14"/>
                  </a:lnTo>
                  <a:lnTo>
                    <a:pt x="0" y="8"/>
                  </a:lnTo>
                  <a:lnTo>
                    <a:pt x="0" y="0"/>
                  </a:lnTo>
                  <a:lnTo>
                    <a:pt x="0" y="576"/>
                  </a:lnTo>
                  <a:lnTo>
                    <a:pt x="0" y="576"/>
                  </a:lnTo>
                  <a:lnTo>
                    <a:pt x="0" y="584"/>
                  </a:lnTo>
                  <a:lnTo>
                    <a:pt x="2" y="590"/>
                  </a:lnTo>
                  <a:lnTo>
                    <a:pt x="6" y="598"/>
                  </a:lnTo>
                  <a:lnTo>
                    <a:pt x="12" y="606"/>
                  </a:lnTo>
                  <a:lnTo>
                    <a:pt x="26" y="618"/>
                  </a:lnTo>
                  <a:lnTo>
                    <a:pt x="46" y="632"/>
                  </a:lnTo>
                  <a:lnTo>
                    <a:pt x="70" y="644"/>
                  </a:lnTo>
                  <a:lnTo>
                    <a:pt x="98" y="656"/>
                  </a:lnTo>
                  <a:lnTo>
                    <a:pt x="132" y="668"/>
                  </a:lnTo>
                  <a:lnTo>
                    <a:pt x="168" y="678"/>
                  </a:lnTo>
                  <a:lnTo>
                    <a:pt x="210" y="688"/>
                  </a:lnTo>
                  <a:lnTo>
                    <a:pt x="254" y="696"/>
                  </a:lnTo>
                  <a:lnTo>
                    <a:pt x="302" y="702"/>
                  </a:lnTo>
                  <a:lnTo>
                    <a:pt x="352" y="708"/>
                  </a:lnTo>
                  <a:lnTo>
                    <a:pt x="404" y="714"/>
                  </a:lnTo>
                  <a:lnTo>
                    <a:pt x="460" y="718"/>
                  </a:lnTo>
                  <a:lnTo>
                    <a:pt x="518" y="720"/>
                  </a:lnTo>
                  <a:lnTo>
                    <a:pt x="576" y="720"/>
                  </a:lnTo>
                  <a:lnTo>
                    <a:pt x="576" y="720"/>
                  </a:lnTo>
                  <a:lnTo>
                    <a:pt x="634" y="720"/>
                  </a:lnTo>
                  <a:lnTo>
                    <a:pt x="692" y="718"/>
                  </a:lnTo>
                  <a:lnTo>
                    <a:pt x="748" y="714"/>
                  </a:lnTo>
                  <a:lnTo>
                    <a:pt x="800" y="708"/>
                  </a:lnTo>
                  <a:lnTo>
                    <a:pt x="850" y="702"/>
                  </a:lnTo>
                  <a:lnTo>
                    <a:pt x="898" y="696"/>
                  </a:lnTo>
                  <a:lnTo>
                    <a:pt x="942" y="688"/>
                  </a:lnTo>
                  <a:lnTo>
                    <a:pt x="984" y="678"/>
                  </a:lnTo>
                  <a:lnTo>
                    <a:pt x="1020" y="668"/>
                  </a:lnTo>
                  <a:lnTo>
                    <a:pt x="1054" y="656"/>
                  </a:lnTo>
                  <a:lnTo>
                    <a:pt x="1082" y="644"/>
                  </a:lnTo>
                  <a:lnTo>
                    <a:pt x="1106" y="632"/>
                  </a:lnTo>
                  <a:lnTo>
                    <a:pt x="1126" y="618"/>
                  </a:lnTo>
                  <a:lnTo>
                    <a:pt x="1140" y="606"/>
                  </a:lnTo>
                  <a:lnTo>
                    <a:pt x="1146" y="598"/>
                  </a:lnTo>
                  <a:lnTo>
                    <a:pt x="1150" y="590"/>
                  </a:lnTo>
                  <a:lnTo>
                    <a:pt x="1152" y="584"/>
                  </a:lnTo>
                  <a:lnTo>
                    <a:pt x="1152" y="576"/>
                  </a:lnTo>
                  <a:lnTo>
                    <a:pt x="1152" y="0"/>
                  </a:lnTo>
                  <a:lnTo>
                    <a:pt x="1152" y="0"/>
                  </a:lnTo>
                  <a:lnTo>
                    <a:pt x="1152" y="8"/>
                  </a:lnTo>
                  <a:lnTo>
                    <a:pt x="1150" y="14"/>
                  </a:lnTo>
                  <a:lnTo>
                    <a:pt x="1146" y="22"/>
                  </a:lnTo>
                  <a:lnTo>
                    <a:pt x="1140" y="30"/>
                  </a:lnTo>
                  <a:lnTo>
                    <a:pt x="1126" y="42"/>
                  </a:lnTo>
                  <a:lnTo>
                    <a:pt x="1106" y="56"/>
                  </a:lnTo>
                  <a:lnTo>
                    <a:pt x="1082" y="68"/>
                  </a:lnTo>
                  <a:lnTo>
                    <a:pt x="1054" y="80"/>
                  </a:lnTo>
                  <a:lnTo>
                    <a:pt x="1020" y="92"/>
                  </a:lnTo>
                  <a:lnTo>
                    <a:pt x="984" y="102"/>
                  </a:lnTo>
                  <a:lnTo>
                    <a:pt x="942" y="112"/>
                  </a:lnTo>
                  <a:lnTo>
                    <a:pt x="898" y="120"/>
                  </a:lnTo>
                  <a:lnTo>
                    <a:pt x="850" y="126"/>
                  </a:lnTo>
                  <a:lnTo>
                    <a:pt x="800" y="132"/>
                  </a:lnTo>
                  <a:lnTo>
                    <a:pt x="748" y="138"/>
                  </a:lnTo>
                  <a:lnTo>
                    <a:pt x="692" y="142"/>
                  </a:lnTo>
                  <a:lnTo>
                    <a:pt x="634" y="144"/>
                  </a:lnTo>
                  <a:lnTo>
                    <a:pt x="576" y="144"/>
                  </a:lnTo>
                  <a:lnTo>
                    <a:pt x="576" y="144"/>
                  </a:lnTo>
                  <a:close/>
                </a:path>
              </a:pathLst>
            </a:custGeom>
            <a:gradFill rotWithShape="1">
              <a:gsLst>
                <a:gs pos="98350">
                  <a:schemeClr val="tx1">
                    <a:lumMod val="50000"/>
                  </a:schemeClr>
                </a:gs>
                <a:gs pos="0">
                  <a:schemeClr val="tx1">
                    <a:lumMod val="50000"/>
                  </a:schemeClr>
                </a:gs>
                <a:gs pos="50000">
                  <a:schemeClr val="tx1">
                    <a:lumMod val="85000"/>
                  </a:schemeClr>
                </a:gs>
              </a:gsLst>
              <a:lin ang="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grpSp>
      <p:sp>
        <p:nvSpPr>
          <p:cNvPr id="28" name="Text Box 30"/>
          <p:cNvSpPr txBox="1">
            <a:spLocks noChangeArrowheads="1"/>
          </p:cNvSpPr>
          <p:nvPr/>
        </p:nvSpPr>
        <p:spPr bwMode="auto">
          <a:xfrm>
            <a:off x="1943100" y="3514824"/>
            <a:ext cx="2365375" cy="304800"/>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400" b="1" dirty="0">
                <a:latin typeface="微软雅黑" panose="020B0503020204020204" pitchFamily="34" charset="-122"/>
                <a:ea typeface="微软雅黑" panose="020B0503020204020204" pitchFamily="34" charset="-122"/>
              </a:rPr>
              <a:t>填加文字</a:t>
            </a:r>
            <a:endParaRPr lang="en-US" altLang="ko-KR" sz="1400" b="1" dirty="0">
              <a:latin typeface="微软雅黑" panose="020B0503020204020204" pitchFamily="34" charset="-122"/>
              <a:ea typeface="微软雅黑" panose="020B0503020204020204" pitchFamily="34" charset="-122"/>
            </a:endParaRPr>
          </a:p>
        </p:txBody>
      </p:sp>
      <p:sp>
        <p:nvSpPr>
          <p:cNvPr id="29" name="Text Box 31"/>
          <p:cNvSpPr txBox="1">
            <a:spLocks noChangeArrowheads="1"/>
          </p:cNvSpPr>
          <p:nvPr/>
        </p:nvSpPr>
        <p:spPr bwMode="auto">
          <a:xfrm>
            <a:off x="1943100" y="2832199"/>
            <a:ext cx="2365375" cy="304800"/>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400" b="1" dirty="0">
                <a:latin typeface="微软雅黑" panose="020B0503020204020204" pitchFamily="34" charset="-122"/>
                <a:ea typeface="微软雅黑" panose="020B0503020204020204" pitchFamily="34" charset="-122"/>
              </a:rPr>
              <a:t>填加文字</a:t>
            </a:r>
            <a:endParaRPr lang="en-US" altLang="ko-KR" sz="1400" b="1" dirty="0">
              <a:latin typeface="微软雅黑" panose="020B0503020204020204" pitchFamily="34" charset="-122"/>
              <a:ea typeface="微软雅黑" panose="020B0503020204020204" pitchFamily="34" charset="-122"/>
            </a:endParaRPr>
          </a:p>
        </p:txBody>
      </p:sp>
      <p:sp>
        <p:nvSpPr>
          <p:cNvPr id="30" name="Text Box 32"/>
          <p:cNvSpPr txBox="1">
            <a:spLocks noChangeArrowheads="1"/>
          </p:cNvSpPr>
          <p:nvPr/>
        </p:nvSpPr>
        <p:spPr bwMode="auto">
          <a:xfrm>
            <a:off x="1943100" y="4178399"/>
            <a:ext cx="2365375" cy="304800"/>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400" b="1" dirty="0">
                <a:latin typeface="微软雅黑" panose="020B0503020204020204" pitchFamily="34" charset="-122"/>
                <a:ea typeface="微软雅黑" panose="020B0503020204020204" pitchFamily="34" charset="-122"/>
              </a:rPr>
              <a:t>填加文字</a:t>
            </a:r>
            <a:endParaRPr lang="en-US" altLang="ko-KR" sz="1400" b="1" dirty="0">
              <a:latin typeface="微软雅黑" panose="020B0503020204020204" pitchFamily="34" charset="-122"/>
              <a:ea typeface="微软雅黑" panose="020B0503020204020204" pitchFamily="34" charset="-122"/>
            </a:endParaRPr>
          </a:p>
        </p:txBody>
      </p:sp>
      <p:sp>
        <p:nvSpPr>
          <p:cNvPr id="31" name="Text Box 45"/>
          <p:cNvSpPr txBox="1">
            <a:spLocks noChangeArrowheads="1"/>
          </p:cNvSpPr>
          <p:nvPr/>
        </p:nvSpPr>
        <p:spPr bwMode="auto">
          <a:xfrm>
            <a:off x="6155952" y="1505975"/>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solidFill>
              <a:latin typeface="微软雅黑" panose="020B0503020204020204" pitchFamily="34" charset="-122"/>
              <a:ea typeface="微软雅黑" panose="020B0503020204020204" pitchFamily="34" charset="-122"/>
            </a:endParaRPr>
          </a:p>
        </p:txBody>
      </p:sp>
      <p:sp>
        <p:nvSpPr>
          <p:cNvPr id="32" name="Text Box 45"/>
          <p:cNvSpPr txBox="1">
            <a:spLocks noChangeArrowheads="1"/>
          </p:cNvSpPr>
          <p:nvPr/>
        </p:nvSpPr>
        <p:spPr bwMode="auto">
          <a:xfrm>
            <a:off x="6156176" y="3480375"/>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3" name="Text Box 45"/>
          <p:cNvSpPr txBox="1">
            <a:spLocks noChangeArrowheads="1"/>
          </p:cNvSpPr>
          <p:nvPr/>
        </p:nvSpPr>
        <p:spPr bwMode="auto">
          <a:xfrm>
            <a:off x="899368" y="1059582"/>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grpSp>
        <p:nvGrpSpPr>
          <p:cNvPr id="34" name="Group 14"/>
          <p:cNvGrpSpPr/>
          <p:nvPr/>
        </p:nvGrpSpPr>
        <p:grpSpPr bwMode="auto">
          <a:xfrm>
            <a:off x="6192838" y="2734568"/>
            <a:ext cx="600870" cy="400843"/>
            <a:chOff x="2304" y="-216"/>
            <a:chExt cx="1152" cy="864"/>
          </a:xfrm>
        </p:grpSpPr>
        <p:sp>
          <p:nvSpPr>
            <p:cNvPr id="35" name="Freeform 15"/>
            <p:cNvSpPr/>
            <p:nvPr/>
          </p:nvSpPr>
          <p:spPr bwMode="auto">
            <a:xfrm>
              <a:off x="2304" y="-216"/>
              <a:ext cx="1152" cy="288"/>
            </a:xfrm>
            <a:custGeom>
              <a:avLst/>
              <a:gdLst>
                <a:gd name="T0" fmla="*/ 1152 w 1152"/>
                <a:gd name="T1" fmla="*/ 144 h 288"/>
                <a:gd name="T2" fmla="*/ 1150 w 1152"/>
                <a:gd name="T3" fmla="*/ 158 h 288"/>
                <a:gd name="T4" fmla="*/ 1140 w 1152"/>
                <a:gd name="T5" fmla="*/ 174 h 288"/>
                <a:gd name="T6" fmla="*/ 1106 w 1152"/>
                <a:gd name="T7" fmla="*/ 200 h 288"/>
                <a:gd name="T8" fmla="*/ 1054 w 1152"/>
                <a:gd name="T9" fmla="*/ 224 h 288"/>
                <a:gd name="T10" fmla="*/ 984 w 1152"/>
                <a:gd name="T11" fmla="*/ 246 h 288"/>
                <a:gd name="T12" fmla="*/ 898 w 1152"/>
                <a:gd name="T13" fmla="*/ 264 h 288"/>
                <a:gd name="T14" fmla="*/ 800 w 1152"/>
                <a:gd name="T15" fmla="*/ 276 h 288"/>
                <a:gd name="T16" fmla="*/ 692 w 1152"/>
                <a:gd name="T17" fmla="*/ 286 h 288"/>
                <a:gd name="T18" fmla="*/ 576 w 1152"/>
                <a:gd name="T19" fmla="*/ 288 h 288"/>
                <a:gd name="T20" fmla="*/ 518 w 1152"/>
                <a:gd name="T21" fmla="*/ 288 h 288"/>
                <a:gd name="T22" fmla="*/ 404 w 1152"/>
                <a:gd name="T23" fmla="*/ 282 h 288"/>
                <a:gd name="T24" fmla="*/ 302 w 1152"/>
                <a:gd name="T25" fmla="*/ 270 h 288"/>
                <a:gd name="T26" fmla="*/ 210 w 1152"/>
                <a:gd name="T27" fmla="*/ 256 h 288"/>
                <a:gd name="T28" fmla="*/ 132 w 1152"/>
                <a:gd name="T29" fmla="*/ 236 h 288"/>
                <a:gd name="T30" fmla="*/ 70 w 1152"/>
                <a:gd name="T31" fmla="*/ 212 h 288"/>
                <a:gd name="T32" fmla="*/ 26 w 1152"/>
                <a:gd name="T33" fmla="*/ 186 h 288"/>
                <a:gd name="T34" fmla="*/ 6 w 1152"/>
                <a:gd name="T35" fmla="*/ 166 h 288"/>
                <a:gd name="T36" fmla="*/ 0 w 1152"/>
                <a:gd name="T37" fmla="*/ 152 h 288"/>
                <a:gd name="T38" fmla="*/ 0 w 1152"/>
                <a:gd name="T39" fmla="*/ 144 h 288"/>
                <a:gd name="T40" fmla="*/ 2 w 1152"/>
                <a:gd name="T41" fmla="*/ 130 h 288"/>
                <a:gd name="T42" fmla="*/ 12 w 1152"/>
                <a:gd name="T43" fmla="*/ 114 h 288"/>
                <a:gd name="T44" fmla="*/ 46 w 1152"/>
                <a:gd name="T45" fmla="*/ 88 h 288"/>
                <a:gd name="T46" fmla="*/ 98 w 1152"/>
                <a:gd name="T47" fmla="*/ 64 h 288"/>
                <a:gd name="T48" fmla="*/ 168 w 1152"/>
                <a:gd name="T49" fmla="*/ 42 h 288"/>
                <a:gd name="T50" fmla="*/ 254 w 1152"/>
                <a:gd name="T51" fmla="*/ 24 h 288"/>
                <a:gd name="T52" fmla="*/ 352 w 1152"/>
                <a:gd name="T53" fmla="*/ 12 h 288"/>
                <a:gd name="T54" fmla="*/ 460 w 1152"/>
                <a:gd name="T55" fmla="*/ 2 h 288"/>
                <a:gd name="T56" fmla="*/ 576 w 1152"/>
                <a:gd name="T57" fmla="*/ 0 h 288"/>
                <a:gd name="T58" fmla="*/ 634 w 1152"/>
                <a:gd name="T59" fmla="*/ 0 h 288"/>
                <a:gd name="T60" fmla="*/ 748 w 1152"/>
                <a:gd name="T61" fmla="*/ 6 h 288"/>
                <a:gd name="T62" fmla="*/ 850 w 1152"/>
                <a:gd name="T63" fmla="*/ 18 h 288"/>
                <a:gd name="T64" fmla="*/ 942 w 1152"/>
                <a:gd name="T65" fmla="*/ 32 h 288"/>
                <a:gd name="T66" fmla="*/ 1020 w 1152"/>
                <a:gd name="T67" fmla="*/ 52 h 288"/>
                <a:gd name="T68" fmla="*/ 1082 w 1152"/>
                <a:gd name="T69" fmla="*/ 76 h 288"/>
                <a:gd name="T70" fmla="*/ 1126 w 1152"/>
                <a:gd name="T71" fmla="*/ 102 h 288"/>
                <a:gd name="T72" fmla="*/ 1146 w 1152"/>
                <a:gd name="T73" fmla="*/ 122 h 288"/>
                <a:gd name="T74" fmla="*/ 1152 w 1152"/>
                <a:gd name="T75" fmla="*/ 136 h 288"/>
                <a:gd name="T76" fmla="*/ 1152 w 1152"/>
                <a:gd name="T77" fmla="*/ 1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2" h="288">
                  <a:moveTo>
                    <a:pt x="1152" y="144"/>
                  </a:moveTo>
                  <a:lnTo>
                    <a:pt x="1152" y="144"/>
                  </a:lnTo>
                  <a:lnTo>
                    <a:pt x="1152" y="152"/>
                  </a:lnTo>
                  <a:lnTo>
                    <a:pt x="1150" y="158"/>
                  </a:lnTo>
                  <a:lnTo>
                    <a:pt x="1146" y="166"/>
                  </a:lnTo>
                  <a:lnTo>
                    <a:pt x="1140" y="174"/>
                  </a:lnTo>
                  <a:lnTo>
                    <a:pt x="1126" y="186"/>
                  </a:lnTo>
                  <a:lnTo>
                    <a:pt x="1106" y="200"/>
                  </a:lnTo>
                  <a:lnTo>
                    <a:pt x="1082" y="212"/>
                  </a:lnTo>
                  <a:lnTo>
                    <a:pt x="1054" y="224"/>
                  </a:lnTo>
                  <a:lnTo>
                    <a:pt x="1020" y="236"/>
                  </a:lnTo>
                  <a:lnTo>
                    <a:pt x="984" y="246"/>
                  </a:lnTo>
                  <a:lnTo>
                    <a:pt x="942" y="256"/>
                  </a:lnTo>
                  <a:lnTo>
                    <a:pt x="898" y="264"/>
                  </a:lnTo>
                  <a:lnTo>
                    <a:pt x="850" y="270"/>
                  </a:lnTo>
                  <a:lnTo>
                    <a:pt x="800" y="276"/>
                  </a:lnTo>
                  <a:lnTo>
                    <a:pt x="748" y="282"/>
                  </a:lnTo>
                  <a:lnTo>
                    <a:pt x="692" y="286"/>
                  </a:lnTo>
                  <a:lnTo>
                    <a:pt x="634" y="288"/>
                  </a:lnTo>
                  <a:lnTo>
                    <a:pt x="576" y="288"/>
                  </a:lnTo>
                  <a:lnTo>
                    <a:pt x="576" y="288"/>
                  </a:lnTo>
                  <a:lnTo>
                    <a:pt x="518" y="288"/>
                  </a:lnTo>
                  <a:lnTo>
                    <a:pt x="460" y="286"/>
                  </a:lnTo>
                  <a:lnTo>
                    <a:pt x="404" y="282"/>
                  </a:lnTo>
                  <a:lnTo>
                    <a:pt x="352" y="276"/>
                  </a:lnTo>
                  <a:lnTo>
                    <a:pt x="302" y="270"/>
                  </a:lnTo>
                  <a:lnTo>
                    <a:pt x="254" y="264"/>
                  </a:lnTo>
                  <a:lnTo>
                    <a:pt x="210" y="256"/>
                  </a:lnTo>
                  <a:lnTo>
                    <a:pt x="168" y="246"/>
                  </a:lnTo>
                  <a:lnTo>
                    <a:pt x="132" y="236"/>
                  </a:lnTo>
                  <a:lnTo>
                    <a:pt x="98" y="224"/>
                  </a:lnTo>
                  <a:lnTo>
                    <a:pt x="70" y="212"/>
                  </a:lnTo>
                  <a:lnTo>
                    <a:pt x="46" y="200"/>
                  </a:lnTo>
                  <a:lnTo>
                    <a:pt x="26" y="186"/>
                  </a:lnTo>
                  <a:lnTo>
                    <a:pt x="12" y="174"/>
                  </a:lnTo>
                  <a:lnTo>
                    <a:pt x="6" y="166"/>
                  </a:lnTo>
                  <a:lnTo>
                    <a:pt x="2" y="158"/>
                  </a:lnTo>
                  <a:lnTo>
                    <a:pt x="0" y="152"/>
                  </a:lnTo>
                  <a:lnTo>
                    <a:pt x="0" y="144"/>
                  </a:lnTo>
                  <a:lnTo>
                    <a:pt x="0" y="144"/>
                  </a:lnTo>
                  <a:lnTo>
                    <a:pt x="0" y="136"/>
                  </a:lnTo>
                  <a:lnTo>
                    <a:pt x="2" y="130"/>
                  </a:lnTo>
                  <a:lnTo>
                    <a:pt x="6" y="122"/>
                  </a:lnTo>
                  <a:lnTo>
                    <a:pt x="12" y="114"/>
                  </a:lnTo>
                  <a:lnTo>
                    <a:pt x="26" y="102"/>
                  </a:lnTo>
                  <a:lnTo>
                    <a:pt x="46" y="88"/>
                  </a:lnTo>
                  <a:lnTo>
                    <a:pt x="70" y="76"/>
                  </a:lnTo>
                  <a:lnTo>
                    <a:pt x="98" y="64"/>
                  </a:lnTo>
                  <a:lnTo>
                    <a:pt x="132" y="52"/>
                  </a:lnTo>
                  <a:lnTo>
                    <a:pt x="168" y="42"/>
                  </a:lnTo>
                  <a:lnTo>
                    <a:pt x="210" y="32"/>
                  </a:lnTo>
                  <a:lnTo>
                    <a:pt x="254" y="24"/>
                  </a:lnTo>
                  <a:lnTo>
                    <a:pt x="302" y="18"/>
                  </a:lnTo>
                  <a:lnTo>
                    <a:pt x="352" y="12"/>
                  </a:lnTo>
                  <a:lnTo>
                    <a:pt x="404" y="6"/>
                  </a:lnTo>
                  <a:lnTo>
                    <a:pt x="460" y="2"/>
                  </a:lnTo>
                  <a:lnTo>
                    <a:pt x="518" y="0"/>
                  </a:lnTo>
                  <a:lnTo>
                    <a:pt x="576" y="0"/>
                  </a:lnTo>
                  <a:lnTo>
                    <a:pt x="576" y="0"/>
                  </a:lnTo>
                  <a:lnTo>
                    <a:pt x="634" y="0"/>
                  </a:lnTo>
                  <a:lnTo>
                    <a:pt x="692" y="2"/>
                  </a:lnTo>
                  <a:lnTo>
                    <a:pt x="748" y="6"/>
                  </a:lnTo>
                  <a:lnTo>
                    <a:pt x="800" y="12"/>
                  </a:lnTo>
                  <a:lnTo>
                    <a:pt x="850" y="18"/>
                  </a:lnTo>
                  <a:lnTo>
                    <a:pt x="898" y="24"/>
                  </a:lnTo>
                  <a:lnTo>
                    <a:pt x="942" y="32"/>
                  </a:lnTo>
                  <a:lnTo>
                    <a:pt x="984" y="42"/>
                  </a:lnTo>
                  <a:lnTo>
                    <a:pt x="1020" y="52"/>
                  </a:lnTo>
                  <a:lnTo>
                    <a:pt x="1054" y="64"/>
                  </a:lnTo>
                  <a:lnTo>
                    <a:pt x="1082" y="76"/>
                  </a:lnTo>
                  <a:lnTo>
                    <a:pt x="1106" y="88"/>
                  </a:lnTo>
                  <a:lnTo>
                    <a:pt x="1126" y="102"/>
                  </a:lnTo>
                  <a:lnTo>
                    <a:pt x="1140" y="114"/>
                  </a:lnTo>
                  <a:lnTo>
                    <a:pt x="1146" y="122"/>
                  </a:lnTo>
                  <a:lnTo>
                    <a:pt x="1150" y="130"/>
                  </a:lnTo>
                  <a:lnTo>
                    <a:pt x="1152" y="136"/>
                  </a:lnTo>
                  <a:lnTo>
                    <a:pt x="1152" y="144"/>
                  </a:lnTo>
                  <a:lnTo>
                    <a:pt x="1152" y="144"/>
                  </a:lnTo>
                  <a:close/>
                </a:path>
              </a:pathLst>
            </a:custGeom>
            <a:gradFill rotWithShape="1">
              <a:gsLst>
                <a:gs pos="0">
                  <a:srgbClr val="03A550"/>
                </a:gs>
                <a:gs pos="100000">
                  <a:srgbClr val="FFCC00">
                    <a:gamma/>
                    <a:tint val="0"/>
                    <a:invGamma/>
                  </a:srgb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sp>
          <p:nvSpPr>
            <p:cNvPr id="36" name="Freeform 16"/>
            <p:cNvSpPr/>
            <p:nvPr/>
          </p:nvSpPr>
          <p:spPr bwMode="auto">
            <a:xfrm>
              <a:off x="2304" y="-72"/>
              <a:ext cx="1152" cy="720"/>
            </a:xfrm>
            <a:custGeom>
              <a:avLst/>
              <a:gdLst>
                <a:gd name="T0" fmla="*/ 576 w 1152"/>
                <a:gd name="T1" fmla="*/ 144 h 720"/>
                <a:gd name="T2" fmla="*/ 460 w 1152"/>
                <a:gd name="T3" fmla="*/ 142 h 720"/>
                <a:gd name="T4" fmla="*/ 352 w 1152"/>
                <a:gd name="T5" fmla="*/ 132 h 720"/>
                <a:gd name="T6" fmla="*/ 254 w 1152"/>
                <a:gd name="T7" fmla="*/ 120 h 720"/>
                <a:gd name="T8" fmla="*/ 168 w 1152"/>
                <a:gd name="T9" fmla="*/ 102 h 720"/>
                <a:gd name="T10" fmla="*/ 98 w 1152"/>
                <a:gd name="T11" fmla="*/ 80 h 720"/>
                <a:gd name="T12" fmla="*/ 46 w 1152"/>
                <a:gd name="T13" fmla="*/ 56 h 720"/>
                <a:gd name="T14" fmla="*/ 12 w 1152"/>
                <a:gd name="T15" fmla="*/ 30 h 720"/>
                <a:gd name="T16" fmla="*/ 2 w 1152"/>
                <a:gd name="T17" fmla="*/ 14 h 720"/>
                <a:gd name="T18" fmla="*/ 0 w 1152"/>
                <a:gd name="T19" fmla="*/ 0 h 720"/>
                <a:gd name="T20" fmla="*/ 0 w 1152"/>
                <a:gd name="T21" fmla="*/ 576 h 720"/>
                <a:gd name="T22" fmla="*/ 2 w 1152"/>
                <a:gd name="T23" fmla="*/ 590 h 720"/>
                <a:gd name="T24" fmla="*/ 12 w 1152"/>
                <a:gd name="T25" fmla="*/ 606 h 720"/>
                <a:gd name="T26" fmla="*/ 46 w 1152"/>
                <a:gd name="T27" fmla="*/ 632 h 720"/>
                <a:gd name="T28" fmla="*/ 98 w 1152"/>
                <a:gd name="T29" fmla="*/ 656 h 720"/>
                <a:gd name="T30" fmla="*/ 168 w 1152"/>
                <a:gd name="T31" fmla="*/ 678 h 720"/>
                <a:gd name="T32" fmla="*/ 254 w 1152"/>
                <a:gd name="T33" fmla="*/ 696 h 720"/>
                <a:gd name="T34" fmla="*/ 352 w 1152"/>
                <a:gd name="T35" fmla="*/ 708 h 720"/>
                <a:gd name="T36" fmla="*/ 460 w 1152"/>
                <a:gd name="T37" fmla="*/ 718 h 720"/>
                <a:gd name="T38" fmla="*/ 576 w 1152"/>
                <a:gd name="T39" fmla="*/ 720 h 720"/>
                <a:gd name="T40" fmla="*/ 634 w 1152"/>
                <a:gd name="T41" fmla="*/ 720 h 720"/>
                <a:gd name="T42" fmla="*/ 748 w 1152"/>
                <a:gd name="T43" fmla="*/ 714 h 720"/>
                <a:gd name="T44" fmla="*/ 850 w 1152"/>
                <a:gd name="T45" fmla="*/ 702 h 720"/>
                <a:gd name="T46" fmla="*/ 942 w 1152"/>
                <a:gd name="T47" fmla="*/ 688 h 720"/>
                <a:gd name="T48" fmla="*/ 1020 w 1152"/>
                <a:gd name="T49" fmla="*/ 668 h 720"/>
                <a:gd name="T50" fmla="*/ 1082 w 1152"/>
                <a:gd name="T51" fmla="*/ 644 h 720"/>
                <a:gd name="T52" fmla="*/ 1126 w 1152"/>
                <a:gd name="T53" fmla="*/ 618 h 720"/>
                <a:gd name="T54" fmla="*/ 1146 w 1152"/>
                <a:gd name="T55" fmla="*/ 598 h 720"/>
                <a:gd name="T56" fmla="*/ 1152 w 1152"/>
                <a:gd name="T57" fmla="*/ 584 h 720"/>
                <a:gd name="T58" fmla="*/ 1152 w 1152"/>
                <a:gd name="T59" fmla="*/ 0 h 720"/>
                <a:gd name="T60" fmla="*/ 1152 w 1152"/>
                <a:gd name="T61" fmla="*/ 8 h 720"/>
                <a:gd name="T62" fmla="*/ 1146 w 1152"/>
                <a:gd name="T63" fmla="*/ 22 h 720"/>
                <a:gd name="T64" fmla="*/ 1126 w 1152"/>
                <a:gd name="T65" fmla="*/ 42 h 720"/>
                <a:gd name="T66" fmla="*/ 1082 w 1152"/>
                <a:gd name="T67" fmla="*/ 68 h 720"/>
                <a:gd name="T68" fmla="*/ 1020 w 1152"/>
                <a:gd name="T69" fmla="*/ 92 h 720"/>
                <a:gd name="T70" fmla="*/ 942 w 1152"/>
                <a:gd name="T71" fmla="*/ 112 h 720"/>
                <a:gd name="T72" fmla="*/ 850 w 1152"/>
                <a:gd name="T73" fmla="*/ 126 h 720"/>
                <a:gd name="T74" fmla="*/ 748 w 1152"/>
                <a:gd name="T75" fmla="*/ 138 h 720"/>
                <a:gd name="T76" fmla="*/ 634 w 1152"/>
                <a:gd name="T77" fmla="*/ 144 h 720"/>
                <a:gd name="T78" fmla="*/ 576 w 1152"/>
                <a:gd name="T79" fmla="*/ 14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52" h="720">
                  <a:moveTo>
                    <a:pt x="576" y="144"/>
                  </a:moveTo>
                  <a:lnTo>
                    <a:pt x="576" y="144"/>
                  </a:lnTo>
                  <a:lnTo>
                    <a:pt x="518" y="144"/>
                  </a:lnTo>
                  <a:lnTo>
                    <a:pt x="460" y="142"/>
                  </a:lnTo>
                  <a:lnTo>
                    <a:pt x="404" y="138"/>
                  </a:lnTo>
                  <a:lnTo>
                    <a:pt x="352" y="132"/>
                  </a:lnTo>
                  <a:lnTo>
                    <a:pt x="302" y="126"/>
                  </a:lnTo>
                  <a:lnTo>
                    <a:pt x="254" y="120"/>
                  </a:lnTo>
                  <a:lnTo>
                    <a:pt x="210" y="112"/>
                  </a:lnTo>
                  <a:lnTo>
                    <a:pt x="168" y="102"/>
                  </a:lnTo>
                  <a:lnTo>
                    <a:pt x="132" y="92"/>
                  </a:lnTo>
                  <a:lnTo>
                    <a:pt x="98" y="80"/>
                  </a:lnTo>
                  <a:lnTo>
                    <a:pt x="70" y="68"/>
                  </a:lnTo>
                  <a:lnTo>
                    <a:pt x="46" y="56"/>
                  </a:lnTo>
                  <a:lnTo>
                    <a:pt x="26" y="42"/>
                  </a:lnTo>
                  <a:lnTo>
                    <a:pt x="12" y="30"/>
                  </a:lnTo>
                  <a:lnTo>
                    <a:pt x="6" y="22"/>
                  </a:lnTo>
                  <a:lnTo>
                    <a:pt x="2" y="14"/>
                  </a:lnTo>
                  <a:lnTo>
                    <a:pt x="0" y="8"/>
                  </a:lnTo>
                  <a:lnTo>
                    <a:pt x="0" y="0"/>
                  </a:lnTo>
                  <a:lnTo>
                    <a:pt x="0" y="576"/>
                  </a:lnTo>
                  <a:lnTo>
                    <a:pt x="0" y="576"/>
                  </a:lnTo>
                  <a:lnTo>
                    <a:pt x="0" y="584"/>
                  </a:lnTo>
                  <a:lnTo>
                    <a:pt x="2" y="590"/>
                  </a:lnTo>
                  <a:lnTo>
                    <a:pt x="6" y="598"/>
                  </a:lnTo>
                  <a:lnTo>
                    <a:pt x="12" y="606"/>
                  </a:lnTo>
                  <a:lnTo>
                    <a:pt x="26" y="618"/>
                  </a:lnTo>
                  <a:lnTo>
                    <a:pt x="46" y="632"/>
                  </a:lnTo>
                  <a:lnTo>
                    <a:pt x="70" y="644"/>
                  </a:lnTo>
                  <a:lnTo>
                    <a:pt x="98" y="656"/>
                  </a:lnTo>
                  <a:lnTo>
                    <a:pt x="132" y="668"/>
                  </a:lnTo>
                  <a:lnTo>
                    <a:pt x="168" y="678"/>
                  </a:lnTo>
                  <a:lnTo>
                    <a:pt x="210" y="688"/>
                  </a:lnTo>
                  <a:lnTo>
                    <a:pt x="254" y="696"/>
                  </a:lnTo>
                  <a:lnTo>
                    <a:pt x="302" y="702"/>
                  </a:lnTo>
                  <a:lnTo>
                    <a:pt x="352" y="708"/>
                  </a:lnTo>
                  <a:lnTo>
                    <a:pt x="404" y="714"/>
                  </a:lnTo>
                  <a:lnTo>
                    <a:pt x="460" y="718"/>
                  </a:lnTo>
                  <a:lnTo>
                    <a:pt x="518" y="720"/>
                  </a:lnTo>
                  <a:lnTo>
                    <a:pt x="576" y="720"/>
                  </a:lnTo>
                  <a:lnTo>
                    <a:pt x="576" y="720"/>
                  </a:lnTo>
                  <a:lnTo>
                    <a:pt x="634" y="720"/>
                  </a:lnTo>
                  <a:lnTo>
                    <a:pt x="692" y="718"/>
                  </a:lnTo>
                  <a:lnTo>
                    <a:pt x="748" y="714"/>
                  </a:lnTo>
                  <a:lnTo>
                    <a:pt x="800" y="708"/>
                  </a:lnTo>
                  <a:lnTo>
                    <a:pt x="850" y="702"/>
                  </a:lnTo>
                  <a:lnTo>
                    <a:pt x="898" y="696"/>
                  </a:lnTo>
                  <a:lnTo>
                    <a:pt x="942" y="688"/>
                  </a:lnTo>
                  <a:lnTo>
                    <a:pt x="984" y="678"/>
                  </a:lnTo>
                  <a:lnTo>
                    <a:pt x="1020" y="668"/>
                  </a:lnTo>
                  <a:lnTo>
                    <a:pt x="1054" y="656"/>
                  </a:lnTo>
                  <a:lnTo>
                    <a:pt x="1082" y="644"/>
                  </a:lnTo>
                  <a:lnTo>
                    <a:pt x="1106" y="632"/>
                  </a:lnTo>
                  <a:lnTo>
                    <a:pt x="1126" y="618"/>
                  </a:lnTo>
                  <a:lnTo>
                    <a:pt x="1140" y="606"/>
                  </a:lnTo>
                  <a:lnTo>
                    <a:pt x="1146" y="598"/>
                  </a:lnTo>
                  <a:lnTo>
                    <a:pt x="1150" y="590"/>
                  </a:lnTo>
                  <a:lnTo>
                    <a:pt x="1152" y="584"/>
                  </a:lnTo>
                  <a:lnTo>
                    <a:pt x="1152" y="576"/>
                  </a:lnTo>
                  <a:lnTo>
                    <a:pt x="1152" y="0"/>
                  </a:lnTo>
                  <a:lnTo>
                    <a:pt x="1152" y="0"/>
                  </a:lnTo>
                  <a:lnTo>
                    <a:pt x="1152" y="8"/>
                  </a:lnTo>
                  <a:lnTo>
                    <a:pt x="1150" y="14"/>
                  </a:lnTo>
                  <a:lnTo>
                    <a:pt x="1146" y="22"/>
                  </a:lnTo>
                  <a:lnTo>
                    <a:pt x="1140" y="30"/>
                  </a:lnTo>
                  <a:lnTo>
                    <a:pt x="1126" y="42"/>
                  </a:lnTo>
                  <a:lnTo>
                    <a:pt x="1106" y="56"/>
                  </a:lnTo>
                  <a:lnTo>
                    <a:pt x="1082" y="68"/>
                  </a:lnTo>
                  <a:lnTo>
                    <a:pt x="1054" y="80"/>
                  </a:lnTo>
                  <a:lnTo>
                    <a:pt x="1020" y="92"/>
                  </a:lnTo>
                  <a:lnTo>
                    <a:pt x="984" y="102"/>
                  </a:lnTo>
                  <a:lnTo>
                    <a:pt x="942" y="112"/>
                  </a:lnTo>
                  <a:lnTo>
                    <a:pt x="898" y="120"/>
                  </a:lnTo>
                  <a:lnTo>
                    <a:pt x="850" y="126"/>
                  </a:lnTo>
                  <a:lnTo>
                    <a:pt x="800" y="132"/>
                  </a:lnTo>
                  <a:lnTo>
                    <a:pt x="748" y="138"/>
                  </a:lnTo>
                  <a:lnTo>
                    <a:pt x="692" y="142"/>
                  </a:lnTo>
                  <a:lnTo>
                    <a:pt x="634" y="144"/>
                  </a:lnTo>
                  <a:lnTo>
                    <a:pt x="576" y="144"/>
                  </a:lnTo>
                  <a:lnTo>
                    <a:pt x="576" y="144"/>
                  </a:lnTo>
                  <a:close/>
                </a:path>
              </a:pathLst>
            </a:custGeom>
            <a:gradFill rotWithShape="1">
              <a:gsLst>
                <a:gs pos="0">
                  <a:schemeClr val="bg2"/>
                </a:gs>
                <a:gs pos="100000">
                  <a:schemeClr val="bg2"/>
                </a:gs>
                <a:gs pos="50000">
                  <a:srgbClr val="03A550"/>
                </a:gs>
              </a:gsLst>
              <a:lin ang="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anim calcmode="lin" valueType="num">
                                      <p:cBhvr>
                                        <p:cTn id="8" dur="750" fill="hold"/>
                                        <p:tgtEl>
                                          <p:spTgt spid="2"/>
                                        </p:tgtEl>
                                        <p:attrNameLst>
                                          <p:attrName>ppt_x</p:attrName>
                                        </p:attrNameLst>
                                      </p:cBhvr>
                                      <p:tavLst>
                                        <p:tav tm="0">
                                          <p:val>
                                            <p:strVal val="#ppt_x"/>
                                          </p:val>
                                        </p:tav>
                                        <p:tav tm="100000">
                                          <p:val>
                                            <p:strVal val="#ppt_x"/>
                                          </p:val>
                                        </p:tav>
                                      </p:tavLst>
                                    </p:anim>
                                    <p:anim calcmode="lin" valueType="num">
                                      <p:cBhvr>
                                        <p:cTn id="9" dur="75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500"/>
                                        <p:tgtEl>
                                          <p:spTgt spid="3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750"/>
                                        <p:tgtEl>
                                          <p:spTgt spid="5"/>
                                        </p:tgtEl>
                                      </p:cBhvr>
                                    </p:animEffect>
                                    <p:anim calcmode="lin" valueType="num">
                                      <p:cBhvr>
                                        <p:cTn id="20" dur="750" fill="hold"/>
                                        <p:tgtEl>
                                          <p:spTgt spid="5"/>
                                        </p:tgtEl>
                                        <p:attrNameLst>
                                          <p:attrName>ppt_x</p:attrName>
                                        </p:attrNameLst>
                                      </p:cBhvr>
                                      <p:tavLst>
                                        <p:tav tm="0">
                                          <p:val>
                                            <p:strVal val="#ppt_x"/>
                                          </p:val>
                                        </p:tav>
                                        <p:tav tm="100000">
                                          <p:val>
                                            <p:strVal val="#ppt_x"/>
                                          </p:val>
                                        </p:tav>
                                      </p:tavLst>
                                    </p:anim>
                                    <p:anim calcmode="lin" valueType="num">
                                      <p:cBhvr>
                                        <p:cTn id="21" dur="75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28">
                                            <p:txEl>
                                              <p:pRg st="0" end="0"/>
                                            </p:txEl>
                                          </p:spTgt>
                                        </p:tgtEl>
                                        <p:attrNameLst>
                                          <p:attrName>style.visibility</p:attrName>
                                        </p:attrNameLst>
                                      </p:cBhvr>
                                      <p:to>
                                        <p:strVal val="visible"/>
                                      </p:to>
                                    </p:set>
                                    <p:animEffect transition="in" filter="wipe(left)">
                                      <p:cBhvr>
                                        <p:cTn id="26" dur="500"/>
                                        <p:tgtEl>
                                          <p:spTgt spid="28">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750"/>
                                        <p:tgtEl>
                                          <p:spTgt spid="8"/>
                                        </p:tgtEl>
                                      </p:cBhvr>
                                    </p:animEffect>
                                    <p:anim calcmode="lin" valueType="num">
                                      <p:cBhvr>
                                        <p:cTn id="32" dur="750" fill="hold"/>
                                        <p:tgtEl>
                                          <p:spTgt spid="8"/>
                                        </p:tgtEl>
                                        <p:attrNameLst>
                                          <p:attrName>ppt_x</p:attrName>
                                        </p:attrNameLst>
                                      </p:cBhvr>
                                      <p:tavLst>
                                        <p:tav tm="0">
                                          <p:val>
                                            <p:strVal val="#ppt_x"/>
                                          </p:val>
                                        </p:tav>
                                        <p:tav tm="100000">
                                          <p:val>
                                            <p:strVal val="#ppt_x"/>
                                          </p:val>
                                        </p:tav>
                                      </p:tavLst>
                                    </p:anim>
                                    <p:anim calcmode="lin" valueType="num">
                                      <p:cBhvr>
                                        <p:cTn id="33" dur="75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29">
                                            <p:txEl>
                                              <p:pRg st="0" end="0"/>
                                            </p:txEl>
                                          </p:spTgt>
                                        </p:tgtEl>
                                        <p:attrNameLst>
                                          <p:attrName>style.visibility</p:attrName>
                                        </p:attrNameLst>
                                      </p:cBhvr>
                                      <p:to>
                                        <p:strVal val="visible"/>
                                      </p:to>
                                    </p:set>
                                    <p:animEffect transition="in" filter="wipe(left)">
                                      <p:cBhvr>
                                        <p:cTn id="38" dur="500"/>
                                        <p:tgtEl>
                                          <p:spTgt spid="29">
                                            <p:txEl>
                                              <p:pRg st="0" end="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1000"/>
                                        <p:tgtEl>
                                          <p:spTgt spid="12"/>
                                        </p:tgtEl>
                                      </p:cBhvr>
                                    </p:animEffect>
                                    <p:anim calcmode="lin" valueType="num">
                                      <p:cBhvr>
                                        <p:cTn id="44" dur="1000" fill="hold"/>
                                        <p:tgtEl>
                                          <p:spTgt spid="12"/>
                                        </p:tgtEl>
                                        <p:attrNameLst>
                                          <p:attrName>ppt_x</p:attrName>
                                        </p:attrNameLst>
                                      </p:cBhvr>
                                      <p:tavLst>
                                        <p:tav tm="0">
                                          <p:val>
                                            <p:strVal val="#ppt_x"/>
                                          </p:val>
                                        </p:tav>
                                        <p:tav tm="100000">
                                          <p:val>
                                            <p:strVal val="#ppt_x"/>
                                          </p:val>
                                        </p:tav>
                                      </p:tavLst>
                                    </p:anim>
                                    <p:anim calcmode="lin" valueType="num">
                                      <p:cBhvr>
                                        <p:cTn id="45" dur="1000" fill="hold"/>
                                        <p:tgtEl>
                                          <p:spTgt spid="12"/>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42" presetClass="entr" presetSubtype="0" fill="hold" grpId="0" nodeType="after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750"/>
                                        <p:tgtEl>
                                          <p:spTgt spid="33"/>
                                        </p:tgtEl>
                                      </p:cBhvr>
                                    </p:animEffect>
                                    <p:anim calcmode="lin" valueType="num">
                                      <p:cBhvr>
                                        <p:cTn id="50" dur="750" fill="hold"/>
                                        <p:tgtEl>
                                          <p:spTgt spid="33"/>
                                        </p:tgtEl>
                                        <p:attrNameLst>
                                          <p:attrName>ppt_x</p:attrName>
                                        </p:attrNameLst>
                                      </p:cBhvr>
                                      <p:tavLst>
                                        <p:tav tm="0">
                                          <p:val>
                                            <p:strVal val="#ppt_x"/>
                                          </p:val>
                                        </p:tav>
                                        <p:tav tm="100000">
                                          <p:val>
                                            <p:strVal val="#ppt_x"/>
                                          </p:val>
                                        </p:tav>
                                      </p:tavLst>
                                    </p:anim>
                                    <p:anim calcmode="lin" valueType="num">
                                      <p:cBhvr>
                                        <p:cTn id="51" dur="75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par>
                          <p:cTn id="57" fill="hold">
                            <p:stCondLst>
                              <p:cond delay="500"/>
                            </p:stCondLst>
                            <p:childTnLst>
                              <p:par>
                                <p:cTn id="58" presetID="42" presetClass="entr" presetSubtype="0" fill="hold" grpId="0" nodeType="after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750"/>
                                        <p:tgtEl>
                                          <p:spTgt spid="31"/>
                                        </p:tgtEl>
                                      </p:cBhvr>
                                    </p:animEffect>
                                    <p:anim calcmode="lin" valueType="num">
                                      <p:cBhvr>
                                        <p:cTn id="61" dur="750" fill="hold"/>
                                        <p:tgtEl>
                                          <p:spTgt spid="31"/>
                                        </p:tgtEl>
                                        <p:attrNameLst>
                                          <p:attrName>ppt_x</p:attrName>
                                        </p:attrNameLst>
                                      </p:cBhvr>
                                      <p:tavLst>
                                        <p:tav tm="0">
                                          <p:val>
                                            <p:strVal val="#ppt_x"/>
                                          </p:val>
                                        </p:tav>
                                        <p:tav tm="100000">
                                          <p:val>
                                            <p:strVal val="#ppt_x"/>
                                          </p:val>
                                        </p:tav>
                                      </p:tavLst>
                                    </p:anim>
                                    <p:anim calcmode="lin" valueType="num">
                                      <p:cBhvr>
                                        <p:cTn id="62" dur="75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42" presetClass="entr" presetSubtype="0" fill="hold" nodeType="click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1000"/>
                                        <p:tgtEl>
                                          <p:spTgt spid="34"/>
                                        </p:tgtEl>
                                      </p:cBhvr>
                                    </p:animEffect>
                                    <p:anim calcmode="lin" valueType="num">
                                      <p:cBhvr>
                                        <p:cTn id="73" dur="1000" fill="hold"/>
                                        <p:tgtEl>
                                          <p:spTgt spid="34"/>
                                        </p:tgtEl>
                                        <p:attrNameLst>
                                          <p:attrName>ppt_x</p:attrName>
                                        </p:attrNameLst>
                                      </p:cBhvr>
                                      <p:tavLst>
                                        <p:tav tm="0">
                                          <p:val>
                                            <p:strVal val="#ppt_x"/>
                                          </p:val>
                                        </p:tav>
                                        <p:tav tm="100000">
                                          <p:val>
                                            <p:strVal val="#ppt_x"/>
                                          </p:val>
                                        </p:tav>
                                      </p:tavLst>
                                    </p:anim>
                                    <p:anim calcmode="lin" valueType="num">
                                      <p:cBhvr>
                                        <p:cTn id="74" dur="1000" fill="hold"/>
                                        <p:tgtEl>
                                          <p:spTgt spid="34"/>
                                        </p:tgtEl>
                                        <p:attrNameLst>
                                          <p:attrName>ppt_y</p:attrName>
                                        </p:attrNameLst>
                                      </p:cBhvr>
                                      <p:tavLst>
                                        <p:tav tm="0">
                                          <p:val>
                                            <p:strVal val="#ppt_y+.1"/>
                                          </p:val>
                                        </p:tav>
                                        <p:tav tm="100000">
                                          <p:val>
                                            <p:strVal val="#ppt_y"/>
                                          </p:val>
                                        </p:tav>
                                      </p:tavLst>
                                    </p:anim>
                                  </p:childTnLst>
                                </p:cTn>
                              </p:par>
                            </p:childTnLst>
                          </p:cTn>
                        </p:par>
                        <p:par>
                          <p:cTn id="75" fill="hold">
                            <p:stCondLst>
                              <p:cond delay="1000"/>
                            </p:stCondLst>
                            <p:childTnLst>
                              <p:par>
                                <p:cTn id="76" presetID="42" presetClass="entr" presetSubtype="0" fill="hold" grpId="0" nodeType="afterEffect">
                                  <p:stCondLst>
                                    <p:cond delay="0"/>
                                  </p:stCondLst>
                                  <p:childTnLst>
                                    <p:set>
                                      <p:cBhvr>
                                        <p:cTn id="77" dur="1" fill="hold">
                                          <p:stCondLst>
                                            <p:cond delay="0"/>
                                          </p:stCondLst>
                                        </p:cTn>
                                        <p:tgtEl>
                                          <p:spTgt spid="32"/>
                                        </p:tgtEl>
                                        <p:attrNameLst>
                                          <p:attrName>style.visibility</p:attrName>
                                        </p:attrNameLst>
                                      </p:cBhvr>
                                      <p:to>
                                        <p:strVal val="visible"/>
                                      </p:to>
                                    </p:set>
                                    <p:animEffect transition="in" filter="fade">
                                      <p:cBhvr>
                                        <p:cTn id="78" dur="750"/>
                                        <p:tgtEl>
                                          <p:spTgt spid="32"/>
                                        </p:tgtEl>
                                      </p:cBhvr>
                                    </p:animEffect>
                                    <p:anim calcmode="lin" valueType="num">
                                      <p:cBhvr>
                                        <p:cTn id="79" dur="750" fill="hold"/>
                                        <p:tgtEl>
                                          <p:spTgt spid="32"/>
                                        </p:tgtEl>
                                        <p:attrNameLst>
                                          <p:attrName>ppt_x</p:attrName>
                                        </p:attrNameLst>
                                      </p:cBhvr>
                                      <p:tavLst>
                                        <p:tav tm="0">
                                          <p:val>
                                            <p:strVal val="#ppt_x"/>
                                          </p:val>
                                        </p:tav>
                                        <p:tav tm="100000">
                                          <p:val>
                                            <p:strVal val="#ppt_x"/>
                                          </p:val>
                                        </p:tav>
                                      </p:tavLst>
                                    </p:anim>
                                    <p:anim calcmode="lin" valueType="num">
                                      <p:cBhvr>
                                        <p:cTn id="80" dur="75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0" grpId="0"/>
      <p:bldP spid="31" grpId="0"/>
      <p:bldP spid="32" grpId="0"/>
      <p:bldP spid="3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
          <p:cNvGrpSpPr/>
          <p:nvPr/>
        </p:nvGrpSpPr>
        <p:grpSpPr bwMode="auto">
          <a:xfrm>
            <a:off x="863600" y="971078"/>
            <a:ext cx="4678363" cy="3544888"/>
            <a:chOff x="702" y="1230"/>
            <a:chExt cx="2947" cy="2233"/>
          </a:xfrm>
        </p:grpSpPr>
        <p:sp>
          <p:nvSpPr>
            <p:cNvPr id="34" name="Rectangle 6"/>
            <p:cNvSpPr>
              <a:spLocks noChangeArrowheads="1"/>
            </p:cNvSpPr>
            <p:nvPr/>
          </p:nvSpPr>
          <p:spPr bwMode="auto">
            <a:xfrm rot="-3600000">
              <a:off x="785" y="1556"/>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5" name="Rectangle 7"/>
            <p:cNvSpPr>
              <a:spLocks noChangeArrowheads="1"/>
            </p:cNvSpPr>
            <p:nvPr/>
          </p:nvSpPr>
          <p:spPr bwMode="auto">
            <a:xfrm rot="-3600000">
              <a:off x="1556" y="2055"/>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6" name="Rectangle 8"/>
            <p:cNvSpPr>
              <a:spLocks noChangeArrowheads="1"/>
            </p:cNvSpPr>
            <p:nvPr/>
          </p:nvSpPr>
          <p:spPr bwMode="auto">
            <a:xfrm rot="-3600000">
              <a:off x="2350" y="2509"/>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7" name="Rectangle 9"/>
            <p:cNvSpPr>
              <a:spLocks noChangeArrowheads="1"/>
            </p:cNvSpPr>
            <p:nvPr/>
          </p:nvSpPr>
          <p:spPr bwMode="auto">
            <a:xfrm rot="-3600000">
              <a:off x="1578" y="2940"/>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8" name="Rectangle 10"/>
            <p:cNvSpPr>
              <a:spLocks noChangeArrowheads="1"/>
            </p:cNvSpPr>
            <p:nvPr/>
          </p:nvSpPr>
          <p:spPr bwMode="auto">
            <a:xfrm rot="-3600000">
              <a:off x="762" y="2509"/>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9" name="Rectangle 11"/>
            <p:cNvSpPr>
              <a:spLocks noChangeArrowheads="1"/>
            </p:cNvSpPr>
            <p:nvPr/>
          </p:nvSpPr>
          <p:spPr bwMode="auto">
            <a:xfrm rot="3600000">
              <a:off x="1556" y="1579"/>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0" name="Rectangle 12"/>
            <p:cNvSpPr>
              <a:spLocks noChangeArrowheads="1"/>
            </p:cNvSpPr>
            <p:nvPr/>
          </p:nvSpPr>
          <p:spPr bwMode="auto">
            <a:xfrm rot="3600000">
              <a:off x="2327" y="2010"/>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1" name="Rectangle 13"/>
            <p:cNvSpPr>
              <a:spLocks noChangeArrowheads="1"/>
            </p:cNvSpPr>
            <p:nvPr/>
          </p:nvSpPr>
          <p:spPr bwMode="auto">
            <a:xfrm rot="3600000">
              <a:off x="1556" y="2509"/>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2" name="Rectangle 14"/>
            <p:cNvSpPr>
              <a:spLocks noChangeArrowheads="1"/>
            </p:cNvSpPr>
            <p:nvPr/>
          </p:nvSpPr>
          <p:spPr bwMode="auto">
            <a:xfrm rot="3600000">
              <a:off x="762" y="2962"/>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3" name="Rectangle 15"/>
            <p:cNvSpPr>
              <a:spLocks noChangeArrowheads="1"/>
            </p:cNvSpPr>
            <p:nvPr/>
          </p:nvSpPr>
          <p:spPr bwMode="auto">
            <a:xfrm rot="3600000">
              <a:off x="762" y="2032"/>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4" name="Rectangle 16"/>
            <p:cNvSpPr>
              <a:spLocks noChangeArrowheads="1"/>
            </p:cNvSpPr>
            <p:nvPr/>
          </p:nvSpPr>
          <p:spPr bwMode="auto">
            <a:xfrm>
              <a:off x="1162" y="2274"/>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5" name="Rectangle 17"/>
            <p:cNvSpPr>
              <a:spLocks noChangeArrowheads="1"/>
            </p:cNvSpPr>
            <p:nvPr/>
          </p:nvSpPr>
          <p:spPr bwMode="auto">
            <a:xfrm>
              <a:off x="1162" y="3193"/>
              <a:ext cx="525" cy="146"/>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6" name="Rectangle 18"/>
            <p:cNvSpPr>
              <a:spLocks noChangeArrowheads="1"/>
            </p:cNvSpPr>
            <p:nvPr/>
          </p:nvSpPr>
          <p:spPr bwMode="auto">
            <a:xfrm>
              <a:off x="1950" y="1814"/>
              <a:ext cx="526" cy="146"/>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7" name="Rectangle 19"/>
            <p:cNvSpPr>
              <a:spLocks noChangeArrowheads="1"/>
            </p:cNvSpPr>
            <p:nvPr/>
          </p:nvSpPr>
          <p:spPr bwMode="auto">
            <a:xfrm>
              <a:off x="1950" y="2733"/>
              <a:ext cx="526" cy="146"/>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8" name="Rectangle 20"/>
            <p:cNvSpPr>
              <a:spLocks noChangeArrowheads="1"/>
            </p:cNvSpPr>
            <p:nvPr/>
          </p:nvSpPr>
          <p:spPr bwMode="auto">
            <a:xfrm>
              <a:off x="1162" y="1354"/>
              <a:ext cx="525" cy="146"/>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9" name="Freeform 21"/>
            <p:cNvSpPr/>
            <p:nvPr/>
          </p:nvSpPr>
          <p:spPr bwMode="auto">
            <a:xfrm>
              <a:off x="965" y="1230"/>
              <a:ext cx="394" cy="394"/>
            </a:xfrm>
            <a:custGeom>
              <a:avLst/>
              <a:gdLst>
                <a:gd name="T0" fmla="*/ 394 w 394"/>
                <a:gd name="T1" fmla="*/ 197 h 394"/>
                <a:gd name="T2" fmla="*/ 390 w 394"/>
                <a:gd name="T3" fmla="*/ 237 h 394"/>
                <a:gd name="T4" fmla="*/ 379 w 394"/>
                <a:gd name="T5" fmla="*/ 274 h 394"/>
                <a:gd name="T6" fmla="*/ 361 w 394"/>
                <a:gd name="T7" fmla="*/ 306 h 394"/>
                <a:gd name="T8" fmla="*/ 336 w 394"/>
                <a:gd name="T9" fmla="*/ 336 h 394"/>
                <a:gd name="T10" fmla="*/ 306 w 394"/>
                <a:gd name="T11" fmla="*/ 361 h 394"/>
                <a:gd name="T12" fmla="*/ 273 w 394"/>
                <a:gd name="T13" fmla="*/ 379 h 394"/>
                <a:gd name="T14" fmla="*/ 237 w 394"/>
                <a:gd name="T15" fmla="*/ 390 h 394"/>
                <a:gd name="T16" fmla="*/ 197 w 394"/>
                <a:gd name="T17" fmla="*/ 394 h 394"/>
                <a:gd name="T18" fmla="*/ 177 w 394"/>
                <a:gd name="T19" fmla="*/ 392 h 394"/>
                <a:gd name="T20" fmla="*/ 138 w 394"/>
                <a:gd name="T21" fmla="*/ 385 h 394"/>
                <a:gd name="T22" fmla="*/ 104 w 394"/>
                <a:gd name="T23" fmla="*/ 370 h 394"/>
                <a:gd name="T24" fmla="*/ 71 w 394"/>
                <a:gd name="T25" fmla="*/ 348 h 394"/>
                <a:gd name="T26" fmla="*/ 45 w 394"/>
                <a:gd name="T27" fmla="*/ 323 h 394"/>
                <a:gd name="T28" fmla="*/ 23 w 394"/>
                <a:gd name="T29" fmla="*/ 290 h 394"/>
                <a:gd name="T30" fmla="*/ 9 w 394"/>
                <a:gd name="T31" fmla="*/ 255 h 394"/>
                <a:gd name="T32" fmla="*/ 2 w 394"/>
                <a:gd name="T33" fmla="*/ 217 h 394"/>
                <a:gd name="T34" fmla="*/ 0 w 394"/>
                <a:gd name="T35" fmla="*/ 197 h 394"/>
                <a:gd name="T36" fmla="*/ 3 w 394"/>
                <a:gd name="T37" fmla="*/ 157 h 394"/>
                <a:gd name="T38" fmla="*/ 14 w 394"/>
                <a:gd name="T39" fmla="*/ 120 h 394"/>
                <a:gd name="T40" fmla="*/ 33 w 394"/>
                <a:gd name="T41" fmla="*/ 88 h 394"/>
                <a:gd name="T42" fmla="*/ 58 w 394"/>
                <a:gd name="T43" fmla="*/ 58 h 394"/>
                <a:gd name="T44" fmla="*/ 87 w 394"/>
                <a:gd name="T45" fmla="*/ 33 h 394"/>
                <a:gd name="T46" fmla="*/ 120 w 394"/>
                <a:gd name="T47" fmla="*/ 15 h 394"/>
                <a:gd name="T48" fmla="*/ 157 w 394"/>
                <a:gd name="T49" fmla="*/ 4 h 394"/>
                <a:gd name="T50" fmla="*/ 197 w 394"/>
                <a:gd name="T51" fmla="*/ 0 h 394"/>
                <a:gd name="T52" fmla="*/ 217 w 394"/>
                <a:gd name="T53" fmla="*/ 2 h 394"/>
                <a:gd name="T54" fmla="*/ 255 w 394"/>
                <a:gd name="T55" fmla="*/ 9 h 394"/>
                <a:gd name="T56" fmla="*/ 290 w 394"/>
                <a:gd name="T57" fmla="*/ 24 h 394"/>
                <a:gd name="T58" fmla="*/ 323 w 394"/>
                <a:gd name="T59" fmla="*/ 46 h 394"/>
                <a:gd name="T60" fmla="*/ 348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5"/>
                  </a:lnTo>
                  <a:lnTo>
                    <a:pt x="379" y="274"/>
                  </a:lnTo>
                  <a:lnTo>
                    <a:pt x="370" y="290"/>
                  </a:lnTo>
                  <a:lnTo>
                    <a:pt x="361" y="306"/>
                  </a:lnTo>
                  <a:lnTo>
                    <a:pt x="348" y="323"/>
                  </a:lnTo>
                  <a:lnTo>
                    <a:pt x="336" y="336"/>
                  </a:lnTo>
                  <a:lnTo>
                    <a:pt x="323" y="348"/>
                  </a:lnTo>
                  <a:lnTo>
                    <a:pt x="306" y="361"/>
                  </a:lnTo>
                  <a:lnTo>
                    <a:pt x="290" y="370"/>
                  </a:lnTo>
                  <a:lnTo>
                    <a:pt x="273" y="379"/>
                  </a:lnTo>
                  <a:lnTo>
                    <a:pt x="255" y="385"/>
                  </a:lnTo>
                  <a:lnTo>
                    <a:pt x="237" y="390"/>
                  </a:lnTo>
                  <a:lnTo>
                    <a:pt x="217" y="392"/>
                  </a:lnTo>
                  <a:lnTo>
                    <a:pt x="197" y="394"/>
                  </a:lnTo>
                  <a:lnTo>
                    <a:pt x="197" y="394"/>
                  </a:lnTo>
                  <a:lnTo>
                    <a:pt x="177" y="392"/>
                  </a:lnTo>
                  <a:lnTo>
                    <a:pt x="157" y="390"/>
                  </a:lnTo>
                  <a:lnTo>
                    <a:pt x="138" y="385"/>
                  </a:lnTo>
                  <a:lnTo>
                    <a:pt x="120" y="379"/>
                  </a:lnTo>
                  <a:lnTo>
                    <a:pt x="104" y="370"/>
                  </a:lnTo>
                  <a:lnTo>
                    <a:pt x="87" y="361"/>
                  </a:lnTo>
                  <a:lnTo>
                    <a:pt x="71" y="348"/>
                  </a:lnTo>
                  <a:lnTo>
                    <a:pt x="58" y="336"/>
                  </a:lnTo>
                  <a:lnTo>
                    <a:pt x="45" y="323"/>
                  </a:lnTo>
                  <a:lnTo>
                    <a:pt x="33" y="306"/>
                  </a:lnTo>
                  <a:lnTo>
                    <a:pt x="23" y="290"/>
                  </a:lnTo>
                  <a:lnTo>
                    <a:pt x="14" y="274"/>
                  </a:lnTo>
                  <a:lnTo>
                    <a:pt x="9" y="255"/>
                  </a:lnTo>
                  <a:lnTo>
                    <a:pt x="3" y="237"/>
                  </a:lnTo>
                  <a:lnTo>
                    <a:pt x="2" y="217"/>
                  </a:lnTo>
                  <a:lnTo>
                    <a:pt x="0" y="197"/>
                  </a:lnTo>
                  <a:lnTo>
                    <a:pt x="0" y="197"/>
                  </a:lnTo>
                  <a:lnTo>
                    <a:pt x="2" y="177"/>
                  </a:lnTo>
                  <a:lnTo>
                    <a:pt x="3" y="157"/>
                  </a:lnTo>
                  <a:lnTo>
                    <a:pt x="9" y="139"/>
                  </a:lnTo>
                  <a:lnTo>
                    <a:pt x="14" y="120"/>
                  </a:lnTo>
                  <a:lnTo>
                    <a:pt x="23" y="104"/>
                  </a:lnTo>
                  <a:lnTo>
                    <a:pt x="33" y="88"/>
                  </a:lnTo>
                  <a:lnTo>
                    <a:pt x="45" y="71"/>
                  </a:lnTo>
                  <a:lnTo>
                    <a:pt x="58" y="58"/>
                  </a:lnTo>
                  <a:lnTo>
                    <a:pt x="71" y="46"/>
                  </a:lnTo>
                  <a:lnTo>
                    <a:pt x="87" y="33"/>
                  </a:lnTo>
                  <a:lnTo>
                    <a:pt x="104" y="24"/>
                  </a:lnTo>
                  <a:lnTo>
                    <a:pt x="120" y="15"/>
                  </a:lnTo>
                  <a:lnTo>
                    <a:pt x="138" y="9"/>
                  </a:lnTo>
                  <a:lnTo>
                    <a:pt x="157" y="4"/>
                  </a:lnTo>
                  <a:lnTo>
                    <a:pt x="177" y="2"/>
                  </a:lnTo>
                  <a:lnTo>
                    <a:pt x="197" y="0"/>
                  </a:lnTo>
                  <a:lnTo>
                    <a:pt x="197" y="0"/>
                  </a:lnTo>
                  <a:lnTo>
                    <a:pt x="217" y="2"/>
                  </a:lnTo>
                  <a:lnTo>
                    <a:pt x="237" y="4"/>
                  </a:lnTo>
                  <a:lnTo>
                    <a:pt x="255" y="9"/>
                  </a:lnTo>
                  <a:lnTo>
                    <a:pt x="273" y="15"/>
                  </a:lnTo>
                  <a:lnTo>
                    <a:pt x="290" y="24"/>
                  </a:lnTo>
                  <a:lnTo>
                    <a:pt x="306" y="33"/>
                  </a:lnTo>
                  <a:lnTo>
                    <a:pt x="323" y="46"/>
                  </a:lnTo>
                  <a:lnTo>
                    <a:pt x="336" y="58"/>
                  </a:lnTo>
                  <a:lnTo>
                    <a:pt x="348" y="71"/>
                  </a:lnTo>
                  <a:lnTo>
                    <a:pt x="361" y="88"/>
                  </a:lnTo>
                  <a:lnTo>
                    <a:pt x="370" y="104"/>
                  </a:lnTo>
                  <a:lnTo>
                    <a:pt x="379" y="120"/>
                  </a:lnTo>
                  <a:lnTo>
                    <a:pt x="385" y="139"/>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0" name="Freeform 22"/>
            <p:cNvSpPr/>
            <p:nvPr/>
          </p:nvSpPr>
          <p:spPr bwMode="auto">
            <a:xfrm>
              <a:off x="1490" y="1230"/>
              <a:ext cx="394" cy="394"/>
            </a:xfrm>
            <a:custGeom>
              <a:avLst/>
              <a:gdLst>
                <a:gd name="T0" fmla="*/ 394 w 394"/>
                <a:gd name="T1" fmla="*/ 197 h 394"/>
                <a:gd name="T2" fmla="*/ 391 w 394"/>
                <a:gd name="T3" fmla="*/ 237 h 394"/>
                <a:gd name="T4" fmla="*/ 380 w 394"/>
                <a:gd name="T5" fmla="*/ 274 h 394"/>
                <a:gd name="T6" fmla="*/ 362 w 394"/>
                <a:gd name="T7" fmla="*/ 306 h 394"/>
                <a:gd name="T8" fmla="*/ 336 w 394"/>
                <a:gd name="T9" fmla="*/ 336 h 394"/>
                <a:gd name="T10" fmla="*/ 307 w 394"/>
                <a:gd name="T11" fmla="*/ 361 h 394"/>
                <a:gd name="T12" fmla="*/ 274 w 394"/>
                <a:gd name="T13" fmla="*/ 379 h 394"/>
                <a:gd name="T14" fmla="*/ 238 w 394"/>
                <a:gd name="T15" fmla="*/ 390 h 394"/>
                <a:gd name="T16" fmla="*/ 197 w 394"/>
                <a:gd name="T17" fmla="*/ 394 h 394"/>
                <a:gd name="T18" fmla="*/ 177 w 394"/>
                <a:gd name="T19" fmla="*/ 392 h 394"/>
                <a:gd name="T20" fmla="*/ 139 w 394"/>
                <a:gd name="T21" fmla="*/ 385 h 394"/>
                <a:gd name="T22" fmla="*/ 104 w 394"/>
                <a:gd name="T23" fmla="*/ 370 h 394"/>
                <a:gd name="T24" fmla="*/ 71 w 394"/>
                <a:gd name="T25" fmla="*/ 348 h 394"/>
                <a:gd name="T26" fmla="*/ 46 w 394"/>
                <a:gd name="T27" fmla="*/ 323 h 394"/>
                <a:gd name="T28" fmla="*/ 24 w 394"/>
                <a:gd name="T29" fmla="*/ 290 h 394"/>
                <a:gd name="T30" fmla="*/ 9 w 394"/>
                <a:gd name="T31" fmla="*/ 255 h 394"/>
                <a:gd name="T32" fmla="*/ 2 w 394"/>
                <a:gd name="T33" fmla="*/ 217 h 394"/>
                <a:gd name="T34" fmla="*/ 0 w 394"/>
                <a:gd name="T35" fmla="*/ 197 h 394"/>
                <a:gd name="T36" fmla="*/ 4 w 394"/>
                <a:gd name="T37" fmla="*/ 157 h 394"/>
                <a:gd name="T38" fmla="*/ 15 w 394"/>
                <a:gd name="T39" fmla="*/ 120 h 394"/>
                <a:gd name="T40" fmla="*/ 33 w 394"/>
                <a:gd name="T41" fmla="*/ 88 h 394"/>
                <a:gd name="T42" fmla="*/ 59 w 394"/>
                <a:gd name="T43" fmla="*/ 58 h 394"/>
                <a:gd name="T44" fmla="*/ 88 w 394"/>
                <a:gd name="T45" fmla="*/ 33 h 394"/>
                <a:gd name="T46" fmla="*/ 121 w 394"/>
                <a:gd name="T47" fmla="*/ 15 h 394"/>
                <a:gd name="T48" fmla="*/ 157 w 394"/>
                <a:gd name="T49" fmla="*/ 4 h 394"/>
                <a:gd name="T50" fmla="*/ 197 w 394"/>
                <a:gd name="T51" fmla="*/ 0 h 394"/>
                <a:gd name="T52" fmla="*/ 217 w 394"/>
                <a:gd name="T53" fmla="*/ 2 h 394"/>
                <a:gd name="T54" fmla="*/ 256 w 394"/>
                <a:gd name="T55" fmla="*/ 9 h 394"/>
                <a:gd name="T56" fmla="*/ 290 w 394"/>
                <a:gd name="T57" fmla="*/ 24 h 394"/>
                <a:gd name="T58" fmla="*/ 323 w 394"/>
                <a:gd name="T59" fmla="*/ 46 h 394"/>
                <a:gd name="T60" fmla="*/ 349 w 394"/>
                <a:gd name="T61" fmla="*/ 71 h 394"/>
                <a:gd name="T62" fmla="*/ 371 w 394"/>
                <a:gd name="T63" fmla="*/ 104 h 394"/>
                <a:gd name="T64" fmla="*/ 385 w 394"/>
                <a:gd name="T65" fmla="*/ 139 h 394"/>
                <a:gd name="T66" fmla="*/ 393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3" y="217"/>
                  </a:lnTo>
                  <a:lnTo>
                    <a:pt x="391" y="237"/>
                  </a:lnTo>
                  <a:lnTo>
                    <a:pt x="385" y="255"/>
                  </a:lnTo>
                  <a:lnTo>
                    <a:pt x="380" y="274"/>
                  </a:lnTo>
                  <a:lnTo>
                    <a:pt x="371" y="290"/>
                  </a:lnTo>
                  <a:lnTo>
                    <a:pt x="362" y="306"/>
                  </a:lnTo>
                  <a:lnTo>
                    <a:pt x="349" y="323"/>
                  </a:lnTo>
                  <a:lnTo>
                    <a:pt x="336" y="336"/>
                  </a:lnTo>
                  <a:lnTo>
                    <a:pt x="323" y="348"/>
                  </a:lnTo>
                  <a:lnTo>
                    <a:pt x="307" y="361"/>
                  </a:lnTo>
                  <a:lnTo>
                    <a:pt x="290" y="370"/>
                  </a:lnTo>
                  <a:lnTo>
                    <a:pt x="274" y="379"/>
                  </a:lnTo>
                  <a:lnTo>
                    <a:pt x="256" y="385"/>
                  </a:lnTo>
                  <a:lnTo>
                    <a:pt x="238" y="390"/>
                  </a:lnTo>
                  <a:lnTo>
                    <a:pt x="217" y="392"/>
                  </a:lnTo>
                  <a:lnTo>
                    <a:pt x="197" y="394"/>
                  </a:lnTo>
                  <a:lnTo>
                    <a:pt x="197" y="394"/>
                  </a:lnTo>
                  <a:lnTo>
                    <a:pt x="177" y="392"/>
                  </a:lnTo>
                  <a:lnTo>
                    <a:pt x="157" y="390"/>
                  </a:lnTo>
                  <a:lnTo>
                    <a:pt x="139" y="385"/>
                  </a:lnTo>
                  <a:lnTo>
                    <a:pt x="121" y="379"/>
                  </a:lnTo>
                  <a:lnTo>
                    <a:pt x="104" y="370"/>
                  </a:lnTo>
                  <a:lnTo>
                    <a:pt x="88" y="361"/>
                  </a:lnTo>
                  <a:lnTo>
                    <a:pt x="71" y="348"/>
                  </a:lnTo>
                  <a:lnTo>
                    <a:pt x="59" y="336"/>
                  </a:lnTo>
                  <a:lnTo>
                    <a:pt x="46" y="323"/>
                  </a:lnTo>
                  <a:lnTo>
                    <a:pt x="33" y="306"/>
                  </a:lnTo>
                  <a:lnTo>
                    <a:pt x="24" y="290"/>
                  </a:lnTo>
                  <a:lnTo>
                    <a:pt x="15" y="274"/>
                  </a:lnTo>
                  <a:lnTo>
                    <a:pt x="9" y="255"/>
                  </a:lnTo>
                  <a:lnTo>
                    <a:pt x="4" y="237"/>
                  </a:lnTo>
                  <a:lnTo>
                    <a:pt x="2" y="217"/>
                  </a:lnTo>
                  <a:lnTo>
                    <a:pt x="0" y="197"/>
                  </a:lnTo>
                  <a:lnTo>
                    <a:pt x="0" y="197"/>
                  </a:lnTo>
                  <a:lnTo>
                    <a:pt x="2" y="177"/>
                  </a:lnTo>
                  <a:lnTo>
                    <a:pt x="4" y="157"/>
                  </a:lnTo>
                  <a:lnTo>
                    <a:pt x="9" y="139"/>
                  </a:lnTo>
                  <a:lnTo>
                    <a:pt x="15" y="120"/>
                  </a:lnTo>
                  <a:lnTo>
                    <a:pt x="24" y="104"/>
                  </a:lnTo>
                  <a:lnTo>
                    <a:pt x="33" y="88"/>
                  </a:lnTo>
                  <a:lnTo>
                    <a:pt x="46" y="71"/>
                  </a:lnTo>
                  <a:lnTo>
                    <a:pt x="59" y="58"/>
                  </a:lnTo>
                  <a:lnTo>
                    <a:pt x="71" y="46"/>
                  </a:lnTo>
                  <a:lnTo>
                    <a:pt x="88" y="33"/>
                  </a:lnTo>
                  <a:lnTo>
                    <a:pt x="104" y="24"/>
                  </a:lnTo>
                  <a:lnTo>
                    <a:pt x="121" y="15"/>
                  </a:lnTo>
                  <a:lnTo>
                    <a:pt x="139" y="9"/>
                  </a:lnTo>
                  <a:lnTo>
                    <a:pt x="157" y="4"/>
                  </a:lnTo>
                  <a:lnTo>
                    <a:pt x="177" y="2"/>
                  </a:lnTo>
                  <a:lnTo>
                    <a:pt x="197" y="0"/>
                  </a:lnTo>
                  <a:lnTo>
                    <a:pt x="197" y="0"/>
                  </a:lnTo>
                  <a:lnTo>
                    <a:pt x="217" y="2"/>
                  </a:lnTo>
                  <a:lnTo>
                    <a:pt x="238" y="4"/>
                  </a:lnTo>
                  <a:lnTo>
                    <a:pt x="256" y="9"/>
                  </a:lnTo>
                  <a:lnTo>
                    <a:pt x="274" y="15"/>
                  </a:lnTo>
                  <a:lnTo>
                    <a:pt x="290" y="24"/>
                  </a:lnTo>
                  <a:lnTo>
                    <a:pt x="307" y="33"/>
                  </a:lnTo>
                  <a:lnTo>
                    <a:pt x="323" y="46"/>
                  </a:lnTo>
                  <a:lnTo>
                    <a:pt x="336" y="58"/>
                  </a:lnTo>
                  <a:lnTo>
                    <a:pt x="349" y="71"/>
                  </a:lnTo>
                  <a:lnTo>
                    <a:pt x="362" y="88"/>
                  </a:lnTo>
                  <a:lnTo>
                    <a:pt x="371" y="104"/>
                  </a:lnTo>
                  <a:lnTo>
                    <a:pt x="380" y="120"/>
                  </a:lnTo>
                  <a:lnTo>
                    <a:pt x="385" y="139"/>
                  </a:lnTo>
                  <a:lnTo>
                    <a:pt x="391" y="157"/>
                  </a:lnTo>
                  <a:lnTo>
                    <a:pt x="393"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 name="Freeform 23"/>
            <p:cNvSpPr/>
            <p:nvPr/>
          </p:nvSpPr>
          <p:spPr bwMode="auto">
            <a:xfrm>
              <a:off x="1753" y="1690"/>
              <a:ext cx="394" cy="394"/>
            </a:xfrm>
            <a:custGeom>
              <a:avLst/>
              <a:gdLst>
                <a:gd name="T0" fmla="*/ 394 w 394"/>
                <a:gd name="T1" fmla="*/ 197 h 394"/>
                <a:gd name="T2" fmla="*/ 391 w 394"/>
                <a:gd name="T3" fmla="*/ 237 h 394"/>
                <a:gd name="T4" fmla="*/ 380 w 394"/>
                <a:gd name="T5" fmla="*/ 273 h 394"/>
                <a:gd name="T6" fmla="*/ 361 w 394"/>
                <a:gd name="T7" fmla="*/ 306 h 394"/>
                <a:gd name="T8" fmla="*/ 336 w 394"/>
                <a:gd name="T9" fmla="*/ 335 h 394"/>
                <a:gd name="T10" fmla="*/ 307 w 394"/>
                <a:gd name="T11" fmla="*/ 361 h 394"/>
                <a:gd name="T12" fmla="*/ 274 w 394"/>
                <a:gd name="T13" fmla="*/ 379 h 394"/>
                <a:gd name="T14" fmla="*/ 237 w 394"/>
                <a:gd name="T15" fmla="*/ 390 h 394"/>
                <a:gd name="T16" fmla="*/ 197 w 394"/>
                <a:gd name="T17" fmla="*/ 394 h 394"/>
                <a:gd name="T18" fmla="*/ 177 w 394"/>
                <a:gd name="T19" fmla="*/ 392 h 394"/>
                <a:gd name="T20" fmla="*/ 139 w 394"/>
                <a:gd name="T21" fmla="*/ 385 h 394"/>
                <a:gd name="T22" fmla="*/ 104 w 394"/>
                <a:gd name="T23" fmla="*/ 370 h 394"/>
                <a:gd name="T24" fmla="*/ 71 w 394"/>
                <a:gd name="T25" fmla="*/ 348 h 394"/>
                <a:gd name="T26" fmla="*/ 46 w 394"/>
                <a:gd name="T27" fmla="*/ 323 h 394"/>
                <a:gd name="T28" fmla="*/ 24 w 394"/>
                <a:gd name="T29" fmla="*/ 290 h 394"/>
                <a:gd name="T30" fmla="*/ 9 w 394"/>
                <a:gd name="T31" fmla="*/ 255 h 394"/>
                <a:gd name="T32" fmla="*/ 2 w 394"/>
                <a:gd name="T33" fmla="*/ 217 h 394"/>
                <a:gd name="T34" fmla="*/ 0 w 394"/>
                <a:gd name="T35" fmla="*/ 197 h 394"/>
                <a:gd name="T36" fmla="*/ 4 w 394"/>
                <a:gd name="T37" fmla="*/ 157 h 394"/>
                <a:gd name="T38" fmla="*/ 15 w 394"/>
                <a:gd name="T39" fmla="*/ 120 h 394"/>
                <a:gd name="T40" fmla="*/ 33 w 394"/>
                <a:gd name="T41" fmla="*/ 87 h 394"/>
                <a:gd name="T42" fmla="*/ 58 w 394"/>
                <a:gd name="T43" fmla="*/ 58 h 394"/>
                <a:gd name="T44" fmla="*/ 88 w 394"/>
                <a:gd name="T45" fmla="*/ 33 h 394"/>
                <a:gd name="T46" fmla="*/ 120 w 394"/>
                <a:gd name="T47" fmla="*/ 14 h 394"/>
                <a:gd name="T48" fmla="*/ 157 w 394"/>
                <a:gd name="T49" fmla="*/ 3 h 394"/>
                <a:gd name="T50" fmla="*/ 197 w 394"/>
                <a:gd name="T51" fmla="*/ 0 h 394"/>
                <a:gd name="T52" fmla="*/ 217 w 394"/>
                <a:gd name="T53" fmla="*/ 2 h 394"/>
                <a:gd name="T54" fmla="*/ 256 w 394"/>
                <a:gd name="T55" fmla="*/ 9 h 394"/>
                <a:gd name="T56" fmla="*/ 290 w 394"/>
                <a:gd name="T57" fmla="*/ 23 h 394"/>
                <a:gd name="T58" fmla="*/ 323 w 394"/>
                <a:gd name="T59" fmla="*/ 45 h 394"/>
                <a:gd name="T60" fmla="*/ 349 w 394"/>
                <a:gd name="T61" fmla="*/ 71 h 394"/>
                <a:gd name="T62" fmla="*/ 370 w 394"/>
                <a:gd name="T63" fmla="*/ 104 h 394"/>
                <a:gd name="T64" fmla="*/ 385 w 394"/>
                <a:gd name="T65" fmla="*/ 138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1" y="237"/>
                  </a:lnTo>
                  <a:lnTo>
                    <a:pt x="385" y="255"/>
                  </a:lnTo>
                  <a:lnTo>
                    <a:pt x="380" y="273"/>
                  </a:lnTo>
                  <a:lnTo>
                    <a:pt x="370" y="290"/>
                  </a:lnTo>
                  <a:lnTo>
                    <a:pt x="361" y="306"/>
                  </a:lnTo>
                  <a:lnTo>
                    <a:pt x="349" y="323"/>
                  </a:lnTo>
                  <a:lnTo>
                    <a:pt x="336" y="335"/>
                  </a:lnTo>
                  <a:lnTo>
                    <a:pt x="323" y="348"/>
                  </a:lnTo>
                  <a:lnTo>
                    <a:pt x="307" y="361"/>
                  </a:lnTo>
                  <a:lnTo>
                    <a:pt x="290" y="370"/>
                  </a:lnTo>
                  <a:lnTo>
                    <a:pt x="274" y="379"/>
                  </a:lnTo>
                  <a:lnTo>
                    <a:pt x="256" y="385"/>
                  </a:lnTo>
                  <a:lnTo>
                    <a:pt x="237" y="390"/>
                  </a:lnTo>
                  <a:lnTo>
                    <a:pt x="217" y="392"/>
                  </a:lnTo>
                  <a:lnTo>
                    <a:pt x="197" y="394"/>
                  </a:lnTo>
                  <a:lnTo>
                    <a:pt x="197" y="394"/>
                  </a:lnTo>
                  <a:lnTo>
                    <a:pt x="177" y="392"/>
                  </a:lnTo>
                  <a:lnTo>
                    <a:pt x="157" y="390"/>
                  </a:lnTo>
                  <a:lnTo>
                    <a:pt x="139" y="385"/>
                  </a:lnTo>
                  <a:lnTo>
                    <a:pt x="120" y="379"/>
                  </a:lnTo>
                  <a:lnTo>
                    <a:pt x="104" y="370"/>
                  </a:lnTo>
                  <a:lnTo>
                    <a:pt x="88" y="361"/>
                  </a:lnTo>
                  <a:lnTo>
                    <a:pt x="71" y="348"/>
                  </a:lnTo>
                  <a:lnTo>
                    <a:pt x="58" y="335"/>
                  </a:lnTo>
                  <a:lnTo>
                    <a:pt x="46" y="323"/>
                  </a:lnTo>
                  <a:lnTo>
                    <a:pt x="33" y="306"/>
                  </a:lnTo>
                  <a:lnTo>
                    <a:pt x="24" y="290"/>
                  </a:lnTo>
                  <a:lnTo>
                    <a:pt x="15" y="273"/>
                  </a:lnTo>
                  <a:lnTo>
                    <a:pt x="9" y="255"/>
                  </a:lnTo>
                  <a:lnTo>
                    <a:pt x="4" y="237"/>
                  </a:lnTo>
                  <a:lnTo>
                    <a:pt x="2" y="217"/>
                  </a:lnTo>
                  <a:lnTo>
                    <a:pt x="0" y="197"/>
                  </a:lnTo>
                  <a:lnTo>
                    <a:pt x="0" y="197"/>
                  </a:lnTo>
                  <a:lnTo>
                    <a:pt x="2" y="177"/>
                  </a:lnTo>
                  <a:lnTo>
                    <a:pt x="4" y="157"/>
                  </a:lnTo>
                  <a:lnTo>
                    <a:pt x="9" y="138"/>
                  </a:lnTo>
                  <a:lnTo>
                    <a:pt x="15" y="120"/>
                  </a:lnTo>
                  <a:lnTo>
                    <a:pt x="24" y="104"/>
                  </a:lnTo>
                  <a:lnTo>
                    <a:pt x="33" y="87"/>
                  </a:lnTo>
                  <a:lnTo>
                    <a:pt x="46" y="71"/>
                  </a:lnTo>
                  <a:lnTo>
                    <a:pt x="58" y="58"/>
                  </a:lnTo>
                  <a:lnTo>
                    <a:pt x="71" y="45"/>
                  </a:lnTo>
                  <a:lnTo>
                    <a:pt x="88" y="33"/>
                  </a:lnTo>
                  <a:lnTo>
                    <a:pt x="104" y="23"/>
                  </a:lnTo>
                  <a:lnTo>
                    <a:pt x="120" y="14"/>
                  </a:lnTo>
                  <a:lnTo>
                    <a:pt x="139" y="9"/>
                  </a:lnTo>
                  <a:lnTo>
                    <a:pt x="157" y="3"/>
                  </a:lnTo>
                  <a:lnTo>
                    <a:pt x="177" y="2"/>
                  </a:lnTo>
                  <a:lnTo>
                    <a:pt x="197" y="0"/>
                  </a:lnTo>
                  <a:lnTo>
                    <a:pt x="197" y="0"/>
                  </a:lnTo>
                  <a:lnTo>
                    <a:pt x="217" y="2"/>
                  </a:lnTo>
                  <a:lnTo>
                    <a:pt x="237" y="3"/>
                  </a:lnTo>
                  <a:lnTo>
                    <a:pt x="256" y="9"/>
                  </a:lnTo>
                  <a:lnTo>
                    <a:pt x="274" y="14"/>
                  </a:lnTo>
                  <a:lnTo>
                    <a:pt x="290" y="23"/>
                  </a:lnTo>
                  <a:lnTo>
                    <a:pt x="307" y="33"/>
                  </a:lnTo>
                  <a:lnTo>
                    <a:pt x="323" y="45"/>
                  </a:lnTo>
                  <a:lnTo>
                    <a:pt x="336" y="58"/>
                  </a:lnTo>
                  <a:lnTo>
                    <a:pt x="349" y="71"/>
                  </a:lnTo>
                  <a:lnTo>
                    <a:pt x="361" y="87"/>
                  </a:lnTo>
                  <a:lnTo>
                    <a:pt x="370" y="104"/>
                  </a:lnTo>
                  <a:lnTo>
                    <a:pt x="380" y="120"/>
                  </a:lnTo>
                  <a:lnTo>
                    <a:pt x="385" y="138"/>
                  </a:lnTo>
                  <a:lnTo>
                    <a:pt x="391"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2" name="Freeform 24"/>
            <p:cNvSpPr/>
            <p:nvPr/>
          </p:nvSpPr>
          <p:spPr bwMode="auto">
            <a:xfrm>
              <a:off x="702" y="1690"/>
              <a:ext cx="394" cy="394"/>
            </a:xfrm>
            <a:custGeom>
              <a:avLst/>
              <a:gdLst>
                <a:gd name="T0" fmla="*/ 394 w 394"/>
                <a:gd name="T1" fmla="*/ 197 h 394"/>
                <a:gd name="T2" fmla="*/ 390 w 394"/>
                <a:gd name="T3" fmla="*/ 237 h 394"/>
                <a:gd name="T4" fmla="*/ 380 w 394"/>
                <a:gd name="T5" fmla="*/ 273 h 394"/>
                <a:gd name="T6" fmla="*/ 361 w 394"/>
                <a:gd name="T7" fmla="*/ 306 h 394"/>
                <a:gd name="T8" fmla="*/ 336 w 394"/>
                <a:gd name="T9" fmla="*/ 335 h 394"/>
                <a:gd name="T10" fmla="*/ 307 w 394"/>
                <a:gd name="T11" fmla="*/ 361 h 394"/>
                <a:gd name="T12" fmla="*/ 274 w 394"/>
                <a:gd name="T13" fmla="*/ 379 h 394"/>
                <a:gd name="T14" fmla="*/ 237 w 394"/>
                <a:gd name="T15" fmla="*/ 390 h 394"/>
                <a:gd name="T16" fmla="*/ 197 w 394"/>
                <a:gd name="T17" fmla="*/ 394 h 394"/>
                <a:gd name="T18" fmla="*/ 177 w 394"/>
                <a:gd name="T19" fmla="*/ 392 h 394"/>
                <a:gd name="T20" fmla="*/ 139 w 394"/>
                <a:gd name="T21" fmla="*/ 385 h 394"/>
                <a:gd name="T22" fmla="*/ 104 w 394"/>
                <a:gd name="T23" fmla="*/ 370 h 394"/>
                <a:gd name="T24" fmla="*/ 71 w 394"/>
                <a:gd name="T25" fmla="*/ 348 h 394"/>
                <a:gd name="T26" fmla="*/ 46 w 394"/>
                <a:gd name="T27" fmla="*/ 323 h 394"/>
                <a:gd name="T28" fmla="*/ 24 w 394"/>
                <a:gd name="T29" fmla="*/ 290 h 394"/>
                <a:gd name="T30" fmla="*/ 9 w 394"/>
                <a:gd name="T31" fmla="*/ 255 h 394"/>
                <a:gd name="T32" fmla="*/ 2 w 394"/>
                <a:gd name="T33" fmla="*/ 217 h 394"/>
                <a:gd name="T34" fmla="*/ 0 w 394"/>
                <a:gd name="T35" fmla="*/ 197 h 394"/>
                <a:gd name="T36" fmla="*/ 4 w 394"/>
                <a:gd name="T37" fmla="*/ 157 h 394"/>
                <a:gd name="T38" fmla="*/ 15 w 394"/>
                <a:gd name="T39" fmla="*/ 120 h 394"/>
                <a:gd name="T40" fmla="*/ 33 w 394"/>
                <a:gd name="T41" fmla="*/ 87 h 394"/>
                <a:gd name="T42" fmla="*/ 58 w 394"/>
                <a:gd name="T43" fmla="*/ 58 h 394"/>
                <a:gd name="T44" fmla="*/ 88 w 394"/>
                <a:gd name="T45" fmla="*/ 33 h 394"/>
                <a:gd name="T46" fmla="*/ 120 w 394"/>
                <a:gd name="T47" fmla="*/ 14 h 394"/>
                <a:gd name="T48" fmla="*/ 157 w 394"/>
                <a:gd name="T49" fmla="*/ 3 h 394"/>
                <a:gd name="T50" fmla="*/ 197 w 394"/>
                <a:gd name="T51" fmla="*/ 0 h 394"/>
                <a:gd name="T52" fmla="*/ 217 w 394"/>
                <a:gd name="T53" fmla="*/ 2 h 394"/>
                <a:gd name="T54" fmla="*/ 255 w 394"/>
                <a:gd name="T55" fmla="*/ 9 h 394"/>
                <a:gd name="T56" fmla="*/ 290 w 394"/>
                <a:gd name="T57" fmla="*/ 23 h 394"/>
                <a:gd name="T58" fmla="*/ 323 w 394"/>
                <a:gd name="T59" fmla="*/ 45 h 394"/>
                <a:gd name="T60" fmla="*/ 349 w 394"/>
                <a:gd name="T61" fmla="*/ 71 h 394"/>
                <a:gd name="T62" fmla="*/ 370 w 394"/>
                <a:gd name="T63" fmla="*/ 104 h 394"/>
                <a:gd name="T64" fmla="*/ 385 w 394"/>
                <a:gd name="T65" fmla="*/ 138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5"/>
                  </a:lnTo>
                  <a:lnTo>
                    <a:pt x="380" y="273"/>
                  </a:lnTo>
                  <a:lnTo>
                    <a:pt x="370" y="290"/>
                  </a:lnTo>
                  <a:lnTo>
                    <a:pt x="361" y="306"/>
                  </a:lnTo>
                  <a:lnTo>
                    <a:pt x="349" y="323"/>
                  </a:lnTo>
                  <a:lnTo>
                    <a:pt x="336" y="335"/>
                  </a:lnTo>
                  <a:lnTo>
                    <a:pt x="323" y="348"/>
                  </a:lnTo>
                  <a:lnTo>
                    <a:pt x="307" y="361"/>
                  </a:lnTo>
                  <a:lnTo>
                    <a:pt x="290" y="370"/>
                  </a:lnTo>
                  <a:lnTo>
                    <a:pt x="274" y="379"/>
                  </a:lnTo>
                  <a:lnTo>
                    <a:pt x="255" y="385"/>
                  </a:lnTo>
                  <a:lnTo>
                    <a:pt x="237" y="390"/>
                  </a:lnTo>
                  <a:lnTo>
                    <a:pt x="217" y="392"/>
                  </a:lnTo>
                  <a:lnTo>
                    <a:pt x="197" y="394"/>
                  </a:lnTo>
                  <a:lnTo>
                    <a:pt x="197" y="394"/>
                  </a:lnTo>
                  <a:lnTo>
                    <a:pt x="177" y="392"/>
                  </a:lnTo>
                  <a:lnTo>
                    <a:pt x="157" y="390"/>
                  </a:lnTo>
                  <a:lnTo>
                    <a:pt x="139" y="385"/>
                  </a:lnTo>
                  <a:lnTo>
                    <a:pt x="120" y="379"/>
                  </a:lnTo>
                  <a:lnTo>
                    <a:pt x="104" y="370"/>
                  </a:lnTo>
                  <a:lnTo>
                    <a:pt x="88" y="361"/>
                  </a:lnTo>
                  <a:lnTo>
                    <a:pt x="71" y="348"/>
                  </a:lnTo>
                  <a:lnTo>
                    <a:pt x="58" y="335"/>
                  </a:lnTo>
                  <a:lnTo>
                    <a:pt x="46" y="323"/>
                  </a:lnTo>
                  <a:lnTo>
                    <a:pt x="33" y="306"/>
                  </a:lnTo>
                  <a:lnTo>
                    <a:pt x="24" y="290"/>
                  </a:lnTo>
                  <a:lnTo>
                    <a:pt x="15" y="273"/>
                  </a:lnTo>
                  <a:lnTo>
                    <a:pt x="9" y="255"/>
                  </a:lnTo>
                  <a:lnTo>
                    <a:pt x="4" y="237"/>
                  </a:lnTo>
                  <a:lnTo>
                    <a:pt x="2" y="217"/>
                  </a:lnTo>
                  <a:lnTo>
                    <a:pt x="0" y="197"/>
                  </a:lnTo>
                  <a:lnTo>
                    <a:pt x="0" y="197"/>
                  </a:lnTo>
                  <a:lnTo>
                    <a:pt x="2" y="177"/>
                  </a:lnTo>
                  <a:lnTo>
                    <a:pt x="4" y="157"/>
                  </a:lnTo>
                  <a:lnTo>
                    <a:pt x="9" y="138"/>
                  </a:lnTo>
                  <a:lnTo>
                    <a:pt x="15" y="120"/>
                  </a:lnTo>
                  <a:lnTo>
                    <a:pt x="24" y="104"/>
                  </a:lnTo>
                  <a:lnTo>
                    <a:pt x="33" y="87"/>
                  </a:lnTo>
                  <a:lnTo>
                    <a:pt x="46" y="71"/>
                  </a:lnTo>
                  <a:lnTo>
                    <a:pt x="58" y="58"/>
                  </a:lnTo>
                  <a:lnTo>
                    <a:pt x="71" y="45"/>
                  </a:lnTo>
                  <a:lnTo>
                    <a:pt x="88" y="33"/>
                  </a:lnTo>
                  <a:lnTo>
                    <a:pt x="104" y="23"/>
                  </a:lnTo>
                  <a:lnTo>
                    <a:pt x="120" y="14"/>
                  </a:lnTo>
                  <a:lnTo>
                    <a:pt x="139" y="9"/>
                  </a:lnTo>
                  <a:lnTo>
                    <a:pt x="157" y="3"/>
                  </a:lnTo>
                  <a:lnTo>
                    <a:pt x="177" y="2"/>
                  </a:lnTo>
                  <a:lnTo>
                    <a:pt x="197" y="0"/>
                  </a:lnTo>
                  <a:lnTo>
                    <a:pt x="197" y="0"/>
                  </a:lnTo>
                  <a:lnTo>
                    <a:pt x="217" y="2"/>
                  </a:lnTo>
                  <a:lnTo>
                    <a:pt x="237" y="3"/>
                  </a:lnTo>
                  <a:lnTo>
                    <a:pt x="255" y="9"/>
                  </a:lnTo>
                  <a:lnTo>
                    <a:pt x="274" y="14"/>
                  </a:lnTo>
                  <a:lnTo>
                    <a:pt x="290" y="23"/>
                  </a:lnTo>
                  <a:lnTo>
                    <a:pt x="307" y="33"/>
                  </a:lnTo>
                  <a:lnTo>
                    <a:pt x="323" y="45"/>
                  </a:lnTo>
                  <a:lnTo>
                    <a:pt x="336" y="58"/>
                  </a:lnTo>
                  <a:lnTo>
                    <a:pt x="349" y="71"/>
                  </a:lnTo>
                  <a:lnTo>
                    <a:pt x="361" y="87"/>
                  </a:lnTo>
                  <a:lnTo>
                    <a:pt x="370" y="104"/>
                  </a:lnTo>
                  <a:lnTo>
                    <a:pt x="380" y="120"/>
                  </a:lnTo>
                  <a:lnTo>
                    <a:pt x="385" y="138"/>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3" name="Freeform 25"/>
            <p:cNvSpPr/>
            <p:nvPr/>
          </p:nvSpPr>
          <p:spPr bwMode="auto">
            <a:xfrm>
              <a:off x="965" y="3069"/>
              <a:ext cx="394" cy="394"/>
            </a:xfrm>
            <a:custGeom>
              <a:avLst/>
              <a:gdLst>
                <a:gd name="T0" fmla="*/ 394 w 394"/>
                <a:gd name="T1" fmla="*/ 197 h 394"/>
                <a:gd name="T2" fmla="*/ 390 w 394"/>
                <a:gd name="T3" fmla="*/ 237 h 394"/>
                <a:gd name="T4" fmla="*/ 379 w 394"/>
                <a:gd name="T5" fmla="*/ 274 h 394"/>
                <a:gd name="T6" fmla="*/ 361 w 394"/>
                <a:gd name="T7" fmla="*/ 306 h 394"/>
                <a:gd name="T8" fmla="*/ 336 w 394"/>
                <a:gd name="T9" fmla="*/ 336 h 394"/>
                <a:gd name="T10" fmla="*/ 306 w 394"/>
                <a:gd name="T11" fmla="*/ 361 h 394"/>
                <a:gd name="T12" fmla="*/ 273 w 394"/>
                <a:gd name="T13" fmla="*/ 379 h 394"/>
                <a:gd name="T14" fmla="*/ 237 w 394"/>
                <a:gd name="T15" fmla="*/ 390 h 394"/>
                <a:gd name="T16" fmla="*/ 197 w 394"/>
                <a:gd name="T17" fmla="*/ 394 h 394"/>
                <a:gd name="T18" fmla="*/ 177 w 394"/>
                <a:gd name="T19" fmla="*/ 392 h 394"/>
                <a:gd name="T20" fmla="*/ 138 w 394"/>
                <a:gd name="T21" fmla="*/ 385 h 394"/>
                <a:gd name="T22" fmla="*/ 104 w 394"/>
                <a:gd name="T23" fmla="*/ 370 h 394"/>
                <a:gd name="T24" fmla="*/ 71 w 394"/>
                <a:gd name="T25" fmla="*/ 348 h 394"/>
                <a:gd name="T26" fmla="*/ 45 w 394"/>
                <a:gd name="T27" fmla="*/ 323 h 394"/>
                <a:gd name="T28" fmla="*/ 23 w 394"/>
                <a:gd name="T29" fmla="*/ 290 h 394"/>
                <a:gd name="T30" fmla="*/ 9 w 394"/>
                <a:gd name="T31" fmla="*/ 255 h 394"/>
                <a:gd name="T32" fmla="*/ 2 w 394"/>
                <a:gd name="T33" fmla="*/ 217 h 394"/>
                <a:gd name="T34" fmla="*/ 0 w 394"/>
                <a:gd name="T35" fmla="*/ 197 h 394"/>
                <a:gd name="T36" fmla="*/ 3 w 394"/>
                <a:gd name="T37" fmla="*/ 157 h 394"/>
                <a:gd name="T38" fmla="*/ 14 w 394"/>
                <a:gd name="T39" fmla="*/ 120 h 394"/>
                <a:gd name="T40" fmla="*/ 33 w 394"/>
                <a:gd name="T41" fmla="*/ 88 h 394"/>
                <a:gd name="T42" fmla="*/ 58 w 394"/>
                <a:gd name="T43" fmla="*/ 58 h 394"/>
                <a:gd name="T44" fmla="*/ 87 w 394"/>
                <a:gd name="T45" fmla="*/ 33 h 394"/>
                <a:gd name="T46" fmla="*/ 120 w 394"/>
                <a:gd name="T47" fmla="*/ 15 h 394"/>
                <a:gd name="T48" fmla="*/ 157 w 394"/>
                <a:gd name="T49" fmla="*/ 4 h 394"/>
                <a:gd name="T50" fmla="*/ 197 w 394"/>
                <a:gd name="T51" fmla="*/ 0 h 394"/>
                <a:gd name="T52" fmla="*/ 217 w 394"/>
                <a:gd name="T53" fmla="*/ 2 h 394"/>
                <a:gd name="T54" fmla="*/ 255 w 394"/>
                <a:gd name="T55" fmla="*/ 9 h 394"/>
                <a:gd name="T56" fmla="*/ 290 w 394"/>
                <a:gd name="T57" fmla="*/ 24 h 394"/>
                <a:gd name="T58" fmla="*/ 323 w 394"/>
                <a:gd name="T59" fmla="*/ 46 h 394"/>
                <a:gd name="T60" fmla="*/ 348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5"/>
                  </a:lnTo>
                  <a:lnTo>
                    <a:pt x="379" y="274"/>
                  </a:lnTo>
                  <a:lnTo>
                    <a:pt x="370" y="290"/>
                  </a:lnTo>
                  <a:lnTo>
                    <a:pt x="361" y="306"/>
                  </a:lnTo>
                  <a:lnTo>
                    <a:pt x="348" y="323"/>
                  </a:lnTo>
                  <a:lnTo>
                    <a:pt x="336" y="336"/>
                  </a:lnTo>
                  <a:lnTo>
                    <a:pt x="323" y="348"/>
                  </a:lnTo>
                  <a:lnTo>
                    <a:pt x="306" y="361"/>
                  </a:lnTo>
                  <a:lnTo>
                    <a:pt x="290" y="370"/>
                  </a:lnTo>
                  <a:lnTo>
                    <a:pt x="273" y="379"/>
                  </a:lnTo>
                  <a:lnTo>
                    <a:pt x="255" y="385"/>
                  </a:lnTo>
                  <a:lnTo>
                    <a:pt x="237" y="390"/>
                  </a:lnTo>
                  <a:lnTo>
                    <a:pt x="217" y="392"/>
                  </a:lnTo>
                  <a:lnTo>
                    <a:pt x="197" y="394"/>
                  </a:lnTo>
                  <a:lnTo>
                    <a:pt x="197" y="394"/>
                  </a:lnTo>
                  <a:lnTo>
                    <a:pt x="177" y="392"/>
                  </a:lnTo>
                  <a:lnTo>
                    <a:pt x="157" y="390"/>
                  </a:lnTo>
                  <a:lnTo>
                    <a:pt x="138" y="385"/>
                  </a:lnTo>
                  <a:lnTo>
                    <a:pt x="120" y="379"/>
                  </a:lnTo>
                  <a:lnTo>
                    <a:pt x="104" y="370"/>
                  </a:lnTo>
                  <a:lnTo>
                    <a:pt x="87" y="361"/>
                  </a:lnTo>
                  <a:lnTo>
                    <a:pt x="71" y="348"/>
                  </a:lnTo>
                  <a:lnTo>
                    <a:pt x="58" y="336"/>
                  </a:lnTo>
                  <a:lnTo>
                    <a:pt x="45" y="323"/>
                  </a:lnTo>
                  <a:lnTo>
                    <a:pt x="33" y="306"/>
                  </a:lnTo>
                  <a:lnTo>
                    <a:pt x="23" y="290"/>
                  </a:lnTo>
                  <a:lnTo>
                    <a:pt x="14" y="274"/>
                  </a:lnTo>
                  <a:lnTo>
                    <a:pt x="9" y="255"/>
                  </a:lnTo>
                  <a:lnTo>
                    <a:pt x="3" y="237"/>
                  </a:lnTo>
                  <a:lnTo>
                    <a:pt x="2" y="217"/>
                  </a:lnTo>
                  <a:lnTo>
                    <a:pt x="0" y="197"/>
                  </a:lnTo>
                  <a:lnTo>
                    <a:pt x="0" y="197"/>
                  </a:lnTo>
                  <a:lnTo>
                    <a:pt x="2" y="177"/>
                  </a:lnTo>
                  <a:lnTo>
                    <a:pt x="3" y="157"/>
                  </a:lnTo>
                  <a:lnTo>
                    <a:pt x="9" y="139"/>
                  </a:lnTo>
                  <a:lnTo>
                    <a:pt x="14" y="120"/>
                  </a:lnTo>
                  <a:lnTo>
                    <a:pt x="23" y="104"/>
                  </a:lnTo>
                  <a:lnTo>
                    <a:pt x="33" y="88"/>
                  </a:lnTo>
                  <a:lnTo>
                    <a:pt x="45" y="71"/>
                  </a:lnTo>
                  <a:lnTo>
                    <a:pt x="58" y="58"/>
                  </a:lnTo>
                  <a:lnTo>
                    <a:pt x="71" y="46"/>
                  </a:lnTo>
                  <a:lnTo>
                    <a:pt x="87" y="33"/>
                  </a:lnTo>
                  <a:lnTo>
                    <a:pt x="104" y="24"/>
                  </a:lnTo>
                  <a:lnTo>
                    <a:pt x="120" y="15"/>
                  </a:lnTo>
                  <a:lnTo>
                    <a:pt x="138" y="9"/>
                  </a:lnTo>
                  <a:lnTo>
                    <a:pt x="157" y="4"/>
                  </a:lnTo>
                  <a:lnTo>
                    <a:pt x="177" y="2"/>
                  </a:lnTo>
                  <a:lnTo>
                    <a:pt x="197" y="0"/>
                  </a:lnTo>
                  <a:lnTo>
                    <a:pt x="197" y="0"/>
                  </a:lnTo>
                  <a:lnTo>
                    <a:pt x="217" y="2"/>
                  </a:lnTo>
                  <a:lnTo>
                    <a:pt x="237" y="4"/>
                  </a:lnTo>
                  <a:lnTo>
                    <a:pt x="255" y="9"/>
                  </a:lnTo>
                  <a:lnTo>
                    <a:pt x="273" y="15"/>
                  </a:lnTo>
                  <a:lnTo>
                    <a:pt x="290" y="24"/>
                  </a:lnTo>
                  <a:lnTo>
                    <a:pt x="306" y="33"/>
                  </a:lnTo>
                  <a:lnTo>
                    <a:pt x="323" y="46"/>
                  </a:lnTo>
                  <a:lnTo>
                    <a:pt x="336" y="58"/>
                  </a:lnTo>
                  <a:lnTo>
                    <a:pt x="348" y="71"/>
                  </a:lnTo>
                  <a:lnTo>
                    <a:pt x="361" y="88"/>
                  </a:lnTo>
                  <a:lnTo>
                    <a:pt x="370" y="104"/>
                  </a:lnTo>
                  <a:lnTo>
                    <a:pt x="379" y="120"/>
                  </a:lnTo>
                  <a:lnTo>
                    <a:pt x="385" y="139"/>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4" name="Freeform 26"/>
            <p:cNvSpPr/>
            <p:nvPr/>
          </p:nvSpPr>
          <p:spPr bwMode="auto">
            <a:xfrm>
              <a:off x="1490" y="3069"/>
              <a:ext cx="394" cy="394"/>
            </a:xfrm>
            <a:custGeom>
              <a:avLst/>
              <a:gdLst>
                <a:gd name="T0" fmla="*/ 394 w 394"/>
                <a:gd name="T1" fmla="*/ 197 h 394"/>
                <a:gd name="T2" fmla="*/ 391 w 394"/>
                <a:gd name="T3" fmla="*/ 237 h 394"/>
                <a:gd name="T4" fmla="*/ 380 w 394"/>
                <a:gd name="T5" fmla="*/ 274 h 394"/>
                <a:gd name="T6" fmla="*/ 362 w 394"/>
                <a:gd name="T7" fmla="*/ 306 h 394"/>
                <a:gd name="T8" fmla="*/ 336 w 394"/>
                <a:gd name="T9" fmla="*/ 336 h 394"/>
                <a:gd name="T10" fmla="*/ 307 w 394"/>
                <a:gd name="T11" fmla="*/ 361 h 394"/>
                <a:gd name="T12" fmla="*/ 274 w 394"/>
                <a:gd name="T13" fmla="*/ 379 h 394"/>
                <a:gd name="T14" fmla="*/ 238 w 394"/>
                <a:gd name="T15" fmla="*/ 390 h 394"/>
                <a:gd name="T16" fmla="*/ 197 w 394"/>
                <a:gd name="T17" fmla="*/ 394 h 394"/>
                <a:gd name="T18" fmla="*/ 177 w 394"/>
                <a:gd name="T19" fmla="*/ 392 h 394"/>
                <a:gd name="T20" fmla="*/ 139 w 394"/>
                <a:gd name="T21" fmla="*/ 385 h 394"/>
                <a:gd name="T22" fmla="*/ 104 w 394"/>
                <a:gd name="T23" fmla="*/ 370 h 394"/>
                <a:gd name="T24" fmla="*/ 71 w 394"/>
                <a:gd name="T25" fmla="*/ 348 h 394"/>
                <a:gd name="T26" fmla="*/ 46 w 394"/>
                <a:gd name="T27" fmla="*/ 323 h 394"/>
                <a:gd name="T28" fmla="*/ 24 w 394"/>
                <a:gd name="T29" fmla="*/ 290 h 394"/>
                <a:gd name="T30" fmla="*/ 9 w 394"/>
                <a:gd name="T31" fmla="*/ 255 h 394"/>
                <a:gd name="T32" fmla="*/ 2 w 394"/>
                <a:gd name="T33" fmla="*/ 217 h 394"/>
                <a:gd name="T34" fmla="*/ 0 w 394"/>
                <a:gd name="T35" fmla="*/ 197 h 394"/>
                <a:gd name="T36" fmla="*/ 4 w 394"/>
                <a:gd name="T37" fmla="*/ 157 h 394"/>
                <a:gd name="T38" fmla="*/ 15 w 394"/>
                <a:gd name="T39" fmla="*/ 120 h 394"/>
                <a:gd name="T40" fmla="*/ 33 w 394"/>
                <a:gd name="T41" fmla="*/ 88 h 394"/>
                <a:gd name="T42" fmla="*/ 59 w 394"/>
                <a:gd name="T43" fmla="*/ 58 h 394"/>
                <a:gd name="T44" fmla="*/ 88 w 394"/>
                <a:gd name="T45" fmla="*/ 33 h 394"/>
                <a:gd name="T46" fmla="*/ 121 w 394"/>
                <a:gd name="T47" fmla="*/ 15 h 394"/>
                <a:gd name="T48" fmla="*/ 157 w 394"/>
                <a:gd name="T49" fmla="*/ 4 h 394"/>
                <a:gd name="T50" fmla="*/ 197 w 394"/>
                <a:gd name="T51" fmla="*/ 0 h 394"/>
                <a:gd name="T52" fmla="*/ 217 w 394"/>
                <a:gd name="T53" fmla="*/ 2 h 394"/>
                <a:gd name="T54" fmla="*/ 256 w 394"/>
                <a:gd name="T55" fmla="*/ 9 h 394"/>
                <a:gd name="T56" fmla="*/ 290 w 394"/>
                <a:gd name="T57" fmla="*/ 24 h 394"/>
                <a:gd name="T58" fmla="*/ 323 w 394"/>
                <a:gd name="T59" fmla="*/ 46 h 394"/>
                <a:gd name="T60" fmla="*/ 349 w 394"/>
                <a:gd name="T61" fmla="*/ 71 h 394"/>
                <a:gd name="T62" fmla="*/ 371 w 394"/>
                <a:gd name="T63" fmla="*/ 104 h 394"/>
                <a:gd name="T64" fmla="*/ 385 w 394"/>
                <a:gd name="T65" fmla="*/ 139 h 394"/>
                <a:gd name="T66" fmla="*/ 393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3" y="217"/>
                  </a:lnTo>
                  <a:lnTo>
                    <a:pt x="391" y="237"/>
                  </a:lnTo>
                  <a:lnTo>
                    <a:pt x="385" y="255"/>
                  </a:lnTo>
                  <a:lnTo>
                    <a:pt x="380" y="274"/>
                  </a:lnTo>
                  <a:lnTo>
                    <a:pt x="371" y="290"/>
                  </a:lnTo>
                  <a:lnTo>
                    <a:pt x="362" y="306"/>
                  </a:lnTo>
                  <a:lnTo>
                    <a:pt x="349" y="323"/>
                  </a:lnTo>
                  <a:lnTo>
                    <a:pt x="336" y="336"/>
                  </a:lnTo>
                  <a:lnTo>
                    <a:pt x="323" y="348"/>
                  </a:lnTo>
                  <a:lnTo>
                    <a:pt x="307" y="361"/>
                  </a:lnTo>
                  <a:lnTo>
                    <a:pt x="290" y="370"/>
                  </a:lnTo>
                  <a:lnTo>
                    <a:pt x="274" y="379"/>
                  </a:lnTo>
                  <a:lnTo>
                    <a:pt x="256" y="385"/>
                  </a:lnTo>
                  <a:lnTo>
                    <a:pt x="238" y="390"/>
                  </a:lnTo>
                  <a:lnTo>
                    <a:pt x="217" y="392"/>
                  </a:lnTo>
                  <a:lnTo>
                    <a:pt x="197" y="394"/>
                  </a:lnTo>
                  <a:lnTo>
                    <a:pt x="197" y="394"/>
                  </a:lnTo>
                  <a:lnTo>
                    <a:pt x="177" y="392"/>
                  </a:lnTo>
                  <a:lnTo>
                    <a:pt x="157" y="390"/>
                  </a:lnTo>
                  <a:lnTo>
                    <a:pt x="139" y="385"/>
                  </a:lnTo>
                  <a:lnTo>
                    <a:pt x="121" y="379"/>
                  </a:lnTo>
                  <a:lnTo>
                    <a:pt x="104" y="370"/>
                  </a:lnTo>
                  <a:lnTo>
                    <a:pt x="88" y="361"/>
                  </a:lnTo>
                  <a:lnTo>
                    <a:pt x="71" y="348"/>
                  </a:lnTo>
                  <a:lnTo>
                    <a:pt x="59" y="336"/>
                  </a:lnTo>
                  <a:lnTo>
                    <a:pt x="46" y="323"/>
                  </a:lnTo>
                  <a:lnTo>
                    <a:pt x="33" y="306"/>
                  </a:lnTo>
                  <a:lnTo>
                    <a:pt x="24" y="290"/>
                  </a:lnTo>
                  <a:lnTo>
                    <a:pt x="15" y="274"/>
                  </a:lnTo>
                  <a:lnTo>
                    <a:pt x="9" y="255"/>
                  </a:lnTo>
                  <a:lnTo>
                    <a:pt x="4" y="237"/>
                  </a:lnTo>
                  <a:lnTo>
                    <a:pt x="2" y="217"/>
                  </a:lnTo>
                  <a:lnTo>
                    <a:pt x="0" y="197"/>
                  </a:lnTo>
                  <a:lnTo>
                    <a:pt x="0" y="197"/>
                  </a:lnTo>
                  <a:lnTo>
                    <a:pt x="2" y="177"/>
                  </a:lnTo>
                  <a:lnTo>
                    <a:pt x="4" y="157"/>
                  </a:lnTo>
                  <a:lnTo>
                    <a:pt x="9" y="139"/>
                  </a:lnTo>
                  <a:lnTo>
                    <a:pt x="15" y="120"/>
                  </a:lnTo>
                  <a:lnTo>
                    <a:pt x="24" y="104"/>
                  </a:lnTo>
                  <a:lnTo>
                    <a:pt x="33" y="88"/>
                  </a:lnTo>
                  <a:lnTo>
                    <a:pt x="46" y="71"/>
                  </a:lnTo>
                  <a:lnTo>
                    <a:pt x="59" y="58"/>
                  </a:lnTo>
                  <a:lnTo>
                    <a:pt x="71" y="46"/>
                  </a:lnTo>
                  <a:lnTo>
                    <a:pt x="88" y="33"/>
                  </a:lnTo>
                  <a:lnTo>
                    <a:pt x="104" y="24"/>
                  </a:lnTo>
                  <a:lnTo>
                    <a:pt x="121" y="15"/>
                  </a:lnTo>
                  <a:lnTo>
                    <a:pt x="139" y="9"/>
                  </a:lnTo>
                  <a:lnTo>
                    <a:pt x="157" y="4"/>
                  </a:lnTo>
                  <a:lnTo>
                    <a:pt x="177" y="2"/>
                  </a:lnTo>
                  <a:lnTo>
                    <a:pt x="197" y="0"/>
                  </a:lnTo>
                  <a:lnTo>
                    <a:pt x="197" y="0"/>
                  </a:lnTo>
                  <a:lnTo>
                    <a:pt x="217" y="2"/>
                  </a:lnTo>
                  <a:lnTo>
                    <a:pt x="238" y="4"/>
                  </a:lnTo>
                  <a:lnTo>
                    <a:pt x="256" y="9"/>
                  </a:lnTo>
                  <a:lnTo>
                    <a:pt x="274" y="15"/>
                  </a:lnTo>
                  <a:lnTo>
                    <a:pt x="290" y="24"/>
                  </a:lnTo>
                  <a:lnTo>
                    <a:pt x="307" y="33"/>
                  </a:lnTo>
                  <a:lnTo>
                    <a:pt x="323" y="46"/>
                  </a:lnTo>
                  <a:lnTo>
                    <a:pt x="336" y="58"/>
                  </a:lnTo>
                  <a:lnTo>
                    <a:pt x="349" y="71"/>
                  </a:lnTo>
                  <a:lnTo>
                    <a:pt x="362" y="88"/>
                  </a:lnTo>
                  <a:lnTo>
                    <a:pt x="371" y="104"/>
                  </a:lnTo>
                  <a:lnTo>
                    <a:pt x="380" y="120"/>
                  </a:lnTo>
                  <a:lnTo>
                    <a:pt x="385" y="139"/>
                  </a:lnTo>
                  <a:lnTo>
                    <a:pt x="391" y="157"/>
                  </a:lnTo>
                  <a:lnTo>
                    <a:pt x="393"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5" name="Freeform 27"/>
            <p:cNvSpPr/>
            <p:nvPr/>
          </p:nvSpPr>
          <p:spPr bwMode="auto">
            <a:xfrm>
              <a:off x="1753" y="2609"/>
              <a:ext cx="394" cy="394"/>
            </a:xfrm>
            <a:custGeom>
              <a:avLst/>
              <a:gdLst>
                <a:gd name="T0" fmla="*/ 394 w 394"/>
                <a:gd name="T1" fmla="*/ 197 h 394"/>
                <a:gd name="T2" fmla="*/ 391 w 394"/>
                <a:gd name="T3" fmla="*/ 237 h 394"/>
                <a:gd name="T4" fmla="*/ 380 w 394"/>
                <a:gd name="T5" fmla="*/ 274 h 394"/>
                <a:gd name="T6" fmla="*/ 361 w 394"/>
                <a:gd name="T7" fmla="*/ 307 h 394"/>
                <a:gd name="T8" fmla="*/ 336 w 394"/>
                <a:gd name="T9" fmla="*/ 336 h 394"/>
                <a:gd name="T10" fmla="*/ 307 w 394"/>
                <a:gd name="T11" fmla="*/ 361 h 394"/>
                <a:gd name="T12" fmla="*/ 274 w 394"/>
                <a:gd name="T13" fmla="*/ 380 h 394"/>
                <a:gd name="T14" fmla="*/ 237 w 394"/>
                <a:gd name="T15" fmla="*/ 391 h 394"/>
                <a:gd name="T16" fmla="*/ 197 w 394"/>
                <a:gd name="T17" fmla="*/ 394 h 394"/>
                <a:gd name="T18" fmla="*/ 177 w 394"/>
                <a:gd name="T19" fmla="*/ 392 h 394"/>
                <a:gd name="T20" fmla="*/ 139 w 394"/>
                <a:gd name="T21" fmla="*/ 385 h 394"/>
                <a:gd name="T22" fmla="*/ 104 w 394"/>
                <a:gd name="T23" fmla="*/ 371 h 394"/>
                <a:gd name="T24" fmla="*/ 71 w 394"/>
                <a:gd name="T25" fmla="*/ 349 h 394"/>
                <a:gd name="T26" fmla="*/ 46 w 394"/>
                <a:gd name="T27" fmla="*/ 323 h 394"/>
                <a:gd name="T28" fmla="*/ 24 w 394"/>
                <a:gd name="T29" fmla="*/ 290 h 394"/>
                <a:gd name="T30" fmla="*/ 9 w 394"/>
                <a:gd name="T31" fmla="*/ 256 h 394"/>
                <a:gd name="T32" fmla="*/ 2 w 394"/>
                <a:gd name="T33" fmla="*/ 217 h 394"/>
                <a:gd name="T34" fmla="*/ 0 w 394"/>
                <a:gd name="T35" fmla="*/ 197 h 394"/>
                <a:gd name="T36" fmla="*/ 4 w 394"/>
                <a:gd name="T37" fmla="*/ 157 h 394"/>
                <a:gd name="T38" fmla="*/ 15 w 394"/>
                <a:gd name="T39" fmla="*/ 121 h 394"/>
                <a:gd name="T40" fmla="*/ 33 w 394"/>
                <a:gd name="T41" fmla="*/ 88 h 394"/>
                <a:gd name="T42" fmla="*/ 58 w 394"/>
                <a:gd name="T43" fmla="*/ 59 h 394"/>
                <a:gd name="T44" fmla="*/ 88 w 394"/>
                <a:gd name="T45" fmla="*/ 33 h 394"/>
                <a:gd name="T46" fmla="*/ 120 w 394"/>
                <a:gd name="T47" fmla="*/ 15 h 394"/>
                <a:gd name="T48" fmla="*/ 157 w 394"/>
                <a:gd name="T49" fmla="*/ 4 h 394"/>
                <a:gd name="T50" fmla="*/ 197 w 394"/>
                <a:gd name="T51" fmla="*/ 0 h 394"/>
                <a:gd name="T52" fmla="*/ 217 w 394"/>
                <a:gd name="T53" fmla="*/ 2 h 394"/>
                <a:gd name="T54" fmla="*/ 256 w 394"/>
                <a:gd name="T55" fmla="*/ 9 h 394"/>
                <a:gd name="T56" fmla="*/ 290 w 394"/>
                <a:gd name="T57" fmla="*/ 24 h 394"/>
                <a:gd name="T58" fmla="*/ 323 w 394"/>
                <a:gd name="T59" fmla="*/ 46 h 394"/>
                <a:gd name="T60" fmla="*/ 349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1" y="237"/>
                  </a:lnTo>
                  <a:lnTo>
                    <a:pt x="385" y="256"/>
                  </a:lnTo>
                  <a:lnTo>
                    <a:pt x="380" y="274"/>
                  </a:lnTo>
                  <a:lnTo>
                    <a:pt x="370" y="290"/>
                  </a:lnTo>
                  <a:lnTo>
                    <a:pt x="361" y="307"/>
                  </a:lnTo>
                  <a:lnTo>
                    <a:pt x="349" y="323"/>
                  </a:lnTo>
                  <a:lnTo>
                    <a:pt x="336" y="336"/>
                  </a:lnTo>
                  <a:lnTo>
                    <a:pt x="323" y="349"/>
                  </a:lnTo>
                  <a:lnTo>
                    <a:pt x="307" y="361"/>
                  </a:lnTo>
                  <a:lnTo>
                    <a:pt x="290" y="371"/>
                  </a:lnTo>
                  <a:lnTo>
                    <a:pt x="274" y="380"/>
                  </a:lnTo>
                  <a:lnTo>
                    <a:pt x="256" y="385"/>
                  </a:lnTo>
                  <a:lnTo>
                    <a:pt x="237" y="391"/>
                  </a:lnTo>
                  <a:lnTo>
                    <a:pt x="217" y="392"/>
                  </a:lnTo>
                  <a:lnTo>
                    <a:pt x="197" y="394"/>
                  </a:lnTo>
                  <a:lnTo>
                    <a:pt x="197" y="394"/>
                  </a:lnTo>
                  <a:lnTo>
                    <a:pt x="177" y="392"/>
                  </a:lnTo>
                  <a:lnTo>
                    <a:pt x="157" y="391"/>
                  </a:lnTo>
                  <a:lnTo>
                    <a:pt x="139" y="385"/>
                  </a:lnTo>
                  <a:lnTo>
                    <a:pt x="120" y="380"/>
                  </a:lnTo>
                  <a:lnTo>
                    <a:pt x="104" y="371"/>
                  </a:lnTo>
                  <a:lnTo>
                    <a:pt x="88" y="361"/>
                  </a:lnTo>
                  <a:lnTo>
                    <a:pt x="71" y="349"/>
                  </a:lnTo>
                  <a:lnTo>
                    <a:pt x="58" y="336"/>
                  </a:lnTo>
                  <a:lnTo>
                    <a:pt x="46" y="323"/>
                  </a:lnTo>
                  <a:lnTo>
                    <a:pt x="33" y="307"/>
                  </a:lnTo>
                  <a:lnTo>
                    <a:pt x="24" y="290"/>
                  </a:lnTo>
                  <a:lnTo>
                    <a:pt x="15" y="274"/>
                  </a:lnTo>
                  <a:lnTo>
                    <a:pt x="9" y="256"/>
                  </a:lnTo>
                  <a:lnTo>
                    <a:pt x="4" y="237"/>
                  </a:lnTo>
                  <a:lnTo>
                    <a:pt x="2" y="217"/>
                  </a:lnTo>
                  <a:lnTo>
                    <a:pt x="0" y="197"/>
                  </a:lnTo>
                  <a:lnTo>
                    <a:pt x="0" y="197"/>
                  </a:lnTo>
                  <a:lnTo>
                    <a:pt x="2" y="177"/>
                  </a:lnTo>
                  <a:lnTo>
                    <a:pt x="4" y="157"/>
                  </a:lnTo>
                  <a:lnTo>
                    <a:pt x="9" y="139"/>
                  </a:lnTo>
                  <a:lnTo>
                    <a:pt x="15" y="121"/>
                  </a:lnTo>
                  <a:lnTo>
                    <a:pt x="24" y="104"/>
                  </a:lnTo>
                  <a:lnTo>
                    <a:pt x="33" y="88"/>
                  </a:lnTo>
                  <a:lnTo>
                    <a:pt x="46" y="71"/>
                  </a:lnTo>
                  <a:lnTo>
                    <a:pt x="58" y="59"/>
                  </a:lnTo>
                  <a:lnTo>
                    <a:pt x="71" y="46"/>
                  </a:lnTo>
                  <a:lnTo>
                    <a:pt x="88" y="33"/>
                  </a:lnTo>
                  <a:lnTo>
                    <a:pt x="104" y="24"/>
                  </a:lnTo>
                  <a:lnTo>
                    <a:pt x="120" y="15"/>
                  </a:lnTo>
                  <a:lnTo>
                    <a:pt x="139" y="9"/>
                  </a:lnTo>
                  <a:lnTo>
                    <a:pt x="157" y="4"/>
                  </a:lnTo>
                  <a:lnTo>
                    <a:pt x="177" y="2"/>
                  </a:lnTo>
                  <a:lnTo>
                    <a:pt x="197" y="0"/>
                  </a:lnTo>
                  <a:lnTo>
                    <a:pt x="197" y="0"/>
                  </a:lnTo>
                  <a:lnTo>
                    <a:pt x="217" y="2"/>
                  </a:lnTo>
                  <a:lnTo>
                    <a:pt x="237" y="4"/>
                  </a:lnTo>
                  <a:lnTo>
                    <a:pt x="256" y="9"/>
                  </a:lnTo>
                  <a:lnTo>
                    <a:pt x="274" y="15"/>
                  </a:lnTo>
                  <a:lnTo>
                    <a:pt x="290" y="24"/>
                  </a:lnTo>
                  <a:lnTo>
                    <a:pt x="307" y="33"/>
                  </a:lnTo>
                  <a:lnTo>
                    <a:pt x="323" y="46"/>
                  </a:lnTo>
                  <a:lnTo>
                    <a:pt x="336" y="59"/>
                  </a:lnTo>
                  <a:lnTo>
                    <a:pt x="349" y="71"/>
                  </a:lnTo>
                  <a:lnTo>
                    <a:pt x="361" y="88"/>
                  </a:lnTo>
                  <a:lnTo>
                    <a:pt x="370" y="104"/>
                  </a:lnTo>
                  <a:lnTo>
                    <a:pt x="380" y="121"/>
                  </a:lnTo>
                  <a:lnTo>
                    <a:pt x="385" y="139"/>
                  </a:lnTo>
                  <a:lnTo>
                    <a:pt x="391"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6" name="Freeform 28"/>
            <p:cNvSpPr/>
            <p:nvPr/>
          </p:nvSpPr>
          <p:spPr bwMode="auto">
            <a:xfrm>
              <a:off x="702" y="2609"/>
              <a:ext cx="394" cy="394"/>
            </a:xfrm>
            <a:custGeom>
              <a:avLst/>
              <a:gdLst>
                <a:gd name="T0" fmla="*/ 394 w 394"/>
                <a:gd name="T1" fmla="*/ 197 h 394"/>
                <a:gd name="T2" fmla="*/ 390 w 394"/>
                <a:gd name="T3" fmla="*/ 237 h 394"/>
                <a:gd name="T4" fmla="*/ 380 w 394"/>
                <a:gd name="T5" fmla="*/ 274 h 394"/>
                <a:gd name="T6" fmla="*/ 361 w 394"/>
                <a:gd name="T7" fmla="*/ 307 h 394"/>
                <a:gd name="T8" fmla="*/ 336 w 394"/>
                <a:gd name="T9" fmla="*/ 336 h 394"/>
                <a:gd name="T10" fmla="*/ 307 w 394"/>
                <a:gd name="T11" fmla="*/ 361 h 394"/>
                <a:gd name="T12" fmla="*/ 274 w 394"/>
                <a:gd name="T13" fmla="*/ 380 h 394"/>
                <a:gd name="T14" fmla="*/ 237 w 394"/>
                <a:gd name="T15" fmla="*/ 391 h 394"/>
                <a:gd name="T16" fmla="*/ 197 w 394"/>
                <a:gd name="T17" fmla="*/ 394 h 394"/>
                <a:gd name="T18" fmla="*/ 177 w 394"/>
                <a:gd name="T19" fmla="*/ 392 h 394"/>
                <a:gd name="T20" fmla="*/ 139 w 394"/>
                <a:gd name="T21" fmla="*/ 385 h 394"/>
                <a:gd name="T22" fmla="*/ 104 w 394"/>
                <a:gd name="T23" fmla="*/ 371 h 394"/>
                <a:gd name="T24" fmla="*/ 71 w 394"/>
                <a:gd name="T25" fmla="*/ 349 h 394"/>
                <a:gd name="T26" fmla="*/ 46 w 394"/>
                <a:gd name="T27" fmla="*/ 323 h 394"/>
                <a:gd name="T28" fmla="*/ 24 w 394"/>
                <a:gd name="T29" fmla="*/ 290 h 394"/>
                <a:gd name="T30" fmla="*/ 9 w 394"/>
                <a:gd name="T31" fmla="*/ 256 h 394"/>
                <a:gd name="T32" fmla="*/ 2 w 394"/>
                <a:gd name="T33" fmla="*/ 217 h 394"/>
                <a:gd name="T34" fmla="*/ 0 w 394"/>
                <a:gd name="T35" fmla="*/ 197 h 394"/>
                <a:gd name="T36" fmla="*/ 4 w 394"/>
                <a:gd name="T37" fmla="*/ 157 h 394"/>
                <a:gd name="T38" fmla="*/ 15 w 394"/>
                <a:gd name="T39" fmla="*/ 121 h 394"/>
                <a:gd name="T40" fmla="*/ 33 w 394"/>
                <a:gd name="T41" fmla="*/ 88 h 394"/>
                <a:gd name="T42" fmla="*/ 58 w 394"/>
                <a:gd name="T43" fmla="*/ 59 h 394"/>
                <a:gd name="T44" fmla="*/ 88 w 394"/>
                <a:gd name="T45" fmla="*/ 33 h 394"/>
                <a:gd name="T46" fmla="*/ 120 w 394"/>
                <a:gd name="T47" fmla="*/ 15 h 394"/>
                <a:gd name="T48" fmla="*/ 157 w 394"/>
                <a:gd name="T49" fmla="*/ 4 h 394"/>
                <a:gd name="T50" fmla="*/ 197 w 394"/>
                <a:gd name="T51" fmla="*/ 0 h 394"/>
                <a:gd name="T52" fmla="*/ 217 w 394"/>
                <a:gd name="T53" fmla="*/ 2 h 394"/>
                <a:gd name="T54" fmla="*/ 255 w 394"/>
                <a:gd name="T55" fmla="*/ 9 h 394"/>
                <a:gd name="T56" fmla="*/ 290 w 394"/>
                <a:gd name="T57" fmla="*/ 24 h 394"/>
                <a:gd name="T58" fmla="*/ 323 w 394"/>
                <a:gd name="T59" fmla="*/ 46 h 394"/>
                <a:gd name="T60" fmla="*/ 349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6"/>
                  </a:lnTo>
                  <a:lnTo>
                    <a:pt x="380" y="274"/>
                  </a:lnTo>
                  <a:lnTo>
                    <a:pt x="370" y="290"/>
                  </a:lnTo>
                  <a:lnTo>
                    <a:pt x="361" y="307"/>
                  </a:lnTo>
                  <a:lnTo>
                    <a:pt x="349" y="323"/>
                  </a:lnTo>
                  <a:lnTo>
                    <a:pt x="336" y="336"/>
                  </a:lnTo>
                  <a:lnTo>
                    <a:pt x="323" y="349"/>
                  </a:lnTo>
                  <a:lnTo>
                    <a:pt x="307" y="361"/>
                  </a:lnTo>
                  <a:lnTo>
                    <a:pt x="290" y="371"/>
                  </a:lnTo>
                  <a:lnTo>
                    <a:pt x="274" y="380"/>
                  </a:lnTo>
                  <a:lnTo>
                    <a:pt x="255" y="385"/>
                  </a:lnTo>
                  <a:lnTo>
                    <a:pt x="237" y="391"/>
                  </a:lnTo>
                  <a:lnTo>
                    <a:pt x="217" y="392"/>
                  </a:lnTo>
                  <a:lnTo>
                    <a:pt x="197" y="394"/>
                  </a:lnTo>
                  <a:lnTo>
                    <a:pt x="197" y="394"/>
                  </a:lnTo>
                  <a:lnTo>
                    <a:pt x="177" y="392"/>
                  </a:lnTo>
                  <a:lnTo>
                    <a:pt x="157" y="391"/>
                  </a:lnTo>
                  <a:lnTo>
                    <a:pt x="139" y="385"/>
                  </a:lnTo>
                  <a:lnTo>
                    <a:pt x="120" y="380"/>
                  </a:lnTo>
                  <a:lnTo>
                    <a:pt x="104" y="371"/>
                  </a:lnTo>
                  <a:lnTo>
                    <a:pt x="88" y="361"/>
                  </a:lnTo>
                  <a:lnTo>
                    <a:pt x="71" y="349"/>
                  </a:lnTo>
                  <a:lnTo>
                    <a:pt x="58" y="336"/>
                  </a:lnTo>
                  <a:lnTo>
                    <a:pt x="46" y="323"/>
                  </a:lnTo>
                  <a:lnTo>
                    <a:pt x="33" y="307"/>
                  </a:lnTo>
                  <a:lnTo>
                    <a:pt x="24" y="290"/>
                  </a:lnTo>
                  <a:lnTo>
                    <a:pt x="15" y="274"/>
                  </a:lnTo>
                  <a:lnTo>
                    <a:pt x="9" y="256"/>
                  </a:lnTo>
                  <a:lnTo>
                    <a:pt x="4" y="237"/>
                  </a:lnTo>
                  <a:lnTo>
                    <a:pt x="2" y="217"/>
                  </a:lnTo>
                  <a:lnTo>
                    <a:pt x="0" y="197"/>
                  </a:lnTo>
                  <a:lnTo>
                    <a:pt x="0" y="197"/>
                  </a:lnTo>
                  <a:lnTo>
                    <a:pt x="2" y="177"/>
                  </a:lnTo>
                  <a:lnTo>
                    <a:pt x="4" y="157"/>
                  </a:lnTo>
                  <a:lnTo>
                    <a:pt x="9" y="139"/>
                  </a:lnTo>
                  <a:lnTo>
                    <a:pt x="15" y="121"/>
                  </a:lnTo>
                  <a:lnTo>
                    <a:pt x="24" y="104"/>
                  </a:lnTo>
                  <a:lnTo>
                    <a:pt x="33" y="88"/>
                  </a:lnTo>
                  <a:lnTo>
                    <a:pt x="46" y="71"/>
                  </a:lnTo>
                  <a:lnTo>
                    <a:pt x="58" y="59"/>
                  </a:lnTo>
                  <a:lnTo>
                    <a:pt x="71" y="46"/>
                  </a:lnTo>
                  <a:lnTo>
                    <a:pt x="88" y="33"/>
                  </a:lnTo>
                  <a:lnTo>
                    <a:pt x="104" y="24"/>
                  </a:lnTo>
                  <a:lnTo>
                    <a:pt x="120" y="15"/>
                  </a:lnTo>
                  <a:lnTo>
                    <a:pt x="139" y="9"/>
                  </a:lnTo>
                  <a:lnTo>
                    <a:pt x="157" y="4"/>
                  </a:lnTo>
                  <a:lnTo>
                    <a:pt x="177" y="2"/>
                  </a:lnTo>
                  <a:lnTo>
                    <a:pt x="197" y="0"/>
                  </a:lnTo>
                  <a:lnTo>
                    <a:pt x="197" y="0"/>
                  </a:lnTo>
                  <a:lnTo>
                    <a:pt x="217" y="2"/>
                  </a:lnTo>
                  <a:lnTo>
                    <a:pt x="237" y="4"/>
                  </a:lnTo>
                  <a:lnTo>
                    <a:pt x="255" y="9"/>
                  </a:lnTo>
                  <a:lnTo>
                    <a:pt x="274" y="15"/>
                  </a:lnTo>
                  <a:lnTo>
                    <a:pt x="290" y="24"/>
                  </a:lnTo>
                  <a:lnTo>
                    <a:pt x="307" y="33"/>
                  </a:lnTo>
                  <a:lnTo>
                    <a:pt x="323" y="46"/>
                  </a:lnTo>
                  <a:lnTo>
                    <a:pt x="336" y="59"/>
                  </a:lnTo>
                  <a:lnTo>
                    <a:pt x="349" y="71"/>
                  </a:lnTo>
                  <a:lnTo>
                    <a:pt x="361" y="88"/>
                  </a:lnTo>
                  <a:lnTo>
                    <a:pt x="370" y="104"/>
                  </a:lnTo>
                  <a:lnTo>
                    <a:pt x="380" y="121"/>
                  </a:lnTo>
                  <a:lnTo>
                    <a:pt x="385" y="139"/>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7" name="Freeform 29"/>
            <p:cNvSpPr/>
            <p:nvPr/>
          </p:nvSpPr>
          <p:spPr bwMode="auto">
            <a:xfrm>
              <a:off x="965" y="2149"/>
              <a:ext cx="394" cy="395"/>
            </a:xfrm>
            <a:custGeom>
              <a:avLst/>
              <a:gdLst>
                <a:gd name="T0" fmla="*/ 394 w 394"/>
                <a:gd name="T1" fmla="*/ 198 h 395"/>
                <a:gd name="T2" fmla="*/ 390 w 394"/>
                <a:gd name="T3" fmla="*/ 238 h 395"/>
                <a:gd name="T4" fmla="*/ 379 w 394"/>
                <a:gd name="T5" fmla="*/ 274 h 395"/>
                <a:gd name="T6" fmla="*/ 361 w 394"/>
                <a:gd name="T7" fmla="*/ 307 h 395"/>
                <a:gd name="T8" fmla="*/ 336 w 394"/>
                <a:gd name="T9" fmla="*/ 336 h 395"/>
                <a:gd name="T10" fmla="*/ 306 w 394"/>
                <a:gd name="T11" fmla="*/ 362 h 395"/>
                <a:gd name="T12" fmla="*/ 273 w 394"/>
                <a:gd name="T13" fmla="*/ 380 h 395"/>
                <a:gd name="T14" fmla="*/ 237 w 394"/>
                <a:gd name="T15" fmla="*/ 391 h 395"/>
                <a:gd name="T16" fmla="*/ 197 w 394"/>
                <a:gd name="T17" fmla="*/ 395 h 395"/>
                <a:gd name="T18" fmla="*/ 177 w 394"/>
                <a:gd name="T19" fmla="*/ 393 h 395"/>
                <a:gd name="T20" fmla="*/ 138 w 394"/>
                <a:gd name="T21" fmla="*/ 385 h 395"/>
                <a:gd name="T22" fmla="*/ 104 w 394"/>
                <a:gd name="T23" fmla="*/ 371 h 395"/>
                <a:gd name="T24" fmla="*/ 71 w 394"/>
                <a:gd name="T25" fmla="*/ 349 h 395"/>
                <a:gd name="T26" fmla="*/ 45 w 394"/>
                <a:gd name="T27" fmla="*/ 323 h 395"/>
                <a:gd name="T28" fmla="*/ 23 w 394"/>
                <a:gd name="T29" fmla="*/ 291 h 395"/>
                <a:gd name="T30" fmla="*/ 9 w 394"/>
                <a:gd name="T31" fmla="*/ 256 h 395"/>
                <a:gd name="T32" fmla="*/ 2 w 394"/>
                <a:gd name="T33" fmla="*/ 218 h 395"/>
                <a:gd name="T34" fmla="*/ 0 w 394"/>
                <a:gd name="T35" fmla="*/ 198 h 395"/>
                <a:gd name="T36" fmla="*/ 3 w 394"/>
                <a:gd name="T37" fmla="*/ 157 h 395"/>
                <a:gd name="T38" fmla="*/ 14 w 394"/>
                <a:gd name="T39" fmla="*/ 121 h 395"/>
                <a:gd name="T40" fmla="*/ 33 w 394"/>
                <a:gd name="T41" fmla="*/ 88 h 395"/>
                <a:gd name="T42" fmla="*/ 58 w 394"/>
                <a:gd name="T43" fmla="*/ 59 h 395"/>
                <a:gd name="T44" fmla="*/ 87 w 394"/>
                <a:gd name="T45" fmla="*/ 33 h 395"/>
                <a:gd name="T46" fmla="*/ 120 w 394"/>
                <a:gd name="T47" fmla="*/ 15 h 395"/>
                <a:gd name="T48" fmla="*/ 157 w 394"/>
                <a:gd name="T49" fmla="*/ 4 h 395"/>
                <a:gd name="T50" fmla="*/ 197 w 394"/>
                <a:gd name="T51" fmla="*/ 0 h 395"/>
                <a:gd name="T52" fmla="*/ 217 w 394"/>
                <a:gd name="T53" fmla="*/ 2 h 395"/>
                <a:gd name="T54" fmla="*/ 255 w 394"/>
                <a:gd name="T55" fmla="*/ 10 h 395"/>
                <a:gd name="T56" fmla="*/ 290 w 394"/>
                <a:gd name="T57" fmla="*/ 24 h 395"/>
                <a:gd name="T58" fmla="*/ 323 w 394"/>
                <a:gd name="T59" fmla="*/ 46 h 395"/>
                <a:gd name="T60" fmla="*/ 348 w 394"/>
                <a:gd name="T61" fmla="*/ 72 h 395"/>
                <a:gd name="T62" fmla="*/ 370 w 394"/>
                <a:gd name="T63" fmla="*/ 104 h 395"/>
                <a:gd name="T64" fmla="*/ 385 w 394"/>
                <a:gd name="T65" fmla="*/ 139 h 395"/>
                <a:gd name="T66" fmla="*/ 392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2" y="218"/>
                  </a:lnTo>
                  <a:lnTo>
                    <a:pt x="390" y="238"/>
                  </a:lnTo>
                  <a:lnTo>
                    <a:pt x="385" y="256"/>
                  </a:lnTo>
                  <a:lnTo>
                    <a:pt x="379" y="274"/>
                  </a:lnTo>
                  <a:lnTo>
                    <a:pt x="370" y="291"/>
                  </a:lnTo>
                  <a:lnTo>
                    <a:pt x="361" y="307"/>
                  </a:lnTo>
                  <a:lnTo>
                    <a:pt x="348" y="323"/>
                  </a:lnTo>
                  <a:lnTo>
                    <a:pt x="336" y="336"/>
                  </a:lnTo>
                  <a:lnTo>
                    <a:pt x="323" y="349"/>
                  </a:lnTo>
                  <a:lnTo>
                    <a:pt x="306" y="362"/>
                  </a:lnTo>
                  <a:lnTo>
                    <a:pt x="290" y="371"/>
                  </a:lnTo>
                  <a:lnTo>
                    <a:pt x="273" y="380"/>
                  </a:lnTo>
                  <a:lnTo>
                    <a:pt x="255" y="385"/>
                  </a:lnTo>
                  <a:lnTo>
                    <a:pt x="237" y="391"/>
                  </a:lnTo>
                  <a:lnTo>
                    <a:pt x="217" y="393"/>
                  </a:lnTo>
                  <a:lnTo>
                    <a:pt x="197" y="395"/>
                  </a:lnTo>
                  <a:lnTo>
                    <a:pt x="197" y="395"/>
                  </a:lnTo>
                  <a:lnTo>
                    <a:pt x="177" y="393"/>
                  </a:lnTo>
                  <a:lnTo>
                    <a:pt x="157" y="391"/>
                  </a:lnTo>
                  <a:lnTo>
                    <a:pt x="138" y="385"/>
                  </a:lnTo>
                  <a:lnTo>
                    <a:pt x="120" y="380"/>
                  </a:lnTo>
                  <a:lnTo>
                    <a:pt x="104" y="371"/>
                  </a:lnTo>
                  <a:lnTo>
                    <a:pt x="87" y="362"/>
                  </a:lnTo>
                  <a:lnTo>
                    <a:pt x="71" y="349"/>
                  </a:lnTo>
                  <a:lnTo>
                    <a:pt x="58" y="336"/>
                  </a:lnTo>
                  <a:lnTo>
                    <a:pt x="45" y="323"/>
                  </a:lnTo>
                  <a:lnTo>
                    <a:pt x="33" y="307"/>
                  </a:lnTo>
                  <a:lnTo>
                    <a:pt x="23" y="291"/>
                  </a:lnTo>
                  <a:lnTo>
                    <a:pt x="14" y="274"/>
                  </a:lnTo>
                  <a:lnTo>
                    <a:pt x="9" y="256"/>
                  </a:lnTo>
                  <a:lnTo>
                    <a:pt x="3" y="238"/>
                  </a:lnTo>
                  <a:lnTo>
                    <a:pt x="2" y="218"/>
                  </a:lnTo>
                  <a:lnTo>
                    <a:pt x="0" y="198"/>
                  </a:lnTo>
                  <a:lnTo>
                    <a:pt x="0" y="198"/>
                  </a:lnTo>
                  <a:lnTo>
                    <a:pt x="2" y="177"/>
                  </a:lnTo>
                  <a:lnTo>
                    <a:pt x="3" y="157"/>
                  </a:lnTo>
                  <a:lnTo>
                    <a:pt x="9" y="139"/>
                  </a:lnTo>
                  <a:lnTo>
                    <a:pt x="14" y="121"/>
                  </a:lnTo>
                  <a:lnTo>
                    <a:pt x="23" y="104"/>
                  </a:lnTo>
                  <a:lnTo>
                    <a:pt x="33" y="88"/>
                  </a:lnTo>
                  <a:lnTo>
                    <a:pt x="45" y="72"/>
                  </a:lnTo>
                  <a:lnTo>
                    <a:pt x="58" y="59"/>
                  </a:lnTo>
                  <a:lnTo>
                    <a:pt x="71" y="46"/>
                  </a:lnTo>
                  <a:lnTo>
                    <a:pt x="87" y="33"/>
                  </a:lnTo>
                  <a:lnTo>
                    <a:pt x="104" y="24"/>
                  </a:lnTo>
                  <a:lnTo>
                    <a:pt x="120" y="15"/>
                  </a:lnTo>
                  <a:lnTo>
                    <a:pt x="138" y="10"/>
                  </a:lnTo>
                  <a:lnTo>
                    <a:pt x="157" y="4"/>
                  </a:lnTo>
                  <a:lnTo>
                    <a:pt x="177" y="2"/>
                  </a:lnTo>
                  <a:lnTo>
                    <a:pt x="197" y="0"/>
                  </a:lnTo>
                  <a:lnTo>
                    <a:pt x="197" y="0"/>
                  </a:lnTo>
                  <a:lnTo>
                    <a:pt x="217" y="2"/>
                  </a:lnTo>
                  <a:lnTo>
                    <a:pt x="237" y="4"/>
                  </a:lnTo>
                  <a:lnTo>
                    <a:pt x="255" y="10"/>
                  </a:lnTo>
                  <a:lnTo>
                    <a:pt x="273" y="15"/>
                  </a:lnTo>
                  <a:lnTo>
                    <a:pt x="290" y="24"/>
                  </a:lnTo>
                  <a:lnTo>
                    <a:pt x="306" y="33"/>
                  </a:lnTo>
                  <a:lnTo>
                    <a:pt x="323" y="46"/>
                  </a:lnTo>
                  <a:lnTo>
                    <a:pt x="336" y="59"/>
                  </a:lnTo>
                  <a:lnTo>
                    <a:pt x="348" y="72"/>
                  </a:lnTo>
                  <a:lnTo>
                    <a:pt x="361" y="88"/>
                  </a:lnTo>
                  <a:lnTo>
                    <a:pt x="370" y="104"/>
                  </a:lnTo>
                  <a:lnTo>
                    <a:pt x="379" y="121"/>
                  </a:lnTo>
                  <a:lnTo>
                    <a:pt x="385" y="139"/>
                  </a:lnTo>
                  <a:lnTo>
                    <a:pt x="390" y="157"/>
                  </a:lnTo>
                  <a:lnTo>
                    <a:pt x="392" y="177"/>
                  </a:lnTo>
                  <a:lnTo>
                    <a:pt x="394" y="198"/>
                  </a:lnTo>
                  <a:lnTo>
                    <a:pt x="394" y="198"/>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8" name="Freeform 30"/>
            <p:cNvSpPr/>
            <p:nvPr/>
          </p:nvSpPr>
          <p:spPr bwMode="auto">
            <a:xfrm>
              <a:off x="2279" y="1690"/>
              <a:ext cx="394" cy="394"/>
            </a:xfrm>
            <a:custGeom>
              <a:avLst/>
              <a:gdLst>
                <a:gd name="T0" fmla="*/ 394 w 394"/>
                <a:gd name="T1" fmla="*/ 197 h 394"/>
                <a:gd name="T2" fmla="*/ 390 w 394"/>
                <a:gd name="T3" fmla="*/ 237 h 394"/>
                <a:gd name="T4" fmla="*/ 379 w 394"/>
                <a:gd name="T5" fmla="*/ 273 h 394"/>
                <a:gd name="T6" fmla="*/ 361 w 394"/>
                <a:gd name="T7" fmla="*/ 306 h 394"/>
                <a:gd name="T8" fmla="*/ 335 w 394"/>
                <a:gd name="T9" fmla="*/ 335 h 394"/>
                <a:gd name="T10" fmla="*/ 306 w 394"/>
                <a:gd name="T11" fmla="*/ 361 h 394"/>
                <a:gd name="T12" fmla="*/ 273 w 394"/>
                <a:gd name="T13" fmla="*/ 379 h 394"/>
                <a:gd name="T14" fmla="*/ 237 w 394"/>
                <a:gd name="T15" fmla="*/ 390 h 394"/>
                <a:gd name="T16" fmla="*/ 197 w 394"/>
                <a:gd name="T17" fmla="*/ 394 h 394"/>
                <a:gd name="T18" fmla="*/ 177 w 394"/>
                <a:gd name="T19" fmla="*/ 392 h 394"/>
                <a:gd name="T20" fmla="*/ 138 w 394"/>
                <a:gd name="T21" fmla="*/ 385 h 394"/>
                <a:gd name="T22" fmla="*/ 104 w 394"/>
                <a:gd name="T23" fmla="*/ 370 h 394"/>
                <a:gd name="T24" fmla="*/ 71 w 394"/>
                <a:gd name="T25" fmla="*/ 348 h 394"/>
                <a:gd name="T26" fmla="*/ 45 w 394"/>
                <a:gd name="T27" fmla="*/ 323 h 394"/>
                <a:gd name="T28" fmla="*/ 23 w 394"/>
                <a:gd name="T29" fmla="*/ 290 h 394"/>
                <a:gd name="T30" fmla="*/ 9 w 394"/>
                <a:gd name="T31" fmla="*/ 255 h 394"/>
                <a:gd name="T32" fmla="*/ 1 w 394"/>
                <a:gd name="T33" fmla="*/ 217 h 394"/>
                <a:gd name="T34" fmla="*/ 0 w 394"/>
                <a:gd name="T35" fmla="*/ 197 h 394"/>
                <a:gd name="T36" fmla="*/ 3 w 394"/>
                <a:gd name="T37" fmla="*/ 157 h 394"/>
                <a:gd name="T38" fmla="*/ 14 w 394"/>
                <a:gd name="T39" fmla="*/ 120 h 394"/>
                <a:gd name="T40" fmla="*/ 32 w 394"/>
                <a:gd name="T41" fmla="*/ 87 h 394"/>
                <a:gd name="T42" fmla="*/ 58 w 394"/>
                <a:gd name="T43" fmla="*/ 58 h 394"/>
                <a:gd name="T44" fmla="*/ 87 w 394"/>
                <a:gd name="T45" fmla="*/ 33 h 394"/>
                <a:gd name="T46" fmla="*/ 120 w 394"/>
                <a:gd name="T47" fmla="*/ 14 h 394"/>
                <a:gd name="T48" fmla="*/ 156 w 394"/>
                <a:gd name="T49" fmla="*/ 3 h 394"/>
                <a:gd name="T50" fmla="*/ 197 w 394"/>
                <a:gd name="T51" fmla="*/ 0 h 394"/>
                <a:gd name="T52" fmla="*/ 217 w 394"/>
                <a:gd name="T53" fmla="*/ 2 h 394"/>
                <a:gd name="T54" fmla="*/ 255 w 394"/>
                <a:gd name="T55" fmla="*/ 9 h 394"/>
                <a:gd name="T56" fmla="*/ 290 w 394"/>
                <a:gd name="T57" fmla="*/ 23 h 394"/>
                <a:gd name="T58" fmla="*/ 323 w 394"/>
                <a:gd name="T59" fmla="*/ 45 h 394"/>
                <a:gd name="T60" fmla="*/ 348 w 394"/>
                <a:gd name="T61" fmla="*/ 71 h 394"/>
                <a:gd name="T62" fmla="*/ 370 w 394"/>
                <a:gd name="T63" fmla="*/ 104 h 394"/>
                <a:gd name="T64" fmla="*/ 385 w 394"/>
                <a:gd name="T65" fmla="*/ 138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5"/>
                  </a:lnTo>
                  <a:lnTo>
                    <a:pt x="379" y="273"/>
                  </a:lnTo>
                  <a:lnTo>
                    <a:pt x="370" y="290"/>
                  </a:lnTo>
                  <a:lnTo>
                    <a:pt x="361" y="306"/>
                  </a:lnTo>
                  <a:lnTo>
                    <a:pt x="348" y="323"/>
                  </a:lnTo>
                  <a:lnTo>
                    <a:pt x="335" y="335"/>
                  </a:lnTo>
                  <a:lnTo>
                    <a:pt x="323" y="348"/>
                  </a:lnTo>
                  <a:lnTo>
                    <a:pt x="306" y="361"/>
                  </a:lnTo>
                  <a:lnTo>
                    <a:pt x="290" y="370"/>
                  </a:lnTo>
                  <a:lnTo>
                    <a:pt x="273" y="379"/>
                  </a:lnTo>
                  <a:lnTo>
                    <a:pt x="255" y="385"/>
                  </a:lnTo>
                  <a:lnTo>
                    <a:pt x="237" y="390"/>
                  </a:lnTo>
                  <a:lnTo>
                    <a:pt x="217" y="392"/>
                  </a:lnTo>
                  <a:lnTo>
                    <a:pt x="197" y="394"/>
                  </a:lnTo>
                  <a:lnTo>
                    <a:pt x="197" y="394"/>
                  </a:lnTo>
                  <a:lnTo>
                    <a:pt x="177" y="392"/>
                  </a:lnTo>
                  <a:lnTo>
                    <a:pt x="156" y="390"/>
                  </a:lnTo>
                  <a:lnTo>
                    <a:pt x="138" y="385"/>
                  </a:lnTo>
                  <a:lnTo>
                    <a:pt x="120" y="379"/>
                  </a:lnTo>
                  <a:lnTo>
                    <a:pt x="104" y="370"/>
                  </a:lnTo>
                  <a:lnTo>
                    <a:pt x="87" y="361"/>
                  </a:lnTo>
                  <a:lnTo>
                    <a:pt x="71" y="348"/>
                  </a:lnTo>
                  <a:lnTo>
                    <a:pt x="58" y="335"/>
                  </a:lnTo>
                  <a:lnTo>
                    <a:pt x="45" y="323"/>
                  </a:lnTo>
                  <a:lnTo>
                    <a:pt x="32" y="306"/>
                  </a:lnTo>
                  <a:lnTo>
                    <a:pt x="23" y="290"/>
                  </a:lnTo>
                  <a:lnTo>
                    <a:pt x="14" y="273"/>
                  </a:lnTo>
                  <a:lnTo>
                    <a:pt x="9" y="255"/>
                  </a:lnTo>
                  <a:lnTo>
                    <a:pt x="3" y="237"/>
                  </a:lnTo>
                  <a:lnTo>
                    <a:pt x="1" y="217"/>
                  </a:lnTo>
                  <a:lnTo>
                    <a:pt x="0" y="197"/>
                  </a:lnTo>
                  <a:lnTo>
                    <a:pt x="0" y="197"/>
                  </a:lnTo>
                  <a:lnTo>
                    <a:pt x="1" y="177"/>
                  </a:lnTo>
                  <a:lnTo>
                    <a:pt x="3" y="157"/>
                  </a:lnTo>
                  <a:lnTo>
                    <a:pt x="9" y="138"/>
                  </a:lnTo>
                  <a:lnTo>
                    <a:pt x="14" y="120"/>
                  </a:lnTo>
                  <a:lnTo>
                    <a:pt x="23" y="104"/>
                  </a:lnTo>
                  <a:lnTo>
                    <a:pt x="32" y="87"/>
                  </a:lnTo>
                  <a:lnTo>
                    <a:pt x="45" y="71"/>
                  </a:lnTo>
                  <a:lnTo>
                    <a:pt x="58" y="58"/>
                  </a:lnTo>
                  <a:lnTo>
                    <a:pt x="71" y="45"/>
                  </a:lnTo>
                  <a:lnTo>
                    <a:pt x="87" y="33"/>
                  </a:lnTo>
                  <a:lnTo>
                    <a:pt x="104" y="23"/>
                  </a:lnTo>
                  <a:lnTo>
                    <a:pt x="120" y="14"/>
                  </a:lnTo>
                  <a:lnTo>
                    <a:pt x="138" y="9"/>
                  </a:lnTo>
                  <a:lnTo>
                    <a:pt x="156" y="3"/>
                  </a:lnTo>
                  <a:lnTo>
                    <a:pt x="177" y="2"/>
                  </a:lnTo>
                  <a:lnTo>
                    <a:pt x="197" y="0"/>
                  </a:lnTo>
                  <a:lnTo>
                    <a:pt x="197" y="0"/>
                  </a:lnTo>
                  <a:lnTo>
                    <a:pt x="217" y="2"/>
                  </a:lnTo>
                  <a:lnTo>
                    <a:pt x="237" y="3"/>
                  </a:lnTo>
                  <a:lnTo>
                    <a:pt x="255" y="9"/>
                  </a:lnTo>
                  <a:lnTo>
                    <a:pt x="273" y="14"/>
                  </a:lnTo>
                  <a:lnTo>
                    <a:pt x="290" y="23"/>
                  </a:lnTo>
                  <a:lnTo>
                    <a:pt x="306" y="33"/>
                  </a:lnTo>
                  <a:lnTo>
                    <a:pt x="323" y="45"/>
                  </a:lnTo>
                  <a:lnTo>
                    <a:pt x="335" y="58"/>
                  </a:lnTo>
                  <a:lnTo>
                    <a:pt x="348" y="71"/>
                  </a:lnTo>
                  <a:lnTo>
                    <a:pt x="361" y="87"/>
                  </a:lnTo>
                  <a:lnTo>
                    <a:pt x="370" y="104"/>
                  </a:lnTo>
                  <a:lnTo>
                    <a:pt x="379" y="120"/>
                  </a:lnTo>
                  <a:lnTo>
                    <a:pt x="385" y="138"/>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9" name="Freeform 31"/>
            <p:cNvSpPr/>
            <p:nvPr/>
          </p:nvSpPr>
          <p:spPr bwMode="auto">
            <a:xfrm>
              <a:off x="2279" y="2609"/>
              <a:ext cx="394" cy="394"/>
            </a:xfrm>
            <a:custGeom>
              <a:avLst/>
              <a:gdLst>
                <a:gd name="T0" fmla="*/ 394 w 394"/>
                <a:gd name="T1" fmla="*/ 197 h 394"/>
                <a:gd name="T2" fmla="*/ 390 w 394"/>
                <a:gd name="T3" fmla="*/ 237 h 394"/>
                <a:gd name="T4" fmla="*/ 379 w 394"/>
                <a:gd name="T5" fmla="*/ 274 h 394"/>
                <a:gd name="T6" fmla="*/ 361 w 394"/>
                <a:gd name="T7" fmla="*/ 307 h 394"/>
                <a:gd name="T8" fmla="*/ 335 w 394"/>
                <a:gd name="T9" fmla="*/ 336 h 394"/>
                <a:gd name="T10" fmla="*/ 306 w 394"/>
                <a:gd name="T11" fmla="*/ 361 h 394"/>
                <a:gd name="T12" fmla="*/ 273 w 394"/>
                <a:gd name="T13" fmla="*/ 380 h 394"/>
                <a:gd name="T14" fmla="*/ 237 w 394"/>
                <a:gd name="T15" fmla="*/ 391 h 394"/>
                <a:gd name="T16" fmla="*/ 197 w 394"/>
                <a:gd name="T17" fmla="*/ 394 h 394"/>
                <a:gd name="T18" fmla="*/ 177 w 394"/>
                <a:gd name="T19" fmla="*/ 392 h 394"/>
                <a:gd name="T20" fmla="*/ 138 w 394"/>
                <a:gd name="T21" fmla="*/ 385 h 394"/>
                <a:gd name="T22" fmla="*/ 104 w 394"/>
                <a:gd name="T23" fmla="*/ 371 h 394"/>
                <a:gd name="T24" fmla="*/ 71 w 394"/>
                <a:gd name="T25" fmla="*/ 349 h 394"/>
                <a:gd name="T26" fmla="*/ 45 w 394"/>
                <a:gd name="T27" fmla="*/ 323 h 394"/>
                <a:gd name="T28" fmla="*/ 23 w 394"/>
                <a:gd name="T29" fmla="*/ 290 h 394"/>
                <a:gd name="T30" fmla="*/ 9 w 394"/>
                <a:gd name="T31" fmla="*/ 256 h 394"/>
                <a:gd name="T32" fmla="*/ 1 w 394"/>
                <a:gd name="T33" fmla="*/ 217 h 394"/>
                <a:gd name="T34" fmla="*/ 0 w 394"/>
                <a:gd name="T35" fmla="*/ 197 h 394"/>
                <a:gd name="T36" fmla="*/ 3 w 394"/>
                <a:gd name="T37" fmla="*/ 157 h 394"/>
                <a:gd name="T38" fmla="*/ 14 w 394"/>
                <a:gd name="T39" fmla="*/ 121 h 394"/>
                <a:gd name="T40" fmla="*/ 32 w 394"/>
                <a:gd name="T41" fmla="*/ 88 h 394"/>
                <a:gd name="T42" fmla="*/ 58 w 394"/>
                <a:gd name="T43" fmla="*/ 59 h 394"/>
                <a:gd name="T44" fmla="*/ 87 w 394"/>
                <a:gd name="T45" fmla="*/ 33 h 394"/>
                <a:gd name="T46" fmla="*/ 120 w 394"/>
                <a:gd name="T47" fmla="*/ 15 h 394"/>
                <a:gd name="T48" fmla="*/ 156 w 394"/>
                <a:gd name="T49" fmla="*/ 4 h 394"/>
                <a:gd name="T50" fmla="*/ 197 w 394"/>
                <a:gd name="T51" fmla="*/ 0 h 394"/>
                <a:gd name="T52" fmla="*/ 217 w 394"/>
                <a:gd name="T53" fmla="*/ 2 h 394"/>
                <a:gd name="T54" fmla="*/ 255 w 394"/>
                <a:gd name="T55" fmla="*/ 9 h 394"/>
                <a:gd name="T56" fmla="*/ 290 w 394"/>
                <a:gd name="T57" fmla="*/ 24 h 394"/>
                <a:gd name="T58" fmla="*/ 323 w 394"/>
                <a:gd name="T59" fmla="*/ 46 h 394"/>
                <a:gd name="T60" fmla="*/ 348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6"/>
                  </a:lnTo>
                  <a:lnTo>
                    <a:pt x="379" y="274"/>
                  </a:lnTo>
                  <a:lnTo>
                    <a:pt x="370" y="290"/>
                  </a:lnTo>
                  <a:lnTo>
                    <a:pt x="361" y="307"/>
                  </a:lnTo>
                  <a:lnTo>
                    <a:pt x="348" y="323"/>
                  </a:lnTo>
                  <a:lnTo>
                    <a:pt x="335" y="336"/>
                  </a:lnTo>
                  <a:lnTo>
                    <a:pt x="323" y="349"/>
                  </a:lnTo>
                  <a:lnTo>
                    <a:pt x="306" y="361"/>
                  </a:lnTo>
                  <a:lnTo>
                    <a:pt x="290" y="371"/>
                  </a:lnTo>
                  <a:lnTo>
                    <a:pt x="273" y="380"/>
                  </a:lnTo>
                  <a:lnTo>
                    <a:pt x="255" y="385"/>
                  </a:lnTo>
                  <a:lnTo>
                    <a:pt x="237" y="391"/>
                  </a:lnTo>
                  <a:lnTo>
                    <a:pt x="217" y="392"/>
                  </a:lnTo>
                  <a:lnTo>
                    <a:pt x="197" y="394"/>
                  </a:lnTo>
                  <a:lnTo>
                    <a:pt x="197" y="394"/>
                  </a:lnTo>
                  <a:lnTo>
                    <a:pt x="177" y="392"/>
                  </a:lnTo>
                  <a:lnTo>
                    <a:pt x="156" y="391"/>
                  </a:lnTo>
                  <a:lnTo>
                    <a:pt x="138" y="385"/>
                  </a:lnTo>
                  <a:lnTo>
                    <a:pt x="120" y="380"/>
                  </a:lnTo>
                  <a:lnTo>
                    <a:pt x="104" y="371"/>
                  </a:lnTo>
                  <a:lnTo>
                    <a:pt x="87" y="361"/>
                  </a:lnTo>
                  <a:lnTo>
                    <a:pt x="71" y="349"/>
                  </a:lnTo>
                  <a:lnTo>
                    <a:pt x="58" y="336"/>
                  </a:lnTo>
                  <a:lnTo>
                    <a:pt x="45" y="323"/>
                  </a:lnTo>
                  <a:lnTo>
                    <a:pt x="32" y="307"/>
                  </a:lnTo>
                  <a:lnTo>
                    <a:pt x="23" y="290"/>
                  </a:lnTo>
                  <a:lnTo>
                    <a:pt x="14" y="274"/>
                  </a:lnTo>
                  <a:lnTo>
                    <a:pt x="9" y="256"/>
                  </a:lnTo>
                  <a:lnTo>
                    <a:pt x="3" y="237"/>
                  </a:lnTo>
                  <a:lnTo>
                    <a:pt x="1" y="217"/>
                  </a:lnTo>
                  <a:lnTo>
                    <a:pt x="0" y="197"/>
                  </a:lnTo>
                  <a:lnTo>
                    <a:pt x="0" y="197"/>
                  </a:lnTo>
                  <a:lnTo>
                    <a:pt x="1" y="177"/>
                  </a:lnTo>
                  <a:lnTo>
                    <a:pt x="3" y="157"/>
                  </a:lnTo>
                  <a:lnTo>
                    <a:pt x="9" y="139"/>
                  </a:lnTo>
                  <a:lnTo>
                    <a:pt x="14" y="121"/>
                  </a:lnTo>
                  <a:lnTo>
                    <a:pt x="23" y="104"/>
                  </a:lnTo>
                  <a:lnTo>
                    <a:pt x="32" y="88"/>
                  </a:lnTo>
                  <a:lnTo>
                    <a:pt x="45" y="71"/>
                  </a:lnTo>
                  <a:lnTo>
                    <a:pt x="58" y="59"/>
                  </a:lnTo>
                  <a:lnTo>
                    <a:pt x="71" y="46"/>
                  </a:lnTo>
                  <a:lnTo>
                    <a:pt x="87" y="33"/>
                  </a:lnTo>
                  <a:lnTo>
                    <a:pt x="104" y="24"/>
                  </a:lnTo>
                  <a:lnTo>
                    <a:pt x="120" y="15"/>
                  </a:lnTo>
                  <a:lnTo>
                    <a:pt x="138" y="9"/>
                  </a:lnTo>
                  <a:lnTo>
                    <a:pt x="156" y="4"/>
                  </a:lnTo>
                  <a:lnTo>
                    <a:pt x="177" y="2"/>
                  </a:lnTo>
                  <a:lnTo>
                    <a:pt x="197" y="0"/>
                  </a:lnTo>
                  <a:lnTo>
                    <a:pt x="197" y="0"/>
                  </a:lnTo>
                  <a:lnTo>
                    <a:pt x="217" y="2"/>
                  </a:lnTo>
                  <a:lnTo>
                    <a:pt x="237" y="4"/>
                  </a:lnTo>
                  <a:lnTo>
                    <a:pt x="255" y="9"/>
                  </a:lnTo>
                  <a:lnTo>
                    <a:pt x="273" y="15"/>
                  </a:lnTo>
                  <a:lnTo>
                    <a:pt x="290" y="24"/>
                  </a:lnTo>
                  <a:lnTo>
                    <a:pt x="306" y="33"/>
                  </a:lnTo>
                  <a:lnTo>
                    <a:pt x="323" y="46"/>
                  </a:lnTo>
                  <a:lnTo>
                    <a:pt x="335" y="59"/>
                  </a:lnTo>
                  <a:lnTo>
                    <a:pt x="348" y="71"/>
                  </a:lnTo>
                  <a:lnTo>
                    <a:pt x="361" y="88"/>
                  </a:lnTo>
                  <a:lnTo>
                    <a:pt x="370" y="104"/>
                  </a:lnTo>
                  <a:lnTo>
                    <a:pt x="379" y="121"/>
                  </a:lnTo>
                  <a:lnTo>
                    <a:pt x="385" y="139"/>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0" name="Group 32"/>
            <p:cNvGrpSpPr/>
            <p:nvPr/>
          </p:nvGrpSpPr>
          <p:grpSpPr bwMode="auto">
            <a:xfrm>
              <a:off x="2541" y="2052"/>
              <a:ext cx="1108" cy="588"/>
              <a:chOff x="2541" y="2052"/>
              <a:chExt cx="1108" cy="588"/>
            </a:xfrm>
          </p:grpSpPr>
          <p:sp>
            <p:nvSpPr>
              <p:cNvPr id="66" name="Rectangle 33"/>
              <p:cNvSpPr>
                <a:spLocks noChangeArrowheads="1"/>
              </p:cNvSpPr>
              <p:nvPr/>
            </p:nvSpPr>
            <p:spPr bwMode="auto">
              <a:xfrm>
                <a:off x="2738" y="2274"/>
                <a:ext cx="526"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7" name="Freeform 34"/>
              <p:cNvSpPr/>
              <p:nvPr/>
            </p:nvSpPr>
            <p:spPr bwMode="auto">
              <a:xfrm>
                <a:off x="2541" y="2149"/>
                <a:ext cx="394" cy="395"/>
              </a:xfrm>
              <a:custGeom>
                <a:avLst/>
                <a:gdLst>
                  <a:gd name="T0" fmla="*/ 394 w 394"/>
                  <a:gd name="T1" fmla="*/ 198 h 395"/>
                  <a:gd name="T2" fmla="*/ 391 w 394"/>
                  <a:gd name="T3" fmla="*/ 238 h 395"/>
                  <a:gd name="T4" fmla="*/ 380 w 394"/>
                  <a:gd name="T5" fmla="*/ 274 h 395"/>
                  <a:gd name="T6" fmla="*/ 362 w 394"/>
                  <a:gd name="T7" fmla="*/ 307 h 395"/>
                  <a:gd name="T8" fmla="*/ 336 w 394"/>
                  <a:gd name="T9" fmla="*/ 336 h 395"/>
                  <a:gd name="T10" fmla="*/ 307 w 394"/>
                  <a:gd name="T11" fmla="*/ 362 h 395"/>
                  <a:gd name="T12" fmla="*/ 274 w 394"/>
                  <a:gd name="T13" fmla="*/ 380 h 395"/>
                  <a:gd name="T14" fmla="*/ 238 w 394"/>
                  <a:gd name="T15" fmla="*/ 391 h 395"/>
                  <a:gd name="T16" fmla="*/ 197 w 394"/>
                  <a:gd name="T17" fmla="*/ 395 h 395"/>
                  <a:gd name="T18" fmla="*/ 177 w 394"/>
                  <a:gd name="T19" fmla="*/ 393 h 395"/>
                  <a:gd name="T20" fmla="*/ 139 w 394"/>
                  <a:gd name="T21" fmla="*/ 385 h 395"/>
                  <a:gd name="T22" fmla="*/ 104 w 394"/>
                  <a:gd name="T23" fmla="*/ 371 h 395"/>
                  <a:gd name="T24" fmla="*/ 71 w 394"/>
                  <a:gd name="T25" fmla="*/ 349 h 395"/>
                  <a:gd name="T26" fmla="*/ 46 w 394"/>
                  <a:gd name="T27" fmla="*/ 323 h 395"/>
                  <a:gd name="T28" fmla="*/ 24 w 394"/>
                  <a:gd name="T29" fmla="*/ 291 h 395"/>
                  <a:gd name="T30" fmla="*/ 9 w 394"/>
                  <a:gd name="T31" fmla="*/ 256 h 395"/>
                  <a:gd name="T32" fmla="*/ 2 w 394"/>
                  <a:gd name="T33" fmla="*/ 218 h 395"/>
                  <a:gd name="T34" fmla="*/ 0 w 394"/>
                  <a:gd name="T35" fmla="*/ 198 h 395"/>
                  <a:gd name="T36" fmla="*/ 4 w 394"/>
                  <a:gd name="T37" fmla="*/ 157 h 395"/>
                  <a:gd name="T38" fmla="*/ 15 w 394"/>
                  <a:gd name="T39" fmla="*/ 121 h 395"/>
                  <a:gd name="T40" fmla="*/ 33 w 394"/>
                  <a:gd name="T41" fmla="*/ 88 h 395"/>
                  <a:gd name="T42" fmla="*/ 59 w 394"/>
                  <a:gd name="T43" fmla="*/ 59 h 395"/>
                  <a:gd name="T44" fmla="*/ 88 w 394"/>
                  <a:gd name="T45" fmla="*/ 33 h 395"/>
                  <a:gd name="T46" fmla="*/ 121 w 394"/>
                  <a:gd name="T47" fmla="*/ 15 h 395"/>
                  <a:gd name="T48" fmla="*/ 157 w 394"/>
                  <a:gd name="T49" fmla="*/ 4 h 395"/>
                  <a:gd name="T50" fmla="*/ 197 w 394"/>
                  <a:gd name="T51" fmla="*/ 0 h 395"/>
                  <a:gd name="T52" fmla="*/ 217 w 394"/>
                  <a:gd name="T53" fmla="*/ 2 h 395"/>
                  <a:gd name="T54" fmla="*/ 256 w 394"/>
                  <a:gd name="T55" fmla="*/ 10 h 395"/>
                  <a:gd name="T56" fmla="*/ 290 w 394"/>
                  <a:gd name="T57" fmla="*/ 24 h 395"/>
                  <a:gd name="T58" fmla="*/ 323 w 394"/>
                  <a:gd name="T59" fmla="*/ 46 h 395"/>
                  <a:gd name="T60" fmla="*/ 349 w 394"/>
                  <a:gd name="T61" fmla="*/ 72 h 395"/>
                  <a:gd name="T62" fmla="*/ 371 w 394"/>
                  <a:gd name="T63" fmla="*/ 104 h 395"/>
                  <a:gd name="T64" fmla="*/ 385 w 394"/>
                  <a:gd name="T65" fmla="*/ 139 h 395"/>
                  <a:gd name="T66" fmla="*/ 393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3" y="218"/>
                    </a:lnTo>
                    <a:lnTo>
                      <a:pt x="391" y="238"/>
                    </a:lnTo>
                    <a:lnTo>
                      <a:pt x="385" y="256"/>
                    </a:lnTo>
                    <a:lnTo>
                      <a:pt x="380" y="274"/>
                    </a:lnTo>
                    <a:lnTo>
                      <a:pt x="371" y="291"/>
                    </a:lnTo>
                    <a:lnTo>
                      <a:pt x="362" y="307"/>
                    </a:lnTo>
                    <a:lnTo>
                      <a:pt x="349" y="323"/>
                    </a:lnTo>
                    <a:lnTo>
                      <a:pt x="336" y="336"/>
                    </a:lnTo>
                    <a:lnTo>
                      <a:pt x="323" y="349"/>
                    </a:lnTo>
                    <a:lnTo>
                      <a:pt x="307" y="362"/>
                    </a:lnTo>
                    <a:lnTo>
                      <a:pt x="290" y="371"/>
                    </a:lnTo>
                    <a:lnTo>
                      <a:pt x="274" y="380"/>
                    </a:lnTo>
                    <a:lnTo>
                      <a:pt x="256" y="385"/>
                    </a:lnTo>
                    <a:lnTo>
                      <a:pt x="238" y="391"/>
                    </a:lnTo>
                    <a:lnTo>
                      <a:pt x="217" y="393"/>
                    </a:lnTo>
                    <a:lnTo>
                      <a:pt x="197" y="395"/>
                    </a:lnTo>
                    <a:lnTo>
                      <a:pt x="197" y="395"/>
                    </a:lnTo>
                    <a:lnTo>
                      <a:pt x="177" y="393"/>
                    </a:lnTo>
                    <a:lnTo>
                      <a:pt x="157" y="391"/>
                    </a:lnTo>
                    <a:lnTo>
                      <a:pt x="139" y="385"/>
                    </a:lnTo>
                    <a:lnTo>
                      <a:pt x="121" y="380"/>
                    </a:lnTo>
                    <a:lnTo>
                      <a:pt x="104" y="371"/>
                    </a:lnTo>
                    <a:lnTo>
                      <a:pt x="88" y="362"/>
                    </a:lnTo>
                    <a:lnTo>
                      <a:pt x="71" y="349"/>
                    </a:lnTo>
                    <a:lnTo>
                      <a:pt x="59" y="336"/>
                    </a:lnTo>
                    <a:lnTo>
                      <a:pt x="46" y="323"/>
                    </a:lnTo>
                    <a:lnTo>
                      <a:pt x="33" y="307"/>
                    </a:lnTo>
                    <a:lnTo>
                      <a:pt x="24" y="291"/>
                    </a:lnTo>
                    <a:lnTo>
                      <a:pt x="15" y="274"/>
                    </a:lnTo>
                    <a:lnTo>
                      <a:pt x="9" y="256"/>
                    </a:lnTo>
                    <a:lnTo>
                      <a:pt x="4" y="238"/>
                    </a:lnTo>
                    <a:lnTo>
                      <a:pt x="2" y="218"/>
                    </a:lnTo>
                    <a:lnTo>
                      <a:pt x="0" y="198"/>
                    </a:lnTo>
                    <a:lnTo>
                      <a:pt x="0" y="198"/>
                    </a:lnTo>
                    <a:lnTo>
                      <a:pt x="2" y="177"/>
                    </a:lnTo>
                    <a:lnTo>
                      <a:pt x="4" y="157"/>
                    </a:lnTo>
                    <a:lnTo>
                      <a:pt x="9" y="139"/>
                    </a:lnTo>
                    <a:lnTo>
                      <a:pt x="15" y="121"/>
                    </a:lnTo>
                    <a:lnTo>
                      <a:pt x="24" y="104"/>
                    </a:lnTo>
                    <a:lnTo>
                      <a:pt x="33" y="88"/>
                    </a:lnTo>
                    <a:lnTo>
                      <a:pt x="46" y="72"/>
                    </a:lnTo>
                    <a:lnTo>
                      <a:pt x="59" y="59"/>
                    </a:lnTo>
                    <a:lnTo>
                      <a:pt x="71" y="46"/>
                    </a:lnTo>
                    <a:lnTo>
                      <a:pt x="88" y="33"/>
                    </a:lnTo>
                    <a:lnTo>
                      <a:pt x="104" y="24"/>
                    </a:lnTo>
                    <a:lnTo>
                      <a:pt x="121" y="15"/>
                    </a:lnTo>
                    <a:lnTo>
                      <a:pt x="139" y="10"/>
                    </a:lnTo>
                    <a:lnTo>
                      <a:pt x="157" y="4"/>
                    </a:lnTo>
                    <a:lnTo>
                      <a:pt x="177" y="2"/>
                    </a:lnTo>
                    <a:lnTo>
                      <a:pt x="197" y="0"/>
                    </a:lnTo>
                    <a:lnTo>
                      <a:pt x="197" y="0"/>
                    </a:lnTo>
                    <a:lnTo>
                      <a:pt x="217" y="2"/>
                    </a:lnTo>
                    <a:lnTo>
                      <a:pt x="238" y="4"/>
                    </a:lnTo>
                    <a:lnTo>
                      <a:pt x="256" y="10"/>
                    </a:lnTo>
                    <a:lnTo>
                      <a:pt x="274" y="15"/>
                    </a:lnTo>
                    <a:lnTo>
                      <a:pt x="290" y="24"/>
                    </a:lnTo>
                    <a:lnTo>
                      <a:pt x="307" y="33"/>
                    </a:lnTo>
                    <a:lnTo>
                      <a:pt x="323" y="46"/>
                    </a:lnTo>
                    <a:lnTo>
                      <a:pt x="336" y="59"/>
                    </a:lnTo>
                    <a:lnTo>
                      <a:pt x="349" y="72"/>
                    </a:lnTo>
                    <a:lnTo>
                      <a:pt x="362" y="88"/>
                    </a:lnTo>
                    <a:lnTo>
                      <a:pt x="371" y="104"/>
                    </a:lnTo>
                    <a:lnTo>
                      <a:pt x="380" y="121"/>
                    </a:lnTo>
                    <a:lnTo>
                      <a:pt x="385" y="139"/>
                    </a:lnTo>
                    <a:lnTo>
                      <a:pt x="391" y="157"/>
                    </a:lnTo>
                    <a:lnTo>
                      <a:pt x="393" y="177"/>
                    </a:lnTo>
                    <a:lnTo>
                      <a:pt x="394" y="198"/>
                    </a:lnTo>
                    <a:lnTo>
                      <a:pt x="394" y="198"/>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8" name="Group 35"/>
              <p:cNvGrpSpPr/>
              <p:nvPr/>
            </p:nvGrpSpPr>
            <p:grpSpPr bwMode="auto">
              <a:xfrm>
                <a:off x="3061" y="2052"/>
                <a:ext cx="588" cy="588"/>
                <a:chOff x="3158" y="2149"/>
                <a:chExt cx="394" cy="395"/>
              </a:xfrm>
            </p:grpSpPr>
            <p:sp>
              <p:nvSpPr>
                <p:cNvPr id="69" name="Freeform 36"/>
                <p:cNvSpPr/>
                <p:nvPr/>
              </p:nvSpPr>
              <p:spPr bwMode="auto">
                <a:xfrm>
                  <a:off x="3158" y="2149"/>
                  <a:ext cx="394" cy="395"/>
                </a:xfrm>
                <a:custGeom>
                  <a:avLst/>
                  <a:gdLst>
                    <a:gd name="T0" fmla="*/ 394 w 394"/>
                    <a:gd name="T1" fmla="*/ 198 h 395"/>
                    <a:gd name="T2" fmla="*/ 390 w 394"/>
                    <a:gd name="T3" fmla="*/ 238 h 395"/>
                    <a:gd name="T4" fmla="*/ 379 w 394"/>
                    <a:gd name="T5" fmla="*/ 274 h 395"/>
                    <a:gd name="T6" fmla="*/ 361 w 394"/>
                    <a:gd name="T7" fmla="*/ 307 h 395"/>
                    <a:gd name="T8" fmla="*/ 336 w 394"/>
                    <a:gd name="T9" fmla="*/ 336 h 395"/>
                    <a:gd name="T10" fmla="*/ 306 w 394"/>
                    <a:gd name="T11" fmla="*/ 362 h 395"/>
                    <a:gd name="T12" fmla="*/ 274 w 394"/>
                    <a:gd name="T13" fmla="*/ 380 h 395"/>
                    <a:gd name="T14" fmla="*/ 237 w 394"/>
                    <a:gd name="T15" fmla="*/ 391 h 395"/>
                    <a:gd name="T16" fmla="*/ 197 w 394"/>
                    <a:gd name="T17" fmla="*/ 395 h 395"/>
                    <a:gd name="T18" fmla="*/ 177 w 394"/>
                    <a:gd name="T19" fmla="*/ 393 h 395"/>
                    <a:gd name="T20" fmla="*/ 139 w 394"/>
                    <a:gd name="T21" fmla="*/ 385 h 395"/>
                    <a:gd name="T22" fmla="*/ 104 w 394"/>
                    <a:gd name="T23" fmla="*/ 371 h 395"/>
                    <a:gd name="T24" fmla="*/ 71 w 394"/>
                    <a:gd name="T25" fmla="*/ 349 h 395"/>
                    <a:gd name="T26" fmla="*/ 45 w 394"/>
                    <a:gd name="T27" fmla="*/ 323 h 395"/>
                    <a:gd name="T28" fmla="*/ 24 w 394"/>
                    <a:gd name="T29" fmla="*/ 291 h 395"/>
                    <a:gd name="T30" fmla="*/ 9 w 394"/>
                    <a:gd name="T31" fmla="*/ 256 h 395"/>
                    <a:gd name="T32" fmla="*/ 2 w 394"/>
                    <a:gd name="T33" fmla="*/ 218 h 395"/>
                    <a:gd name="T34" fmla="*/ 0 w 394"/>
                    <a:gd name="T35" fmla="*/ 198 h 395"/>
                    <a:gd name="T36" fmla="*/ 4 w 394"/>
                    <a:gd name="T37" fmla="*/ 157 h 395"/>
                    <a:gd name="T38" fmla="*/ 14 w 394"/>
                    <a:gd name="T39" fmla="*/ 121 h 395"/>
                    <a:gd name="T40" fmla="*/ 33 w 394"/>
                    <a:gd name="T41" fmla="*/ 88 h 395"/>
                    <a:gd name="T42" fmla="*/ 58 w 394"/>
                    <a:gd name="T43" fmla="*/ 59 h 395"/>
                    <a:gd name="T44" fmla="*/ 87 w 394"/>
                    <a:gd name="T45" fmla="*/ 33 h 395"/>
                    <a:gd name="T46" fmla="*/ 120 w 394"/>
                    <a:gd name="T47" fmla="*/ 15 h 395"/>
                    <a:gd name="T48" fmla="*/ 157 w 394"/>
                    <a:gd name="T49" fmla="*/ 4 h 395"/>
                    <a:gd name="T50" fmla="*/ 197 w 394"/>
                    <a:gd name="T51" fmla="*/ 0 h 395"/>
                    <a:gd name="T52" fmla="*/ 217 w 394"/>
                    <a:gd name="T53" fmla="*/ 2 h 395"/>
                    <a:gd name="T54" fmla="*/ 255 w 394"/>
                    <a:gd name="T55" fmla="*/ 10 h 395"/>
                    <a:gd name="T56" fmla="*/ 290 w 394"/>
                    <a:gd name="T57" fmla="*/ 24 h 395"/>
                    <a:gd name="T58" fmla="*/ 323 w 394"/>
                    <a:gd name="T59" fmla="*/ 46 h 395"/>
                    <a:gd name="T60" fmla="*/ 348 w 394"/>
                    <a:gd name="T61" fmla="*/ 72 h 395"/>
                    <a:gd name="T62" fmla="*/ 370 w 394"/>
                    <a:gd name="T63" fmla="*/ 104 h 395"/>
                    <a:gd name="T64" fmla="*/ 385 w 394"/>
                    <a:gd name="T65" fmla="*/ 139 h 395"/>
                    <a:gd name="T66" fmla="*/ 392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2" y="218"/>
                      </a:lnTo>
                      <a:lnTo>
                        <a:pt x="390" y="238"/>
                      </a:lnTo>
                      <a:lnTo>
                        <a:pt x="385" y="256"/>
                      </a:lnTo>
                      <a:lnTo>
                        <a:pt x="379" y="274"/>
                      </a:lnTo>
                      <a:lnTo>
                        <a:pt x="370" y="291"/>
                      </a:lnTo>
                      <a:lnTo>
                        <a:pt x="361" y="307"/>
                      </a:lnTo>
                      <a:lnTo>
                        <a:pt x="348" y="323"/>
                      </a:lnTo>
                      <a:lnTo>
                        <a:pt x="336" y="336"/>
                      </a:lnTo>
                      <a:lnTo>
                        <a:pt x="323" y="349"/>
                      </a:lnTo>
                      <a:lnTo>
                        <a:pt x="306" y="362"/>
                      </a:lnTo>
                      <a:lnTo>
                        <a:pt x="290" y="371"/>
                      </a:lnTo>
                      <a:lnTo>
                        <a:pt x="274" y="380"/>
                      </a:lnTo>
                      <a:lnTo>
                        <a:pt x="255" y="385"/>
                      </a:lnTo>
                      <a:lnTo>
                        <a:pt x="237" y="391"/>
                      </a:lnTo>
                      <a:lnTo>
                        <a:pt x="217" y="393"/>
                      </a:lnTo>
                      <a:lnTo>
                        <a:pt x="197" y="395"/>
                      </a:lnTo>
                      <a:lnTo>
                        <a:pt x="197" y="395"/>
                      </a:lnTo>
                      <a:lnTo>
                        <a:pt x="177" y="393"/>
                      </a:lnTo>
                      <a:lnTo>
                        <a:pt x="157" y="391"/>
                      </a:lnTo>
                      <a:lnTo>
                        <a:pt x="139" y="385"/>
                      </a:lnTo>
                      <a:lnTo>
                        <a:pt x="120" y="380"/>
                      </a:lnTo>
                      <a:lnTo>
                        <a:pt x="104" y="371"/>
                      </a:lnTo>
                      <a:lnTo>
                        <a:pt x="87" y="362"/>
                      </a:lnTo>
                      <a:lnTo>
                        <a:pt x="71" y="349"/>
                      </a:lnTo>
                      <a:lnTo>
                        <a:pt x="58" y="336"/>
                      </a:lnTo>
                      <a:lnTo>
                        <a:pt x="45" y="323"/>
                      </a:lnTo>
                      <a:lnTo>
                        <a:pt x="33" y="307"/>
                      </a:lnTo>
                      <a:lnTo>
                        <a:pt x="24" y="291"/>
                      </a:lnTo>
                      <a:lnTo>
                        <a:pt x="14" y="274"/>
                      </a:lnTo>
                      <a:lnTo>
                        <a:pt x="9" y="256"/>
                      </a:lnTo>
                      <a:lnTo>
                        <a:pt x="4" y="238"/>
                      </a:lnTo>
                      <a:lnTo>
                        <a:pt x="2" y="218"/>
                      </a:lnTo>
                      <a:lnTo>
                        <a:pt x="0" y="198"/>
                      </a:lnTo>
                      <a:lnTo>
                        <a:pt x="0" y="198"/>
                      </a:lnTo>
                      <a:lnTo>
                        <a:pt x="2" y="177"/>
                      </a:lnTo>
                      <a:lnTo>
                        <a:pt x="4" y="157"/>
                      </a:lnTo>
                      <a:lnTo>
                        <a:pt x="9" y="139"/>
                      </a:lnTo>
                      <a:lnTo>
                        <a:pt x="14" y="121"/>
                      </a:lnTo>
                      <a:lnTo>
                        <a:pt x="24" y="104"/>
                      </a:lnTo>
                      <a:lnTo>
                        <a:pt x="33" y="88"/>
                      </a:lnTo>
                      <a:lnTo>
                        <a:pt x="45" y="72"/>
                      </a:lnTo>
                      <a:lnTo>
                        <a:pt x="58" y="59"/>
                      </a:lnTo>
                      <a:lnTo>
                        <a:pt x="71" y="46"/>
                      </a:lnTo>
                      <a:lnTo>
                        <a:pt x="87" y="33"/>
                      </a:lnTo>
                      <a:lnTo>
                        <a:pt x="104" y="24"/>
                      </a:lnTo>
                      <a:lnTo>
                        <a:pt x="120" y="15"/>
                      </a:lnTo>
                      <a:lnTo>
                        <a:pt x="139" y="10"/>
                      </a:lnTo>
                      <a:lnTo>
                        <a:pt x="157" y="4"/>
                      </a:lnTo>
                      <a:lnTo>
                        <a:pt x="177" y="2"/>
                      </a:lnTo>
                      <a:lnTo>
                        <a:pt x="197" y="0"/>
                      </a:lnTo>
                      <a:lnTo>
                        <a:pt x="197" y="0"/>
                      </a:lnTo>
                      <a:lnTo>
                        <a:pt x="217" y="2"/>
                      </a:lnTo>
                      <a:lnTo>
                        <a:pt x="237" y="4"/>
                      </a:lnTo>
                      <a:lnTo>
                        <a:pt x="255" y="10"/>
                      </a:lnTo>
                      <a:lnTo>
                        <a:pt x="274" y="15"/>
                      </a:lnTo>
                      <a:lnTo>
                        <a:pt x="290" y="24"/>
                      </a:lnTo>
                      <a:lnTo>
                        <a:pt x="306" y="33"/>
                      </a:lnTo>
                      <a:lnTo>
                        <a:pt x="323" y="46"/>
                      </a:lnTo>
                      <a:lnTo>
                        <a:pt x="336" y="59"/>
                      </a:lnTo>
                      <a:lnTo>
                        <a:pt x="348" y="72"/>
                      </a:lnTo>
                      <a:lnTo>
                        <a:pt x="361" y="88"/>
                      </a:lnTo>
                      <a:lnTo>
                        <a:pt x="370" y="104"/>
                      </a:lnTo>
                      <a:lnTo>
                        <a:pt x="379" y="121"/>
                      </a:lnTo>
                      <a:lnTo>
                        <a:pt x="385" y="139"/>
                      </a:lnTo>
                      <a:lnTo>
                        <a:pt x="390" y="157"/>
                      </a:lnTo>
                      <a:lnTo>
                        <a:pt x="392" y="177"/>
                      </a:lnTo>
                      <a:lnTo>
                        <a:pt x="394" y="198"/>
                      </a:lnTo>
                      <a:lnTo>
                        <a:pt x="394" y="198"/>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70" name="Group 37"/>
                <p:cNvGrpSpPr/>
                <p:nvPr/>
              </p:nvGrpSpPr>
              <p:grpSpPr bwMode="auto">
                <a:xfrm>
                  <a:off x="3198" y="2169"/>
                  <a:ext cx="317" cy="104"/>
                  <a:chOff x="1431" y="1843"/>
                  <a:chExt cx="907" cy="295"/>
                </a:xfrm>
              </p:grpSpPr>
              <p:sp>
                <p:nvSpPr>
                  <p:cNvPr id="71" name="Freeform 38"/>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 name="Oval 39"/>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nvGrpSpPr>
            <p:cNvPr id="61" name="Group 40"/>
            <p:cNvGrpSpPr/>
            <p:nvPr/>
          </p:nvGrpSpPr>
          <p:grpSpPr bwMode="auto">
            <a:xfrm>
              <a:off x="1447" y="2106"/>
              <a:ext cx="480" cy="480"/>
              <a:chOff x="1581" y="2149"/>
              <a:chExt cx="394" cy="395"/>
            </a:xfrm>
          </p:grpSpPr>
          <p:sp>
            <p:nvSpPr>
              <p:cNvPr id="62" name="Freeform 41"/>
              <p:cNvSpPr/>
              <p:nvPr/>
            </p:nvSpPr>
            <p:spPr bwMode="auto">
              <a:xfrm>
                <a:off x="1581" y="2149"/>
                <a:ext cx="394" cy="395"/>
              </a:xfrm>
              <a:custGeom>
                <a:avLst/>
                <a:gdLst>
                  <a:gd name="T0" fmla="*/ 394 w 394"/>
                  <a:gd name="T1" fmla="*/ 198 h 395"/>
                  <a:gd name="T2" fmla="*/ 391 w 394"/>
                  <a:gd name="T3" fmla="*/ 238 h 395"/>
                  <a:gd name="T4" fmla="*/ 380 w 394"/>
                  <a:gd name="T5" fmla="*/ 274 h 395"/>
                  <a:gd name="T6" fmla="*/ 362 w 394"/>
                  <a:gd name="T7" fmla="*/ 307 h 395"/>
                  <a:gd name="T8" fmla="*/ 336 w 394"/>
                  <a:gd name="T9" fmla="*/ 336 h 395"/>
                  <a:gd name="T10" fmla="*/ 307 w 394"/>
                  <a:gd name="T11" fmla="*/ 362 h 395"/>
                  <a:gd name="T12" fmla="*/ 274 w 394"/>
                  <a:gd name="T13" fmla="*/ 380 h 395"/>
                  <a:gd name="T14" fmla="*/ 238 w 394"/>
                  <a:gd name="T15" fmla="*/ 391 h 395"/>
                  <a:gd name="T16" fmla="*/ 197 w 394"/>
                  <a:gd name="T17" fmla="*/ 395 h 395"/>
                  <a:gd name="T18" fmla="*/ 177 w 394"/>
                  <a:gd name="T19" fmla="*/ 393 h 395"/>
                  <a:gd name="T20" fmla="*/ 139 w 394"/>
                  <a:gd name="T21" fmla="*/ 385 h 395"/>
                  <a:gd name="T22" fmla="*/ 104 w 394"/>
                  <a:gd name="T23" fmla="*/ 371 h 395"/>
                  <a:gd name="T24" fmla="*/ 71 w 394"/>
                  <a:gd name="T25" fmla="*/ 349 h 395"/>
                  <a:gd name="T26" fmla="*/ 46 w 394"/>
                  <a:gd name="T27" fmla="*/ 323 h 395"/>
                  <a:gd name="T28" fmla="*/ 24 w 394"/>
                  <a:gd name="T29" fmla="*/ 291 h 395"/>
                  <a:gd name="T30" fmla="*/ 9 w 394"/>
                  <a:gd name="T31" fmla="*/ 256 h 395"/>
                  <a:gd name="T32" fmla="*/ 2 w 394"/>
                  <a:gd name="T33" fmla="*/ 218 h 395"/>
                  <a:gd name="T34" fmla="*/ 0 w 394"/>
                  <a:gd name="T35" fmla="*/ 198 h 395"/>
                  <a:gd name="T36" fmla="*/ 4 w 394"/>
                  <a:gd name="T37" fmla="*/ 157 h 395"/>
                  <a:gd name="T38" fmla="*/ 15 w 394"/>
                  <a:gd name="T39" fmla="*/ 121 h 395"/>
                  <a:gd name="T40" fmla="*/ 33 w 394"/>
                  <a:gd name="T41" fmla="*/ 88 h 395"/>
                  <a:gd name="T42" fmla="*/ 59 w 394"/>
                  <a:gd name="T43" fmla="*/ 59 h 395"/>
                  <a:gd name="T44" fmla="*/ 88 w 394"/>
                  <a:gd name="T45" fmla="*/ 33 h 395"/>
                  <a:gd name="T46" fmla="*/ 121 w 394"/>
                  <a:gd name="T47" fmla="*/ 15 h 395"/>
                  <a:gd name="T48" fmla="*/ 157 w 394"/>
                  <a:gd name="T49" fmla="*/ 4 h 395"/>
                  <a:gd name="T50" fmla="*/ 197 w 394"/>
                  <a:gd name="T51" fmla="*/ 0 h 395"/>
                  <a:gd name="T52" fmla="*/ 217 w 394"/>
                  <a:gd name="T53" fmla="*/ 2 h 395"/>
                  <a:gd name="T54" fmla="*/ 256 w 394"/>
                  <a:gd name="T55" fmla="*/ 10 h 395"/>
                  <a:gd name="T56" fmla="*/ 290 w 394"/>
                  <a:gd name="T57" fmla="*/ 24 h 395"/>
                  <a:gd name="T58" fmla="*/ 323 w 394"/>
                  <a:gd name="T59" fmla="*/ 46 h 395"/>
                  <a:gd name="T60" fmla="*/ 349 w 394"/>
                  <a:gd name="T61" fmla="*/ 72 h 395"/>
                  <a:gd name="T62" fmla="*/ 371 w 394"/>
                  <a:gd name="T63" fmla="*/ 104 h 395"/>
                  <a:gd name="T64" fmla="*/ 385 w 394"/>
                  <a:gd name="T65" fmla="*/ 139 h 395"/>
                  <a:gd name="T66" fmla="*/ 393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3" y="218"/>
                    </a:lnTo>
                    <a:lnTo>
                      <a:pt x="391" y="238"/>
                    </a:lnTo>
                    <a:lnTo>
                      <a:pt x="385" y="256"/>
                    </a:lnTo>
                    <a:lnTo>
                      <a:pt x="380" y="274"/>
                    </a:lnTo>
                    <a:lnTo>
                      <a:pt x="371" y="291"/>
                    </a:lnTo>
                    <a:lnTo>
                      <a:pt x="362" y="307"/>
                    </a:lnTo>
                    <a:lnTo>
                      <a:pt x="349" y="323"/>
                    </a:lnTo>
                    <a:lnTo>
                      <a:pt x="336" y="336"/>
                    </a:lnTo>
                    <a:lnTo>
                      <a:pt x="323" y="349"/>
                    </a:lnTo>
                    <a:lnTo>
                      <a:pt x="307" y="362"/>
                    </a:lnTo>
                    <a:lnTo>
                      <a:pt x="290" y="371"/>
                    </a:lnTo>
                    <a:lnTo>
                      <a:pt x="274" y="380"/>
                    </a:lnTo>
                    <a:lnTo>
                      <a:pt x="256" y="385"/>
                    </a:lnTo>
                    <a:lnTo>
                      <a:pt x="238" y="391"/>
                    </a:lnTo>
                    <a:lnTo>
                      <a:pt x="217" y="393"/>
                    </a:lnTo>
                    <a:lnTo>
                      <a:pt x="197" y="395"/>
                    </a:lnTo>
                    <a:lnTo>
                      <a:pt x="197" y="395"/>
                    </a:lnTo>
                    <a:lnTo>
                      <a:pt x="177" y="393"/>
                    </a:lnTo>
                    <a:lnTo>
                      <a:pt x="157" y="391"/>
                    </a:lnTo>
                    <a:lnTo>
                      <a:pt x="139" y="385"/>
                    </a:lnTo>
                    <a:lnTo>
                      <a:pt x="121" y="380"/>
                    </a:lnTo>
                    <a:lnTo>
                      <a:pt x="104" y="371"/>
                    </a:lnTo>
                    <a:lnTo>
                      <a:pt x="88" y="362"/>
                    </a:lnTo>
                    <a:lnTo>
                      <a:pt x="71" y="349"/>
                    </a:lnTo>
                    <a:lnTo>
                      <a:pt x="59" y="336"/>
                    </a:lnTo>
                    <a:lnTo>
                      <a:pt x="46" y="323"/>
                    </a:lnTo>
                    <a:lnTo>
                      <a:pt x="33" y="307"/>
                    </a:lnTo>
                    <a:lnTo>
                      <a:pt x="24" y="291"/>
                    </a:lnTo>
                    <a:lnTo>
                      <a:pt x="15" y="274"/>
                    </a:lnTo>
                    <a:lnTo>
                      <a:pt x="9" y="256"/>
                    </a:lnTo>
                    <a:lnTo>
                      <a:pt x="4" y="238"/>
                    </a:lnTo>
                    <a:lnTo>
                      <a:pt x="2" y="218"/>
                    </a:lnTo>
                    <a:lnTo>
                      <a:pt x="0" y="198"/>
                    </a:lnTo>
                    <a:lnTo>
                      <a:pt x="0" y="198"/>
                    </a:lnTo>
                    <a:lnTo>
                      <a:pt x="2" y="177"/>
                    </a:lnTo>
                    <a:lnTo>
                      <a:pt x="4" y="157"/>
                    </a:lnTo>
                    <a:lnTo>
                      <a:pt x="9" y="139"/>
                    </a:lnTo>
                    <a:lnTo>
                      <a:pt x="15" y="121"/>
                    </a:lnTo>
                    <a:lnTo>
                      <a:pt x="24" y="104"/>
                    </a:lnTo>
                    <a:lnTo>
                      <a:pt x="33" y="88"/>
                    </a:lnTo>
                    <a:lnTo>
                      <a:pt x="46" y="72"/>
                    </a:lnTo>
                    <a:lnTo>
                      <a:pt x="59" y="59"/>
                    </a:lnTo>
                    <a:lnTo>
                      <a:pt x="71" y="46"/>
                    </a:lnTo>
                    <a:lnTo>
                      <a:pt x="88" y="33"/>
                    </a:lnTo>
                    <a:lnTo>
                      <a:pt x="104" y="24"/>
                    </a:lnTo>
                    <a:lnTo>
                      <a:pt x="121" y="15"/>
                    </a:lnTo>
                    <a:lnTo>
                      <a:pt x="139" y="10"/>
                    </a:lnTo>
                    <a:lnTo>
                      <a:pt x="157" y="4"/>
                    </a:lnTo>
                    <a:lnTo>
                      <a:pt x="177" y="2"/>
                    </a:lnTo>
                    <a:lnTo>
                      <a:pt x="197" y="0"/>
                    </a:lnTo>
                    <a:lnTo>
                      <a:pt x="197" y="0"/>
                    </a:lnTo>
                    <a:lnTo>
                      <a:pt x="217" y="2"/>
                    </a:lnTo>
                    <a:lnTo>
                      <a:pt x="238" y="4"/>
                    </a:lnTo>
                    <a:lnTo>
                      <a:pt x="256" y="10"/>
                    </a:lnTo>
                    <a:lnTo>
                      <a:pt x="274" y="15"/>
                    </a:lnTo>
                    <a:lnTo>
                      <a:pt x="290" y="24"/>
                    </a:lnTo>
                    <a:lnTo>
                      <a:pt x="307" y="33"/>
                    </a:lnTo>
                    <a:lnTo>
                      <a:pt x="323" y="46"/>
                    </a:lnTo>
                    <a:lnTo>
                      <a:pt x="336" y="59"/>
                    </a:lnTo>
                    <a:lnTo>
                      <a:pt x="349" y="72"/>
                    </a:lnTo>
                    <a:lnTo>
                      <a:pt x="362" y="88"/>
                    </a:lnTo>
                    <a:lnTo>
                      <a:pt x="371" y="104"/>
                    </a:lnTo>
                    <a:lnTo>
                      <a:pt x="380" y="121"/>
                    </a:lnTo>
                    <a:lnTo>
                      <a:pt x="385" y="139"/>
                    </a:lnTo>
                    <a:lnTo>
                      <a:pt x="391" y="157"/>
                    </a:lnTo>
                    <a:lnTo>
                      <a:pt x="393" y="177"/>
                    </a:lnTo>
                    <a:lnTo>
                      <a:pt x="394" y="198"/>
                    </a:lnTo>
                    <a:lnTo>
                      <a:pt x="394" y="198"/>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63" name="Group 42"/>
              <p:cNvGrpSpPr/>
              <p:nvPr/>
            </p:nvGrpSpPr>
            <p:grpSpPr bwMode="auto">
              <a:xfrm>
                <a:off x="1619" y="2169"/>
                <a:ext cx="317" cy="104"/>
                <a:chOff x="1431" y="1843"/>
                <a:chExt cx="907" cy="295"/>
              </a:xfrm>
            </p:grpSpPr>
            <p:sp>
              <p:nvSpPr>
                <p:cNvPr id="64" name="Freeform 43"/>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5" name="Oval 44"/>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nvGrpSpPr>
          <p:cNvPr id="4" name="Group 45"/>
          <p:cNvGrpSpPr/>
          <p:nvPr/>
        </p:nvGrpSpPr>
        <p:grpSpPr bwMode="auto">
          <a:xfrm>
            <a:off x="5264571" y="971326"/>
            <a:ext cx="963613" cy="1069975"/>
            <a:chOff x="3963" y="1690"/>
            <a:chExt cx="1182" cy="1313"/>
          </a:xfrm>
        </p:grpSpPr>
        <p:sp>
          <p:nvSpPr>
            <p:cNvPr id="23" name="Rectangle 46"/>
            <p:cNvSpPr>
              <a:spLocks noChangeArrowheads="1"/>
            </p:cNvSpPr>
            <p:nvPr/>
          </p:nvSpPr>
          <p:spPr bwMode="auto">
            <a:xfrm rot="-3600000">
              <a:off x="4554" y="2055"/>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4" name="Rectangle 47"/>
            <p:cNvSpPr>
              <a:spLocks noChangeArrowheads="1"/>
            </p:cNvSpPr>
            <p:nvPr/>
          </p:nvSpPr>
          <p:spPr bwMode="auto">
            <a:xfrm rot="3600000">
              <a:off x="4554" y="2509"/>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5" name="Rectangle 48"/>
            <p:cNvSpPr>
              <a:spLocks noChangeArrowheads="1"/>
            </p:cNvSpPr>
            <p:nvPr/>
          </p:nvSpPr>
          <p:spPr bwMode="auto">
            <a:xfrm>
              <a:off x="4160" y="2274"/>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6" name="Freeform 49"/>
            <p:cNvSpPr/>
            <p:nvPr/>
          </p:nvSpPr>
          <p:spPr bwMode="auto">
            <a:xfrm>
              <a:off x="4751" y="1690"/>
              <a:ext cx="394" cy="394"/>
            </a:xfrm>
            <a:custGeom>
              <a:avLst/>
              <a:gdLst>
                <a:gd name="T0" fmla="*/ 394 w 394"/>
                <a:gd name="T1" fmla="*/ 197 h 394"/>
                <a:gd name="T2" fmla="*/ 391 w 394"/>
                <a:gd name="T3" fmla="*/ 237 h 394"/>
                <a:gd name="T4" fmla="*/ 380 w 394"/>
                <a:gd name="T5" fmla="*/ 273 h 394"/>
                <a:gd name="T6" fmla="*/ 361 w 394"/>
                <a:gd name="T7" fmla="*/ 306 h 394"/>
                <a:gd name="T8" fmla="*/ 336 w 394"/>
                <a:gd name="T9" fmla="*/ 335 h 394"/>
                <a:gd name="T10" fmla="*/ 307 w 394"/>
                <a:gd name="T11" fmla="*/ 361 h 394"/>
                <a:gd name="T12" fmla="*/ 274 w 394"/>
                <a:gd name="T13" fmla="*/ 379 h 394"/>
                <a:gd name="T14" fmla="*/ 237 w 394"/>
                <a:gd name="T15" fmla="*/ 390 h 394"/>
                <a:gd name="T16" fmla="*/ 197 w 394"/>
                <a:gd name="T17" fmla="*/ 394 h 394"/>
                <a:gd name="T18" fmla="*/ 177 w 394"/>
                <a:gd name="T19" fmla="*/ 392 h 394"/>
                <a:gd name="T20" fmla="*/ 139 w 394"/>
                <a:gd name="T21" fmla="*/ 385 h 394"/>
                <a:gd name="T22" fmla="*/ 104 w 394"/>
                <a:gd name="T23" fmla="*/ 370 h 394"/>
                <a:gd name="T24" fmla="*/ 71 w 394"/>
                <a:gd name="T25" fmla="*/ 348 h 394"/>
                <a:gd name="T26" fmla="*/ 46 w 394"/>
                <a:gd name="T27" fmla="*/ 323 h 394"/>
                <a:gd name="T28" fmla="*/ 24 w 394"/>
                <a:gd name="T29" fmla="*/ 290 h 394"/>
                <a:gd name="T30" fmla="*/ 9 w 394"/>
                <a:gd name="T31" fmla="*/ 255 h 394"/>
                <a:gd name="T32" fmla="*/ 2 w 394"/>
                <a:gd name="T33" fmla="*/ 217 h 394"/>
                <a:gd name="T34" fmla="*/ 0 w 394"/>
                <a:gd name="T35" fmla="*/ 197 h 394"/>
                <a:gd name="T36" fmla="*/ 4 w 394"/>
                <a:gd name="T37" fmla="*/ 157 h 394"/>
                <a:gd name="T38" fmla="*/ 15 w 394"/>
                <a:gd name="T39" fmla="*/ 120 h 394"/>
                <a:gd name="T40" fmla="*/ 33 w 394"/>
                <a:gd name="T41" fmla="*/ 87 h 394"/>
                <a:gd name="T42" fmla="*/ 58 w 394"/>
                <a:gd name="T43" fmla="*/ 58 h 394"/>
                <a:gd name="T44" fmla="*/ 88 w 394"/>
                <a:gd name="T45" fmla="*/ 33 h 394"/>
                <a:gd name="T46" fmla="*/ 120 w 394"/>
                <a:gd name="T47" fmla="*/ 14 h 394"/>
                <a:gd name="T48" fmla="*/ 157 w 394"/>
                <a:gd name="T49" fmla="*/ 3 h 394"/>
                <a:gd name="T50" fmla="*/ 197 w 394"/>
                <a:gd name="T51" fmla="*/ 0 h 394"/>
                <a:gd name="T52" fmla="*/ 217 w 394"/>
                <a:gd name="T53" fmla="*/ 2 h 394"/>
                <a:gd name="T54" fmla="*/ 256 w 394"/>
                <a:gd name="T55" fmla="*/ 9 h 394"/>
                <a:gd name="T56" fmla="*/ 290 w 394"/>
                <a:gd name="T57" fmla="*/ 23 h 394"/>
                <a:gd name="T58" fmla="*/ 323 w 394"/>
                <a:gd name="T59" fmla="*/ 45 h 394"/>
                <a:gd name="T60" fmla="*/ 349 w 394"/>
                <a:gd name="T61" fmla="*/ 71 h 394"/>
                <a:gd name="T62" fmla="*/ 370 w 394"/>
                <a:gd name="T63" fmla="*/ 104 h 394"/>
                <a:gd name="T64" fmla="*/ 385 w 394"/>
                <a:gd name="T65" fmla="*/ 138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1" y="237"/>
                  </a:lnTo>
                  <a:lnTo>
                    <a:pt x="385" y="255"/>
                  </a:lnTo>
                  <a:lnTo>
                    <a:pt x="380" y="273"/>
                  </a:lnTo>
                  <a:lnTo>
                    <a:pt x="370" y="290"/>
                  </a:lnTo>
                  <a:lnTo>
                    <a:pt x="361" y="306"/>
                  </a:lnTo>
                  <a:lnTo>
                    <a:pt x="349" y="323"/>
                  </a:lnTo>
                  <a:lnTo>
                    <a:pt x="336" y="335"/>
                  </a:lnTo>
                  <a:lnTo>
                    <a:pt x="323" y="348"/>
                  </a:lnTo>
                  <a:lnTo>
                    <a:pt x="307" y="361"/>
                  </a:lnTo>
                  <a:lnTo>
                    <a:pt x="290" y="370"/>
                  </a:lnTo>
                  <a:lnTo>
                    <a:pt x="274" y="379"/>
                  </a:lnTo>
                  <a:lnTo>
                    <a:pt x="256" y="385"/>
                  </a:lnTo>
                  <a:lnTo>
                    <a:pt x="237" y="390"/>
                  </a:lnTo>
                  <a:lnTo>
                    <a:pt x="217" y="392"/>
                  </a:lnTo>
                  <a:lnTo>
                    <a:pt x="197" y="394"/>
                  </a:lnTo>
                  <a:lnTo>
                    <a:pt x="197" y="394"/>
                  </a:lnTo>
                  <a:lnTo>
                    <a:pt x="177" y="392"/>
                  </a:lnTo>
                  <a:lnTo>
                    <a:pt x="157" y="390"/>
                  </a:lnTo>
                  <a:lnTo>
                    <a:pt x="139" y="385"/>
                  </a:lnTo>
                  <a:lnTo>
                    <a:pt x="120" y="379"/>
                  </a:lnTo>
                  <a:lnTo>
                    <a:pt x="104" y="370"/>
                  </a:lnTo>
                  <a:lnTo>
                    <a:pt x="88" y="361"/>
                  </a:lnTo>
                  <a:lnTo>
                    <a:pt x="71" y="348"/>
                  </a:lnTo>
                  <a:lnTo>
                    <a:pt x="58" y="335"/>
                  </a:lnTo>
                  <a:lnTo>
                    <a:pt x="46" y="323"/>
                  </a:lnTo>
                  <a:lnTo>
                    <a:pt x="33" y="306"/>
                  </a:lnTo>
                  <a:lnTo>
                    <a:pt x="24" y="290"/>
                  </a:lnTo>
                  <a:lnTo>
                    <a:pt x="15" y="273"/>
                  </a:lnTo>
                  <a:lnTo>
                    <a:pt x="9" y="255"/>
                  </a:lnTo>
                  <a:lnTo>
                    <a:pt x="4" y="237"/>
                  </a:lnTo>
                  <a:lnTo>
                    <a:pt x="2" y="217"/>
                  </a:lnTo>
                  <a:lnTo>
                    <a:pt x="0" y="197"/>
                  </a:lnTo>
                  <a:lnTo>
                    <a:pt x="0" y="197"/>
                  </a:lnTo>
                  <a:lnTo>
                    <a:pt x="2" y="177"/>
                  </a:lnTo>
                  <a:lnTo>
                    <a:pt x="4" y="157"/>
                  </a:lnTo>
                  <a:lnTo>
                    <a:pt x="9" y="138"/>
                  </a:lnTo>
                  <a:lnTo>
                    <a:pt x="15" y="120"/>
                  </a:lnTo>
                  <a:lnTo>
                    <a:pt x="24" y="104"/>
                  </a:lnTo>
                  <a:lnTo>
                    <a:pt x="33" y="87"/>
                  </a:lnTo>
                  <a:lnTo>
                    <a:pt x="46" y="71"/>
                  </a:lnTo>
                  <a:lnTo>
                    <a:pt x="58" y="58"/>
                  </a:lnTo>
                  <a:lnTo>
                    <a:pt x="71" y="45"/>
                  </a:lnTo>
                  <a:lnTo>
                    <a:pt x="88" y="33"/>
                  </a:lnTo>
                  <a:lnTo>
                    <a:pt x="104" y="23"/>
                  </a:lnTo>
                  <a:lnTo>
                    <a:pt x="120" y="14"/>
                  </a:lnTo>
                  <a:lnTo>
                    <a:pt x="139" y="9"/>
                  </a:lnTo>
                  <a:lnTo>
                    <a:pt x="157" y="3"/>
                  </a:lnTo>
                  <a:lnTo>
                    <a:pt x="177" y="2"/>
                  </a:lnTo>
                  <a:lnTo>
                    <a:pt x="197" y="0"/>
                  </a:lnTo>
                  <a:lnTo>
                    <a:pt x="197" y="0"/>
                  </a:lnTo>
                  <a:lnTo>
                    <a:pt x="217" y="2"/>
                  </a:lnTo>
                  <a:lnTo>
                    <a:pt x="237" y="3"/>
                  </a:lnTo>
                  <a:lnTo>
                    <a:pt x="256" y="9"/>
                  </a:lnTo>
                  <a:lnTo>
                    <a:pt x="274" y="14"/>
                  </a:lnTo>
                  <a:lnTo>
                    <a:pt x="290" y="23"/>
                  </a:lnTo>
                  <a:lnTo>
                    <a:pt x="307" y="33"/>
                  </a:lnTo>
                  <a:lnTo>
                    <a:pt x="323" y="45"/>
                  </a:lnTo>
                  <a:lnTo>
                    <a:pt x="336" y="58"/>
                  </a:lnTo>
                  <a:lnTo>
                    <a:pt x="349" y="71"/>
                  </a:lnTo>
                  <a:lnTo>
                    <a:pt x="361" y="87"/>
                  </a:lnTo>
                  <a:lnTo>
                    <a:pt x="370" y="104"/>
                  </a:lnTo>
                  <a:lnTo>
                    <a:pt x="380" y="120"/>
                  </a:lnTo>
                  <a:lnTo>
                    <a:pt x="385" y="138"/>
                  </a:lnTo>
                  <a:lnTo>
                    <a:pt x="391"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7" name="Freeform 50"/>
            <p:cNvSpPr/>
            <p:nvPr/>
          </p:nvSpPr>
          <p:spPr bwMode="auto">
            <a:xfrm>
              <a:off x="4751" y="2609"/>
              <a:ext cx="394" cy="394"/>
            </a:xfrm>
            <a:custGeom>
              <a:avLst/>
              <a:gdLst>
                <a:gd name="T0" fmla="*/ 394 w 394"/>
                <a:gd name="T1" fmla="*/ 197 h 394"/>
                <a:gd name="T2" fmla="*/ 391 w 394"/>
                <a:gd name="T3" fmla="*/ 237 h 394"/>
                <a:gd name="T4" fmla="*/ 380 w 394"/>
                <a:gd name="T5" fmla="*/ 274 h 394"/>
                <a:gd name="T6" fmla="*/ 361 w 394"/>
                <a:gd name="T7" fmla="*/ 307 h 394"/>
                <a:gd name="T8" fmla="*/ 336 w 394"/>
                <a:gd name="T9" fmla="*/ 336 h 394"/>
                <a:gd name="T10" fmla="*/ 307 w 394"/>
                <a:gd name="T11" fmla="*/ 361 h 394"/>
                <a:gd name="T12" fmla="*/ 274 w 394"/>
                <a:gd name="T13" fmla="*/ 380 h 394"/>
                <a:gd name="T14" fmla="*/ 237 w 394"/>
                <a:gd name="T15" fmla="*/ 391 h 394"/>
                <a:gd name="T16" fmla="*/ 197 w 394"/>
                <a:gd name="T17" fmla="*/ 394 h 394"/>
                <a:gd name="T18" fmla="*/ 177 w 394"/>
                <a:gd name="T19" fmla="*/ 392 h 394"/>
                <a:gd name="T20" fmla="*/ 139 w 394"/>
                <a:gd name="T21" fmla="*/ 385 h 394"/>
                <a:gd name="T22" fmla="*/ 104 w 394"/>
                <a:gd name="T23" fmla="*/ 371 h 394"/>
                <a:gd name="T24" fmla="*/ 71 w 394"/>
                <a:gd name="T25" fmla="*/ 349 h 394"/>
                <a:gd name="T26" fmla="*/ 46 w 394"/>
                <a:gd name="T27" fmla="*/ 323 h 394"/>
                <a:gd name="T28" fmla="*/ 24 w 394"/>
                <a:gd name="T29" fmla="*/ 290 h 394"/>
                <a:gd name="T30" fmla="*/ 9 w 394"/>
                <a:gd name="T31" fmla="*/ 256 h 394"/>
                <a:gd name="T32" fmla="*/ 2 w 394"/>
                <a:gd name="T33" fmla="*/ 217 h 394"/>
                <a:gd name="T34" fmla="*/ 0 w 394"/>
                <a:gd name="T35" fmla="*/ 197 h 394"/>
                <a:gd name="T36" fmla="*/ 4 w 394"/>
                <a:gd name="T37" fmla="*/ 157 h 394"/>
                <a:gd name="T38" fmla="*/ 15 w 394"/>
                <a:gd name="T39" fmla="*/ 121 h 394"/>
                <a:gd name="T40" fmla="*/ 33 w 394"/>
                <a:gd name="T41" fmla="*/ 88 h 394"/>
                <a:gd name="T42" fmla="*/ 58 w 394"/>
                <a:gd name="T43" fmla="*/ 59 h 394"/>
                <a:gd name="T44" fmla="*/ 88 w 394"/>
                <a:gd name="T45" fmla="*/ 33 h 394"/>
                <a:gd name="T46" fmla="*/ 120 w 394"/>
                <a:gd name="T47" fmla="*/ 15 h 394"/>
                <a:gd name="T48" fmla="*/ 157 w 394"/>
                <a:gd name="T49" fmla="*/ 4 h 394"/>
                <a:gd name="T50" fmla="*/ 197 w 394"/>
                <a:gd name="T51" fmla="*/ 0 h 394"/>
                <a:gd name="T52" fmla="*/ 217 w 394"/>
                <a:gd name="T53" fmla="*/ 2 h 394"/>
                <a:gd name="T54" fmla="*/ 256 w 394"/>
                <a:gd name="T55" fmla="*/ 9 h 394"/>
                <a:gd name="T56" fmla="*/ 290 w 394"/>
                <a:gd name="T57" fmla="*/ 24 h 394"/>
                <a:gd name="T58" fmla="*/ 323 w 394"/>
                <a:gd name="T59" fmla="*/ 46 h 394"/>
                <a:gd name="T60" fmla="*/ 349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1" y="237"/>
                  </a:lnTo>
                  <a:lnTo>
                    <a:pt x="385" y="256"/>
                  </a:lnTo>
                  <a:lnTo>
                    <a:pt x="380" y="274"/>
                  </a:lnTo>
                  <a:lnTo>
                    <a:pt x="370" y="290"/>
                  </a:lnTo>
                  <a:lnTo>
                    <a:pt x="361" y="307"/>
                  </a:lnTo>
                  <a:lnTo>
                    <a:pt x="349" y="323"/>
                  </a:lnTo>
                  <a:lnTo>
                    <a:pt x="336" y="336"/>
                  </a:lnTo>
                  <a:lnTo>
                    <a:pt x="323" y="349"/>
                  </a:lnTo>
                  <a:lnTo>
                    <a:pt x="307" y="361"/>
                  </a:lnTo>
                  <a:lnTo>
                    <a:pt x="290" y="371"/>
                  </a:lnTo>
                  <a:lnTo>
                    <a:pt x="274" y="380"/>
                  </a:lnTo>
                  <a:lnTo>
                    <a:pt x="256" y="385"/>
                  </a:lnTo>
                  <a:lnTo>
                    <a:pt x="237" y="391"/>
                  </a:lnTo>
                  <a:lnTo>
                    <a:pt x="217" y="392"/>
                  </a:lnTo>
                  <a:lnTo>
                    <a:pt x="197" y="394"/>
                  </a:lnTo>
                  <a:lnTo>
                    <a:pt x="197" y="394"/>
                  </a:lnTo>
                  <a:lnTo>
                    <a:pt x="177" y="392"/>
                  </a:lnTo>
                  <a:lnTo>
                    <a:pt x="157" y="391"/>
                  </a:lnTo>
                  <a:lnTo>
                    <a:pt x="139" y="385"/>
                  </a:lnTo>
                  <a:lnTo>
                    <a:pt x="120" y="380"/>
                  </a:lnTo>
                  <a:lnTo>
                    <a:pt x="104" y="371"/>
                  </a:lnTo>
                  <a:lnTo>
                    <a:pt x="88" y="361"/>
                  </a:lnTo>
                  <a:lnTo>
                    <a:pt x="71" y="349"/>
                  </a:lnTo>
                  <a:lnTo>
                    <a:pt x="58" y="336"/>
                  </a:lnTo>
                  <a:lnTo>
                    <a:pt x="46" y="323"/>
                  </a:lnTo>
                  <a:lnTo>
                    <a:pt x="33" y="307"/>
                  </a:lnTo>
                  <a:lnTo>
                    <a:pt x="24" y="290"/>
                  </a:lnTo>
                  <a:lnTo>
                    <a:pt x="15" y="274"/>
                  </a:lnTo>
                  <a:lnTo>
                    <a:pt x="9" y="256"/>
                  </a:lnTo>
                  <a:lnTo>
                    <a:pt x="4" y="237"/>
                  </a:lnTo>
                  <a:lnTo>
                    <a:pt x="2" y="217"/>
                  </a:lnTo>
                  <a:lnTo>
                    <a:pt x="0" y="197"/>
                  </a:lnTo>
                  <a:lnTo>
                    <a:pt x="0" y="197"/>
                  </a:lnTo>
                  <a:lnTo>
                    <a:pt x="2" y="177"/>
                  </a:lnTo>
                  <a:lnTo>
                    <a:pt x="4" y="157"/>
                  </a:lnTo>
                  <a:lnTo>
                    <a:pt x="9" y="139"/>
                  </a:lnTo>
                  <a:lnTo>
                    <a:pt x="15" y="121"/>
                  </a:lnTo>
                  <a:lnTo>
                    <a:pt x="24" y="104"/>
                  </a:lnTo>
                  <a:lnTo>
                    <a:pt x="33" y="88"/>
                  </a:lnTo>
                  <a:lnTo>
                    <a:pt x="46" y="71"/>
                  </a:lnTo>
                  <a:lnTo>
                    <a:pt x="58" y="59"/>
                  </a:lnTo>
                  <a:lnTo>
                    <a:pt x="71" y="46"/>
                  </a:lnTo>
                  <a:lnTo>
                    <a:pt x="88" y="33"/>
                  </a:lnTo>
                  <a:lnTo>
                    <a:pt x="104" y="24"/>
                  </a:lnTo>
                  <a:lnTo>
                    <a:pt x="120" y="15"/>
                  </a:lnTo>
                  <a:lnTo>
                    <a:pt x="139" y="9"/>
                  </a:lnTo>
                  <a:lnTo>
                    <a:pt x="157" y="4"/>
                  </a:lnTo>
                  <a:lnTo>
                    <a:pt x="177" y="2"/>
                  </a:lnTo>
                  <a:lnTo>
                    <a:pt x="197" y="0"/>
                  </a:lnTo>
                  <a:lnTo>
                    <a:pt x="197" y="0"/>
                  </a:lnTo>
                  <a:lnTo>
                    <a:pt x="217" y="2"/>
                  </a:lnTo>
                  <a:lnTo>
                    <a:pt x="237" y="4"/>
                  </a:lnTo>
                  <a:lnTo>
                    <a:pt x="256" y="9"/>
                  </a:lnTo>
                  <a:lnTo>
                    <a:pt x="274" y="15"/>
                  </a:lnTo>
                  <a:lnTo>
                    <a:pt x="290" y="24"/>
                  </a:lnTo>
                  <a:lnTo>
                    <a:pt x="307" y="33"/>
                  </a:lnTo>
                  <a:lnTo>
                    <a:pt x="323" y="46"/>
                  </a:lnTo>
                  <a:lnTo>
                    <a:pt x="336" y="59"/>
                  </a:lnTo>
                  <a:lnTo>
                    <a:pt x="349" y="71"/>
                  </a:lnTo>
                  <a:lnTo>
                    <a:pt x="361" y="88"/>
                  </a:lnTo>
                  <a:lnTo>
                    <a:pt x="370" y="104"/>
                  </a:lnTo>
                  <a:lnTo>
                    <a:pt x="380" y="121"/>
                  </a:lnTo>
                  <a:lnTo>
                    <a:pt x="385" y="139"/>
                  </a:lnTo>
                  <a:lnTo>
                    <a:pt x="391"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8" name="Freeform 51"/>
            <p:cNvSpPr/>
            <p:nvPr/>
          </p:nvSpPr>
          <p:spPr bwMode="auto">
            <a:xfrm>
              <a:off x="3963" y="2149"/>
              <a:ext cx="394" cy="395"/>
            </a:xfrm>
            <a:custGeom>
              <a:avLst/>
              <a:gdLst>
                <a:gd name="T0" fmla="*/ 394 w 394"/>
                <a:gd name="T1" fmla="*/ 198 h 395"/>
                <a:gd name="T2" fmla="*/ 390 w 394"/>
                <a:gd name="T3" fmla="*/ 238 h 395"/>
                <a:gd name="T4" fmla="*/ 379 w 394"/>
                <a:gd name="T5" fmla="*/ 274 h 395"/>
                <a:gd name="T6" fmla="*/ 361 w 394"/>
                <a:gd name="T7" fmla="*/ 307 h 395"/>
                <a:gd name="T8" fmla="*/ 336 w 394"/>
                <a:gd name="T9" fmla="*/ 336 h 395"/>
                <a:gd name="T10" fmla="*/ 306 w 394"/>
                <a:gd name="T11" fmla="*/ 362 h 395"/>
                <a:gd name="T12" fmla="*/ 273 w 394"/>
                <a:gd name="T13" fmla="*/ 380 h 395"/>
                <a:gd name="T14" fmla="*/ 237 w 394"/>
                <a:gd name="T15" fmla="*/ 391 h 395"/>
                <a:gd name="T16" fmla="*/ 197 w 394"/>
                <a:gd name="T17" fmla="*/ 395 h 395"/>
                <a:gd name="T18" fmla="*/ 177 w 394"/>
                <a:gd name="T19" fmla="*/ 393 h 395"/>
                <a:gd name="T20" fmla="*/ 138 w 394"/>
                <a:gd name="T21" fmla="*/ 385 h 395"/>
                <a:gd name="T22" fmla="*/ 104 w 394"/>
                <a:gd name="T23" fmla="*/ 371 h 395"/>
                <a:gd name="T24" fmla="*/ 71 w 394"/>
                <a:gd name="T25" fmla="*/ 349 h 395"/>
                <a:gd name="T26" fmla="*/ 45 w 394"/>
                <a:gd name="T27" fmla="*/ 323 h 395"/>
                <a:gd name="T28" fmla="*/ 23 w 394"/>
                <a:gd name="T29" fmla="*/ 291 h 395"/>
                <a:gd name="T30" fmla="*/ 9 w 394"/>
                <a:gd name="T31" fmla="*/ 256 h 395"/>
                <a:gd name="T32" fmla="*/ 2 w 394"/>
                <a:gd name="T33" fmla="*/ 218 h 395"/>
                <a:gd name="T34" fmla="*/ 0 w 394"/>
                <a:gd name="T35" fmla="*/ 198 h 395"/>
                <a:gd name="T36" fmla="*/ 3 w 394"/>
                <a:gd name="T37" fmla="*/ 157 h 395"/>
                <a:gd name="T38" fmla="*/ 14 w 394"/>
                <a:gd name="T39" fmla="*/ 121 h 395"/>
                <a:gd name="T40" fmla="*/ 33 w 394"/>
                <a:gd name="T41" fmla="*/ 88 h 395"/>
                <a:gd name="T42" fmla="*/ 58 w 394"/>
                <a:gd name="T43" fmla="*/ 59 h 395"/>
                <a:gd name="T44" fmla="*/ 87 w 394"/>
                <a:gd name="T45" fmla="*/ 33 h 395"/>
                <a:gd name="T46" fmla="*/ 120 w 394"/>
                <a:gd name="T47" fmla="*/ 15 h 395"/>
                <a:gd name="T48" fmla="*/ 157 w 394"/>
                <a:gd name="T49" fmla="*/ 4 h 395"/>
                <a:gd name="T50" fmla="*/ 197 w 394"/>
                <a:gd name="T51" fmla="*/ 0 h 395"/>
                <a:gd name="T52" fmla="*/ 217 w 394"/>
                <a:gd name="T53" fmla="*/ 2 h 395"/>
                <a:gd name="T54" fmla="*/ 255 w 394"/>
                <a:gd name="T55" fmla="*/ 10 h 395"/>
                <a:gd name="T56" fmla="*/ 290 w 394"/>
                <a:gd name="T57" fmla="*/ 24 h 395"/>
                <a:gd name="T58" fmla="*/ 323 w 394"/>
                <a:gd name="T59" fmla="*/ 46 h 395"/>
                <a:gd name="T60" fmla="*/ 348 w 394"/>
                <a:gd name="T61" fmla="*/ 72 h 395"/>
                <a:gd name="T62" fmla="*/ 370 w 394"/>
                <a:gd name="T63" fmla="*/ 104 h 395"/>
                <a:gd name="T64" fmla="*/ 385 w 394"/>
                <a:gd name="T65" fmla="*/ 139 h 395"/>
                <a:gd name="T66" fmla="*/ 392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2" y="218"/>
                  </a:lnTo>
                  <a:lnTo>
                    <a:pt x="390" y="238"/>
                  </a:lnTo>
                  <a:lnTo>
                    <a:pt x="385" y="256"/>
                  </a:lnTo>
                  <a:lnTo>
                    <a:pt x="379" y="274"/>
                  </a:lnTo>
                  <a:lnTo>
                    <a:pt x="370" y="291"/>
                  </a:lnTo>
                  <a:lnTo>
                    <a:pt x="361" y="307"/>
                  </a:lnTo>
                  <a:lnTo>
                    <a:pt x="348" y="323"/>
                  </a:lnTo>
                  <a:lnTo>
                    <a:pt x="336" y="336"/>
                  </a:lnTo>
                  <a:lnTo>
                    <a:pt x="323" y="349"/>
                  </a:lnTo>
                  <a:lnTo>
                    <a:pt x="306" y="362"/>
                  </a:lnTo>
                  <a:lnTo>
                    <a:pt x="290" y="371"/>
                  </a:lnTo>
                  <a:lnTo>
                    <a:pt x="273" y="380"/>
                  </a:lnTo>
                  <a:lnTo>
                    <a:pt x="255" y="385"/>
                  </a:lnTo>
                  <a:lnTo>
                    <a:pt x="237" y="391"/>
                  </a:lnTo>
                  <a:lnTo>
                    <a:pt x="217" y="393"/>
                  </a:lnTo>
                  <a:lnTo>
                    <a:pt x="197" y="395"/>
                  </a:lnTo>
                  <a:lnTo>
                    <a:pt x="197" y="395"/>
                  </a:lnTo>
                  <a:lnTo>
                    <a:pt x="177" y="393"/>
                  </a:lnTo>
                  <a:lnTo>
                    <a:pt x="157" y="391"/>
                  </a:lnTo>
                  <a:lnTo>
                    <a:pt x="138" y="385"/>
                  </a:lnTo>
                  <a:lnTo>
                    <a:pt x="120" y="380"/>
                  </a:lnTo>
                  <a:lnTo>
                    <a:pt x="104" y="371"/>
                  </a:lnTo>
                  <a:lnTo>
                    <a:pt x="87" y="362"/>
                  </a:lnTo>
                  <a:lnTo>
                    <a:pt x="71" y="349"/>
                  </a:lnTo>
                  <a:lnTo>
                    <a:pt x="58" y="336"/>
                  </a:lnTo>
                  <a:lnTo>
                    <a:pt x="45" y="323"/>
                  </a:lnTo>
                  <a:lnTo>
                    <a:pt x="33" y="307"/>
                  </a:lnTo>
                  <a:lnTo>
                    <a:pt x="23" y="291"/>
                  </a:lnTo>
                  <a:lnTo>
                    <a:pt x="14" y="274"/>
                  </a:lnTo>
                  <a:lnTo>
                    <a:pt x="9" y="256"/>
                  </a:lnTo>
                  <a:lnTo>
                    <a:pt x="3" y="238"/>
                  </a:lnTo>
                  <a:lnTo>
                    <a:pt x="2" y="218"/>
                  </a:lnTo>
                  <a:lnTo>
                    <a:pt x="0" y="198"/>
                  </a:lnTo>
                  <a:lnTo>
                    <a:pt x="0" y="198"/>
                  </a:lnTo>
                  <a:lnTo>
                    <a:pt x="2" y="177"/>
                  </a:lnTo>
                  <a:lnTo>
                    <a:pt x="3" y="157"/>
                  </a:lnTo>
                  <a:lnTo>
                    <a:pt x="9" y="139"/>
                  </a:lnTo>
                  <a:lnTo>
                    <a:pt x="14" y="121"/>
                  </a:lnTo>
                  <a:lnTo>
                    <a:pt x="23" y="104"/>
                  </a:lnTo>
                  <a:lnTo>
                    <a:pt x="33" y="88"/>
                  </a:lnTo>
                  <a:lnTo>
                    <a:pt x="45" y="72"/>
                  </a:lnTo>
                  <a:lnTo>
                    <a:pt x="58" y="59"/>
                  </a:lnTo>
                  <a:lnTo>
                    <a:pt x="71" y="46"/>
                  </a:lnTo>
                  <a:lnTo>
                    <a:pt x="87" y="33"/>
                  </a:lnTo>
                  <a:lnTo>
                    <a:pt x="104" y="24"/>
                  </a:lnTo>
                  <a:lnTo>
                    <a:pt x="120" y="15"/>
                  </a:lnTo>
                  <a:lnTo>
                    <a:pt x="138" y="10"/>
                  </a:lnTo>
                  <a:lnTo>
                    <a:pt x="157" y="4"/>
                  </a:lnTo>
                  <a:lnTo>
                    <a:pt x="177" y="2"/>
                  </a:lnTo>
                  <a:lnTo>
                    <a:pt x="197" y="0"/>
                  </a:lnTo>
                  <a:lnTo>
                    <a:pt x="197" y="0"/>
                  </a:lnTo>
                  <a:lnTo>
                    <a:pt x="217" y="2"/>
                  </a:lnTo>
                  <a:lnTo>
                    <a:pt x="237" y="4"/>
                  </a:lnTo>
                  <a:lnTo>
                    <a:pt x="255" y="10"/>
                  </a:lnTo>
                  <a:lnTo>
                    <a:pt x="273" y="15"/>
                  </a:lnTo>
                  <a:lnTo>
                    <a:pt x="290" y="24"/>
                  </a:lnTo>
                  <a:lnTo>
                    <a:pt x="306" y="33"/>
                  </a:lnTo>
                  <a:lnTo>
                    <a:pt x="323" y="46"/>
                  </a:lnTo>
                  <a:lnTo>
                    <a:pt x="336" y="59"/>
                  </a:lnTo>
                  <a:lnTo>
                    <a:pt x="348" y="72"/>
                  </a:lnTo>
                  <a:lnTo>
                    <a:pt x="361" y="88"/>
                  </a:lnTo>
                  <a:lnTo>
                    <a:pt x="370" y="104"/>
                  </a:lnTo>
                  <a:lnTo>
                    <a:pt x="379" y="121"/>
                  </a:lnTo>
                  <a:lnTo>
                    <a:pt x="385" y="139"/>
                  </a:lnTo>
                  <a:lnTo>
                    <a:pt x="390" y="157"/>
                  </a:lnTo>
                  <a:lnTo>
                    <a:pt x="392" y="177"/>
                  </a:lnTo>
                  <a:lnTo>
                    <a:pt x="394" y="198"/>
                  </a:lnTo>
                  <a:lnTo>
                    <a:pt x="394" y="198"/>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29" name="Group 52"/>
            <p:cNvGrpSpPr/>
            <p:nvPr/>
          </p:nvGrpSpPr>
          <p:grpSpPr bwMode="auto">
            <a:xfrm>
              <a:off x="4445" y="2106"/>
              <a:ext cx="480" cy="480"/>
              <a:chOff x="1581" y="2149"/>
              <a:chExt cx="394" cy="395"/>
            </a:xfrm>
          </p:grpSpPr>
          <p:sp>
            <p:nvSpPr>
              <p:cNvPr id="30" name="Freeform 53"/>
              <p:cNvSpPr/>
              <p:nvPr/>
            </p:nvSpPr>
            <p:spPr bwMode="auto">
              <a:xfrm>
                <a:off x="1581" y="2149"/>
                <a:ext cx="394" cy="395"/>
              </a:xfrm>
              <a:custGeom>
                <a:avLst/>
                <a:gdLst>
                  <a:gd name="T0" fmla="*/ 394 w 394"/>
                  <a:gd name="T1" fmla="*/ 198 h 395"/>
                  <a:gd name="T2" fmla="*/ 391 w 394"/>
                  <a:gd name="T3" fmla="*/ 238 h 395"/>
                  <a:gd name="T4" fmla="*/ 380 w 394"/>
                  <a:gd name="T5" fmla="*/ 274 h 395"/>
                  <a:gd name="T6" fmla="*/ 362 w 394"/>
                  <a:gd name="T7" fmla="*/ 307 h 395"/>
                  <a:gd name="T8" fmla="*/ 336 w 394"/>
                  <a:gd name="T9" fmla="*/ 336 h 395"/>
                  <a:gd name="T10" fmla="*/ 307 w 394"/>
                  <a:gd name="T11" fmla="*/ 362 h 395"/>
                  <a:gd name="T12" fmla="*/ 274 w 394"/>
                  <a:gd name="T13" fmla="*/ 380 h 395"/>
                  <a:gd name="T14" fmla="*/ 238 w 394"/>
                  <a:gd name="T15" fmla="*/ 391 h 395"/>
                  <a:gd name="T16" fmla="*/ 197 w 394"/>
                  <a:gd name="T17" fmla="*/ 395 h 395"/>
                  <a:gd name="T18" fmla="*/ 177 w 394"/>
                  <a:gd name="T19" fmla="*/ 393 h 395"/>
                  <a:gd name="T20" fmla="*/ 139 w 394"/>
                  <a:gd name="T21" fmla="*/ 385 h 395"/>
                  <a:gd name="T22" fmla="*/ 104 w 394"/>
                  <a:gd name="T23" fmla="*/ 371 h 395"/>
                  <a:gd name="T24" fmla="*/ 71 w 394"/>
                  <a:gd name="T25" fmla="*/ 349 h 395"/>
                  <a:gd name="T26" fmla="*/ 46 w 394"/>
                  <a:gd name="T27" fmla="*/ 323 h 395"/>
                  <a:gd name="T28" fmla="*/ 24 w 394"/>
                  <a:gd name="T29" fmla="*/ 291 h 395"/>
                  <a:gd name="T30" fmla="*/ 9 w 394"/>
                  <a:gd name="T31" fmla="*/ 256 h 395"/>
                  <a:gd name="T32" fmla="*/ 2 w 394"/>
                  <a:gd name="T33" fmla="*/ 218 h 395"/>
                  <a:gd name="T34" fmla="*/ 0 w 394"/>
                  <a:gd name="T35" fmla="*/ 198 h 395"/>
                  <a:gd name="T36" fmla="*/ 4 w 394"/>
                  <a:gd name="T37" fmla="*/ 157 h 395"/>
                  <a:gd name="T38" fmla="*/ 15 w 394"/>
                  <a:gd name="T39" fmla="*/ 121 h 395"/>
                  <a:gd name="T40" fmla="*/ 33 w 394"/>
                  <a:gd name="T41" fmla="*/ 88 h 395"/>
                  <a:gd name="T42" fmla="*/ 59 w 394"/>
                  <a:gd name="T43" fmla="*/ 59 h 395"/>
                  <a:gd name="T44" fmla="*/ 88 w 394"/>
                  <a:gd name="T45" fmla="*/ 33 h 395"/>
                  <a:gd name="T46" fmla="*/ 121 w 394"/>
                  <a:gd name="T47" fmla="*/ 15 h 395"/>
                  <a:gd name="T48" fmla="*/ 157 w 394"/>
                  <a:gd name="T49" fmla="*/ 4 h 395"/>
                  <a:gd name="T50" fmla="*/ 197 w 394"/>
                  <a:gd name="T51" fmla="*/ 0 h 395"/>
                  <a:gd name="T52" fmla="*/ 217 w 394"/>
                  <a:gd name="T53" fmla="*/ 2 h 395"/>
                  <a:gd name="T54" fmla="*/ 256 w 394"/>
                  <a:gd name="T55" fmla="*/ 10 h 395"/>
                  <a:gd name="T56" fmla="*/ 290 w 394"/>
                  <a:gd name="T57" fmla="*/ 24 h 395"/>
                  <a:gd name="T58" fmla="*/ 323 w 394"/>
                  <a:gd name="T59" fmla="*/ 46 h 395"/>
                  <a:gd name="T60" fmla="*/ 349 w 394"/>
                  <a:gd name="T61" fmla="*/ 72 h 395"/>
                  <a:gd name="T62" fmla="*/ 371 w 394"/>
                  <a:gd name="T63" fmla="*/ 104 h 395"/>
                  <a:gd name="T64" fmla="*/ 385 w 394"/>
                  <a:gd name="T65" fmla="*/ 139 h 395"/>
                  <a:gd name="T66" fmla="*/ 393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3" y="218"/>
                    </a:lnTo>
                    <a:lnTo>
                      <a:pt x="391" y="238"/>
                    </a:lnTo>
                    <a:lnTo>
                      <a:pt x="385" y="256"/>
                    </a:lnTo>
                    <a:lnTo>
                      <a:pt x="380" y="274"/>
                    </a:lnTo>
                    <a:lnTo>
                      <a:pt x="371" y="291"/>
                    </a:lnTo>
                    <a:lnTo>
                      <a:pt x="362" y="307"/>
                    </a:lnTo>
                    <a:lnTo>
                      <a:pt x="349" y="323"/>
                    </a:lnTo>
                    <a:lnTo>
                      <a:pt x="336" y="336"/>
                    </a:lnTo>
                    <a:lnTo>
                      <a:pt x="323" y="349"/>
                    </a:lnTo>
                    <a:lnTo>
                      <a:pt x="307" y="362"/>
                    </a:lnTo>
                    <a:lnTo>
                      <a:pt x="290" y="371"/>
                    </a:lnTo>
                    <a:lnTo>
                      <a:pt x="274" y="380"/>
                    </a:lnTo>
                    <a:lnTo>
                      <a:pt x="256" y="385"/>
                    </a:lnTo>
                    <a:lnTo>
                      <a:pt x="238" y="391"/>
                    </a:lnTo>
                    <a:lnTo>
                      <a:pt x="217" y="393"/>
                    </a:lnTo>
                    <a:lnTo>
                      <a:pt x="197" y="395"/>
                    </a:lnTo>
                    <a:lnTo>
                      <a:pt x="197" y="395"/>
                    </a:lnTo>
                    <a:lnTo>
                      <a:pt x="177" y="393"/>
                    </a:lnTo>
                    <a:lnTo>
                      <a:pt x="157" y="391"/>
                    </a:lnTo>
                    <a:lnTo>
                      <a:pt x="139" y="385"/>
                    </a:lnTo>
                    <a:lnTo>
                      <a:pt x="121" y="380"/>
                    </a:lnTo>
                    <a:lnTo>
                      <a:pt x="104" y="371"/>
                    </a:lnTo>
                    <a:lnTo>
                      <a:pt x="88" y="362"/>
                    </a:lnTo>
                    <a:lnTo>
                      <a:pt x="71" y="349"/>
                    </a:lnTo>
                    <a:lnTo>
                      <a:pt x="59" y="336"/>
                    </a:lnTo>
                    <a:lnTo>
                      <a:pt x="46" y="323"/>
                    </a:lnTo>
                    <a:lnTo>
                      <a:pt x="33" y="307"/>
                    </a:lnTo>
                    <a:lnTo>
                      <a:pt x="24" y="291"/>
                    </a:lnTo>
                    <a:lnTo>
                      <a:pt x="15" y="274"/>
                    </a:lnTo>
                    <a:lnTo>
                      <a:pt x="9" y="256"/>
                    </a:lnTo>
                    <a:lnTo>
                      <a:pt x="4" y="238"/>
                    </a:lnTo>
                    <a:lnTo>
                      <a:pt x="2" y="218"/>
                    </a:lnTo>
                    <a:lnTo>
                      <a:pt x="0" y="198"/>
                    </a:lnTo>
                    <a:lnTo>
                      <a:pt x="0" y="198"/>
                    </a:lnTo>
                    <a:lnTo>
                      <a:pt x="2" y="177"/>
                    </a:lnTo>
                    <a:lnTo>
                      <a:pt x="4" y="157"/>
                    </a:lnTo>
                    <a:lnTo>
                      <a:pt x="9" y="139"/>
                    </a:lnTo>
                    <a:lnTo>
                      <a:pt x="15" y="121"/>
                    </a:lnTo>
                    <a:lnTo>
                      <a:pt x="24" y="104"/>
                    </a:lnTo>
                    <a:lnTo>
                      <a:pt x="33" y="88"/>
                    </a:lnTo>
                    <a:lnTo>
                      <a:pt x="46" y="72"/>
                    </a:lnTo>
                    <a:lnTo>
                      <a:pt x="59" y="59"/>
                    </a:lnTo>
                    <a:lnTo>
                      <a:pt x="71" y="46"/>
                    </a:lnTo>
                    <a:lnTo>
                      <a:pt x="88" y="33"/>
                    </a:lnTo>
                    <a:lnTo>
                      <a:pt x="104" y="24"/>
                    </a:lnTo>
                    <a:lnTo>
                      <a:pt x="121" y="15"/>
                    </a:lnTo>
                    <a:lnTo>
                      <a:pt x="139" y="10"/>
                    </a:lnTo>
                    <a:lnTo>
                      <a:pt x="157" y="4"/>
                    </a:lnTo>
                    <a:lnTo>
                      <a:pt x="177" y="2"/>
                    </a:lnTo>
                    <a:lnTo>
                      <a:pt x="197" y="0"/>
                    </a:lnTo>
                    <a:lnTo>
                      <a:pt x="197" y="0"/>
                    </a:lnTo>
                    <a:lnTo>
                      <a:pt x="217" y="2"/>
                    </a:lnTo>
                    <a:lnTo>
                      <a:pt x="238" y="4"/>
                    </a:lnTo>
                    <a:lnTo>
                      <a:pt x="256" y="10"/>
                    </a:lnTo>
                    <a:lnTo>
                      <a:pt x="274" y="15"/>
                    </a:lnTo>
                    <a:lnTo>
                      <a:pt x="290" y="24"/>
                    </a:lnTo>
                    <a:lnTo>
                      <a:pt x="307" y="33"/>
                    </a:lnTo>
                    <a:lnTo>
                      <a:pt x="323" y="46"/>
                    </a:lnTo>
                    <a:lnTo>
                      <a:pt x="336" y="59"/>
                    </a:lnTo>
                    <a:lnTo>
                      <a:pt x="349" y="72"/>
                    </a:lnTo>
                    <a:lnTo>
                      <a:pt x="362" y="88"/>
                    </a:lnTo>
                    <a:lnTo>
                      <a:pt x="371" y="104"/>
                    </a:lnTo>
                    <a:lnTo>
                      <a:pt x="380" y="121"/>
                    </a:lnTo>
                    <a:lnTo>
                      <a:pt x="385" y="139"/>
                    </a:lnTo>
                    <a:lnTo>
                      <a:pt x="391" y="157"/>
                    </a:lnTo>
                    <a:lnTo>
                      <a:pt x="393" y="177"/>
                    </a:lnTo>
                    <a:lnTo>
                      <a:pt x="394" y="198"/>
                    </a:lnTo>
                    <a:lnTo>
                      <a:pt x="394" y="198"/>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31" name="Group 54"/>
              <p:cNvGrpSpPr/>
              <p:nvPr/>
            </p:nvGrpSpPr>
            <p:grpSpPr bwMode="auto">
              <a:xfrm>
                <a:off x="1619" y="2169"/>
                <a:ext cx="317" cy="104"/>
                <a:chOff x="1431" y="1843"/>
                <a:chExt cx="907" cy="295"/>
              </a:xfrm>
            </p:grpSpPr>
            <p:sp>
              <p:nvSpPr>
                <p:cNvPr id="32" name="Freeform 55"/>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3" name="Oval 56"/>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nvGrpSpPr>
          <p:cNvPr id="5" name="Group 57"/>
          <p:cNvGrpSpPr/>
          <p:nvPr/>
        </p:nvGrpSpPr>
        <p:grpSpPr bwMode="auto">
          <a:xfrm>
            <a:off x="5148064" y="3645886"/>
            <a:ext cx="1116013" cy="774700"/>
            <a:chOff x="3593" y="2636"/>
            <a:chExt cx="1370" cy="951"/>
          </a:xfrm>
        </p:grpSpPr>
        <p:sp>
          <p:nvSpPr>
            <p:cNvPr id="13" name="Rectangle 58"/>
            <p:cNvSpPr>
              <a:spLocks noChangeArrowheads="1"/>
            </p:cNvSpPr>
            <p:nvPr/>
          </p:nvSpPr>
          <p:spPr bwMode="auto">
            <a:xfrm rot="-3600000">
              <a:off x="3664" y="3093"/>
              <a:ext cx="525"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4" name="Freeform 59"/>
            <p:cNvSpPr/>
            <p:nvPr/>
          </p:nvSpPr>
          <p:spPr bwMode="auto">
            <a:xfrm>
              <a:off x="3593" y="3193"/>
              <a:ext cx="394" cy="394"/>
            </a:xfrm>
            <a:custGeom>
              <a:avLst/>
              <a:gdLst>
                <a:gd name="T0" fmla="*/ 394 w 394"/>
                <a:gd name="T1" fmla="*/ 197 h 394"/>
                <a:gd name="T2" fmla="*/ 390 w 394"/>
                <a:gd name="T3" fmla="*/ 237 h 394"/>
                <a:gd name="T4" fmla="*/ 379 w 394"/>
                <a:gd name="T5" fmla="*/ 274 h 394"/>
                <a:gd name="T6" fmla="*/ 361 w 394"/>
                <a:gd name="T7" fmla="*/ 307 h 394"/>
                <a:gd name="T8" fmla="*/ 335 w 394"/>
                <a:gd name="T9" fmla="*/ 336 h 394"/>
                <a:gd name="T10" fmla="*/ 306 w 394"/>
                <a:gd name="T11" fmla="*/ 361 h 394"/>
                <a:gd name="T12" fmla="*/ 273 w 394"/>
                <a:gd name="T13" fmla="*/ 380 h 394"/>
                <a:gd name="T14" fmla="*/ 237 w 394"/>
                <a:gd name="T15" fmla="*/ 391 h 394"/>
                <a:gd name="T16" fmla="*/ 197 w 394"/>
                <a:gd name="T17" fmla="*/ 394 h 394"/>
                <a:gd name="T18" fmla="*/ 177 w 394"/>
                <a:gd name="T19" fmla="*/ 392 h 394"/>
                <a:gd name="T20" fmla="*/ 138 w 394"/>
                <a:gd name="T21" fmla="*/ 385 h 394"/>
                <a:gd name="T22" fmla="*/ 104 w 394"/>
                <a:gd name="T23" fmla="*/ 371 h 394"/>
                <a:gd name="T24" fmla="*/ 71 w 394"/>
                <a:gd name="T25" fmla="*/ 349 h 394"/>
                <a:gd name="T26" fmla="*/ 45 w 394"/>
                <a:gd name="T27" fmla="*/ 323 h 394"/>
                <a:gd name="T28" fmla="*/ 23 w 394"/>
                <a:gd name="T29" fmla="*/ 290 h 394"/>
                <a:gd name="T30" fmla="*/ 9 w 394"/>
                <a:gd name="T31" fmla="*/ 256 h 394"/>
                <a:gd name="T32" fmla="*/ 1 w 394"/>
                <a:gd name="T33" fmla="*/ 217 h 394"/>
                <a:gd name="T34" fmla="*/ 0 w 394"/>
                <a:gd name="T35" fmla="*/ 197 h 394"/>
                <a:gd name="T36" fmla="*/ 3 w 394"/>
                <a:gd name="T37" fmla="*/ 157 h 394"/>
                <a:gd name="T38" fmla="*/ 14 w 394"/>
                <a:gd name="T39" fmla="*/ 121 h 394"/>
                <a:gd name="T40" fmla="*/ 32 w 394"/>
                <a:gd name="T41" fmla="*/ 88 h 394"/>
                <a:gd name="T42" fmla="*/ 58 w 394"/>
                <a:gd name="T43" fmla="*/ 59 h 394"/>
                <a:gd name="T44" fmla="*/ 87 w 394"/>
                <a:gd name="T45" fmla="*/ 33 h 394"/>
                <a:gd name="T46" fmla="*/ 120 w 394"/>
                <a:gd name="T47" fmla="*/ 15 h 394"/>
                <a:gd name="T48" fmla="*/ 156 w 394"/>
                <a:gd name="T49" fmla="*/ 4 h 394"/>
                <a:gd name="T50" fmla="*/ 197 w 394"/>
                <a:gd name="T51" fmla="*/ 0 h 394"/>
                <a:gd name="T52" fmla="*/ 217 w 394"/>
                <a:gd name="T53" fmla="*/ 2 h 394"/>
                <a:gd name="T54" fmla="*/ 255 w 394"/>
                <a:gd name="T55" fmla="*/ 9 h 394"/>
                <a:gd name="T56" fmla="*/ 290 w 394"/>
                <a:gd name="T57" fmla="*/ 24 h 394"/>
                <a:gd name="T58" fmla="*/ 323 w 394"/>
                <a:gd name="T59" fmla="*/ 46 h 394"/>
                <a:gd name="T60" fmla="*/ 348 w 394"/>
                <a:gd name="T61" fmla="*/ 71 h 394"/>
                <a:gd name="T62" fmla="*/ 370 w 394"/>
                <a:gd name="T63" fmla="*/ 104 h 394"/>
                <a:gd name="T64" fmla="*/ 385 w 394"/>
                <a:gd name="T65" fmla="*/ 139 h 394"/>
                <a:gd name="T66" fmla="*/ 392 w 394"/>
                <a:gd name="T67" fmla="*/ 177 h 394"/>
                <a:gd name="T68" fmla="*/ 394 w 394"/>
                <a:gd name="T69" fmla="*/ 19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4">
                  <a:moveTo>
                    <a:pt x="394" y="197"/>
                  </a:moveTo>
                  <a:lnTo>
                    <a:pt x="394" y="197"/>
                  </a:lnTo>
                  <a:lnTo>
                    <a:pt x="392" y="217"/>
                  </a:lnTo>
                  <a:lnTo>
                    <a:pt x="390" y="237"/>
                  </a:lnTo>
                  <a:lnTo>
                    <a:pt x="385" y="256"/>
                  </a:lnTo>
                  <a:lnTo>
                    <a:pt x="379" y="274"/>
                  </a:lnTo>
                  <a:lnTo>
                    <a:pt x="370" y="290"/>
                  </a:lnTo>
                  <a:lnTo>
                    <a:pt x="361" y="307"/>
                  </a:lnTo>
                  <a:lnTo>
                    <a:pt x="348" y="323"/>
                  </a:lnTo>
                  <a:lnTo>
                    <a:pt x="335" y="336"/>
                  </a:lnTo>
                  <a:lnTo>
                    <a:pt x="323" y="349"/>
                  </a:lnTo>
                  <a:lnTo>
                    <a:pt x="306" y="361"/>
                  </a:lnTo>
                  <a:lnTo>
                    <a:pt x="290" y="371"/>
                  </a:lnTo>
                  <a:lnTo>
                    <a:pt x="273" y="380"/>
                  </a:lnTo>
                  <a:lnTo>
                    <a:pt x="255" y="385"/>
                  </a:lnTo>
                  <a:lnTo>
                    <a:pt x="237" y="391"/>
                  </a:lnTo>
                  <a:lnTo>
                    <a:pt x="217" y="392"/>
                  </a:lnTo>
                  <a:lnTo>
                    <a:pt x="197" y="394"/>
                  </a:lnTo>
                  <a:lnTo>
                    <a:pt x="197" y="394"/>
                  </a:lnTo>
                  <a:lnTo>
                    <a:pt x="177" y="392"/>
                  </a:lnTo>
                  <a:lnTo>
                    <a:pt x="156" y="391"/>
                  </a:lnTo>
                  <a:lnTo>
                    <a:pt x="138" y="385"/>
                  </a:lnTo>
                  <a:lnTo>
                    <a:pt x="120" y="380"/>
                  </a:lnTo>
                  <a:lnTo>
                    <a:pt x="104" y="371"/>
                  </a:lnTo>
                  <a:lnTo>
                    <a:pt x="87" y="361"/>
                  </a:lnTo>
                  <a:lnTo>
                    <a:pt x="71" y="349"/>
                  </a:lnTo>
                  <a:lnTo>
                    <a:pt x="58" y="336"/>
                  </a:lnTo>
                  <a:lnTo>
                    <a:pt x="45" y="323"/>
                  </a:lnTo>
                  <a:lnTo>
                    <a:pt x="32" y="307"/>
                  </a:lnTo>
                  <a:lnTo>
                    <a:pt x="23" y="290"/>
                  </a:lnTo>
                  <a:lnTo>
                    <a:pt x="14" y="274"/>
                  </a:lnTo>
                  <a:lnTo>
                    <a:pt x="9" y="256"/>
                  </a:lnTo>
                  <a:lnTo>
                    <a:pt x="3" y="237"/>
                  </a:lnTo>
                  <a:lnTo>
                    <a:pt x="1" y="217"/>
                  </a:lnTo>
                  <a:lnTo>
                    <a:pt x="0" y="197"/>
                  </a:lnTo>
                  <a:lnTo>
                    <a:pt x="0" y="197"/>
                  </a:lnTo>
                  <a:lnTo>
                    <a:pt x="1" y="177"/>
                  </a:lnTo>
                  <a:lnTo>
                    <a:pt x="3" y="157"/>
                  </a:lnTo>
                  <a:lnTo>
                    <a:pt x="9" y="139"/>
                  </a:lnTo>
                  <a:lnTo>
                    <a:pt x="14" y="121"/>
                  </a:lnTo>
                  <a:lnTo>
                    <a:pt x="23" y="104"/>
                  </a:lnTo>
                  <a:lnTo>
                    <a:pt x="32" y="88"/>
                  </a:lnTo>
                  <a:lnTo>
                    <a:pt x="45" y="71"/>
                  </a:lnTo>
                  <a:lnTo>
                    <a:pt x="58" y="59"/>
                  </a:lnTo>
                  <a:lnTo>
                    <a:pt x="71" y="46"/>
                  </a:lnTo>
                  <a:lnTo>
                    <a:pt x="87" y="33"/>
                  </a:lnTo>
                  <a:lnTo>
                    <a:pt x="104" y="24"/>
                  </a:lnTo>
                  <a:lnTo>
                    <a:pt x="120" y="15"/>
                  </a:lnTo>
                  <a:lnTo>
                    <a:pt x="138" y="9"/>
                  </a:lnTo>
                  <a:lnTo>
                    <a:pt x="156" y="4"/>
                  </a:lnTo>
                  <a:lnTo>
                    <a:pt x="177" y="2"/>
                  </a:lnTo>
                  <a:lnTo>
                    <a:pt x="197" y="0"/>
                  </a:lnTo>
                  <a:lnTo>
                    <a:pt x="197" y="0"/>
                  </a:lnTo>
                  <a:lnTo>
                    <a:pt x="217" y="2"/>
                  </a:lnTo>
                  <a:lnTo>
                    <a:pt x="237" y="4"/>
                  </a:lnTo>
                  <a:lnTo>
                    <a:pt x="255" y="9"/>
                  </a:lnTo>
                  <a:lnTo>
                    <a:pt x="273" y="15"/>
                  </a:lnTo>
                  <a:lnTo>
                    <a:pt x="290" y="24"/>
                  </a:lnTo>
                  <a:lnTo>
                    <a:pt x="306" y="33"/>
                  </a:lnTo>
                  <a:lnTo>
                    <a:pt x="323" y="46"/>
                  </a:lnTo>
                  <a:lnTo>
                    <a:pt x="335" y="59"/>
                  </a:lnTo>
                  <a:lnTo>
                    <a:pt x="348" y="71"/>
                  </a:lnTo>
                  <a:lnTo>
                    <a:pt x="361" y="88"/>
                  </a:lnTo>
                  <a:lnTo>
                    <a:pt x="370" y="104"/>
                  </a:lnTo>
                  <a:lnTo>
                    <a:pt x="379" y="121"/>
                  </a:lnTo>
                  <a:lnTo>
                    <a:pt x="385" y="139"/>
                  </a:lnTo>
                  <a:lnTo>
                    <a:pt x="390" y="157"/>
                  </a:lnTo>
                  <a:lnTo>
                    <a:pt x="392" y="177"/>
                  </a:lnTo>
                  <a:lnTo>
                    <a:pt x="394" y="197"/>
                  </a:lnTo>
                  <a:lnTo>
                    <a:pt x="394" y="197"/>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5" name="Group 60"/>
            <p:cNvGrpSpPr/>
            <p:nvPr/>
          </p:nvGrpSpPr>
          <p:grpSpPr bwMode="auto">
            <a:xfrm>
              <a:off x="3855" y="2636"/>
              <a:ext cx="1108" cy="588"/>
              <a:chOff x="2541" y="2052"/>
              <a:chExt cx="1108" cy="588"/>
            </a:xfrm>
          </p:grpSpPr>
          <p:sp>
            <p:nvSpPr>
              <p:cNvPr id="16" name="Rectangle 61"/>
              <p:cNvSpPr>
                <a:spLocks noChangeArrowheads="1"/>
              </p:cNvSpPr>
              <p:nvPr/>
            </p:nvSpPr>
            <p:spPr bwMode="auto">
              <a:xfrm>
                <a:off x="2738" y="2274"/>
                <a:ext cx="526" cy="145"/>
              </a:xfrm>
              <a:prstGeom prst="rect">
                <a:avLst/>
              </a:prstGeom>
              <a:gradFill rotWithShape="1">
                <a:gsLst>
                  <a:gs pos="0">
                    <a:srgbClr val="9E9E9E"/>
                  </a:gs>
                  <a:gs pos="100000">
                    <a:srgbClr val="9E9E9E">
                      <a:gamma/>
                      <a:shade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7" name="Freeform 62"/>
              <p:cNvSpPr/>
              <p:nvPr/>
            </p:nvSpPr>
            <p:spPr bwMode="auto">
              <a:xfrm>
                <a:off x="2541" y="2149"/>
                <a:ext cx="394" cy="395"/>
              </a:xfrm>
              <a:custGeom>
                <a:avLst/>
                <a:gdLst>
                  <a:gd name="T0" fmla="*/ 394 w 394"/>
                  <a:gd name="T1" fmla="*/ 198 h 395"/>
                  <a:gd name="T2" fmla="*/ 391 w 394"/>
                  <a:gd name="T3" fmla="*/ 238 h 395"/>
                  <a:gd name="T4" fmla="*/ 380 w 394"/>
                  <a:gd name="T5" fmla="*/ 274 h 395"/>
                  <a:gd name="T6" fmla="*/ 362 w 394"/>
                  <a:gd name="T7" fmla="*/ 307 h 395"/>
                  <a:gd name="T8" fmla="*/ 336 w 394"/>
                  <a:gd name="T9" fmla="*/ 336 h 395"/>
                  <a:gd name="T10" fmla="*/ 307 w 394"/>
                  <a:gd name="T11" fmla="*/ 362 h 395"/>
                  <a:gd name="T12" fmla="*/ 274 w 394"/>
                  <a:gd name="T13" fmla="*/ 380 h 395"/>
                  <a:gd name="T14" fmla="*/ 238 w 394"/>
                  <a:gd name="T15" fmla="*/ 391 h 395"/>
                  <a:gd name="T16" fmla="*/ 197 w 394"/>
                  <a:gd name="T17" fmla="*/ 395 h 395"/>
                  <a:gd name="T18" fmla="*/ 177 w 394"/>
                  <a:gd name="T19" fmla="*/ 393 h 395"/>
                  <a:gd name="T20" fmla="*/ 139 w 394"/>
                  <a:gd name="T21" fmla="*/ 385 h 395"/>
                  <a:gd name="T22" fmla="*/ 104 w 394"/>
                  <a:gd name="T23" fmla="*/ 371 h 395"/>
                  <a:gd name="T24" fmla="*/ 71 w 394"/>
                  <a:gd name="T25" fmla="*/ 349 h 395"/>
                  <a:gd name="T26" fmla="*/ 46 w 394"/>
                  <a:gd name="T27" fmla="*/ 323 h 395"/>
                  <a:gd name="T28" fmla="*/ 24 w 394"/>
                  <a:gd name="T29" fmla="*/ 291 h 395"/>
                  <a:gd name="T30" fmla="*/ 9 w 394"/>
                  <a:gd name="T31" fmla="*/ 256 h 395"/>
                  <a:gd name="T32" fmla="*/ 2 w 394"/>
                  <a:gd name="T33" fmla="*/ 218 h 395"/>
                  <a:gd name="T34" fmla="*/ 0 w 394"/>
                  <a:gd name="T35" fmla="*/ 198 h 395"/>
                  <a:gd name="T36" fmla="*/ 4 w 394"/>
                  <a:gd name="T37" fmla="*/ 157 h 395"/>
                  <a:gd name="T38" fmla="*/ 15 w 394"/>
                  <a:gd name="T39" fmla="*/ 121 h 395"/>
                  <a:gd name="T40" fmla="*/ 33 w 394"/>
                  <a:gd name="T41" fmla="*/ 88 h 395"/>
                  <a:gd name="T42" fmla="*/ 59 w 394"/>
                  <a:gd name="T43" fmla="*/ 59 h 395"/>
                  <a:gd name="T44" fmla="*/ 88 w 394"/>
                  <a:gd name="T45" fmla="*/ 33 h 395"/>
                  <a:gd name="T46" fmla="*/ 121 w 394"/>
                  <a:gd name="T47" fmla="*/ 15 h 395"/>
                  <a:gd name="T48" fmla="*/ 157 w 394"/>
                  <a:gd name="T49" fmla="*/ 4 h 395"/>
                  <a:gd name="T50" fmla="*/ 197 w 394"/>
                  <a:gd name="T51" fmla="*/ 0 h 395"/>
                  <a:gd name="T52" fmla="*/ 217 w 394"/>
                  <a:gd name="T53" fmla="*/ 2 h 395"/>
                  <a:gd name="T54" fmla="*/ 256 w 394"/>
                  <a:gd name="T55" fmla="*/ 10 h 395"/>
                  <a:gd name="T56" fmla="*/ 290 w 394"/>
                  <a:gd name="T57" fmla="*/ 24 h 395"/>
                  <a:gd name="T58" fmla="*/ 323 w 394"/>
                  <a:gd name="T59" fmla="*/ 46 h 395"/>
                  <a:gd name="T60" fmla="*/ 349 w 394"/>
                  <a:gd name="T61" fmla="*/ 72 h 395"/>
                  <a:gd name="T62" fmla="*/ 371 w 394"/>
                  <a:gd name="T63" fmla="*/ 104 h 395"/>
                  <a:gd name="T64" fmla="*/ 385 w 394"/>
                  <a:gd name="T65" fmla="*/ 139 h 395"/>
                  <a:gd name="T66" fmla="*/ 393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3" y="218"/>
                    </a:lnTo>
                    <a:lnTo>
                      <a:pt x="391" y="238"/>
                    </a:lnTo>
                    <a:lnTo>
                      <a:pt x="385" y="256"/>
                    </a:lnTo>
                    <a:lnTo>
                      <a:pt x="380" y="274"/>
                    </a:lnTo>
                    <a:lnTo>
                      <a:pt x="371" y="291"/>
                    </a:lnTo>
                    <a:lnTo>
                      <a:pt x="362" y="307"/>
                    </a:lnTo>
                    <a:lnTo>
                      <a:pt x="349" y="323"/>
                    </a:lnTo>
                    <a:lnTo>
                      <a:pt x="336" y="336"/>
                    </a:lnTo>
                    <a:lnTo>
                      <a:pt x="323" y="349"/>
                    </a:lnTo>
                    <a:lnTo>
                      <a:pt x="307" y="362"/>
                    </a:lnTo>
                    <a:lnTo>
                      <a:pt x="290" y="371"/>
                    </a:lnTo>
                    <a:lnTo>
                      <a:pt x="274" y="380"/>
                    </a:lnTo>
                    <a:lnTo>
                      <a:pt x="256" y="385"/>
                    </a:lnTo>
                    <a:lnTo>
                      <a:pt x="238" y="391"/>
                    </a:lnTo>
                    <a:lnTo>
                      <a:pt x="217" y="393"/>
                    </a:lnTo>
                    <a:lnTo>
                      <a:pt x="197" y="395"/>
                    </a:lnTo>
                    <a:lnTo>
                      <a:pt x="197" y="395"/>
                    </a:lnTo>
                    <a:lnTo>
                      <a:pt x="177" y="393"/>
                    </a:lnTo>
                    <a:lnTo>
                      <a:pt x="157" y="391"/>
                    </a:lnTo>
                    <a:lnTo>
                      <a:pt x="139" y="385"/>
                    </a:lnTo>
                    <a:lnTo>
                      <a:pt x="121" y="380"/>
                    </a:lnTo>
                    <a:lnTo>
                      <a:pt x="104" y="371"/>
                    </a:lnTo>
                    <a:lnTo>
                      <a:pt x="88" y="362"/>
                    </a:lnTo>
                    <a:lnTo>
                      <a:pt x="71" y="349"/>
                    </a:lnTo>
                    <a:lnTo>
                      <a:pt x="59" y="336"/>
                    </a:lnTo>
                    <a:lnTo>
                      <a:pt x="46" y="323"/>
                    </a:lnTo>
                    <a:lnTo>
                      <a:pt x="33" y="307"/>
                    </a:lnTo>
                    <a:lnTo>
                      <a:pt x="24" y="291"/>
                    </a:lnTo>
                    <a:lnTo>
                      <a:pt x="15" y="274"/>
                    </a:lnTo>
                    <a:lnTo>
                      <a:pt x="9" y="256"/>
                    </a:lnTo>
                    <a:lnTo>
                      <a:pt x="4" y="238"/>
                    </a:lnTo>
                    <a:lnTo>
                      <a:pt x="2" y="218"/>
                    </a:lnTo>
                    <a:lnTo>
                      <a:pt x="0" y="198"/>
                    </a:lnTo>
                    <a:lnTo>
                      <a:pt x="0" y="198"/>
                    </a:lnTo>
                    <a:lnTo>
                      <a:pt x="2" y="177"/>
                    </a:lnTo>
                    <a:lnTo>
                      <a:pt x="4" y="157"/>
                    </a:lnTo>
                    <a:lnTo>
                      <a:pt x="9" y="139"/>
                    </a:lnTo>
                    <a:lnTo>
                      <a:pt x="15" y="121"/>
                    </a:lnTo>
                    <a:lnTo>
                      <a:pt x="24" y="104"/>
                    </a:lnTo>
                    <a:lnTo>
                      <a:pt x="33" y="88"/>
                    </a:lnTo>
                    <a:lnTo>
                      <a:pt x="46" y="72"/>
                    </a:lnTo>
                    <a:lnTo>
                      <a:pt x="59" y="59"/>
                    </a:lnTo>
                    <a:lnTo>
                      <a:pt x="71" y="46"/>
                    </a:lnTo>
                    <a:lnTo>
                      <a:pt x="88" y="33"/>
                    </a:lnTo>
                    <a:lnTo>
                      <a:pt x="104" y="24"/>
                    </a:lnTo>
                    <a:lnTo>
                      <a:pt x="121" y="15"/>
                    </a:lnTo>
                    <a:lnTo>
                      <a:pt x="139" y="10"/>
                    </a:lnTo>
                    <a:lnTo>
                      <a:pt x="157" y="4"/>
                    </a:lnTo>
                    <a:lnTo>
                      <a:pt x="177" y="2"/>
                    </a:lnTo>
                    <a:lnTo>
                      <a:pt x="197" y="0"/>
                    </a:lnTo>
                    <a:lnTo>
                      <a:pt x="197" y="0"/>
                    </a:lnTo>
                    <a:lnTo>
                      <a:pt x="217" y="2"/>
                    </a:lnTo>
                    <a:lnTo>
                      <a:pt x="238" y="4"/>
                    </a:lnTo>
                    <a:lnTo>
                      <a:pt x="256" y="10"/>
                    </a:lnTo>
                    <a:lnTo>
                      <a:pt x="274" y="15"/>
                    </a:lnTo>
                    <a:lnTo>
                      <a:pt x="290" y="24"/>
                    </a:lnTo>
                    <a:lnTo>
                      <a:pt x="307" y="33"/>
                    </a:lnTo>
                    <a:lnTo>
                      <a:pt x="323" y="46"/>
                    </a:lnTo>
                    <a:lnTo>
                      <a:pt x="336" y="59"/>
                    </a:lnTo>
                    <a:lnTo>
                      <a:pt x="349" y="72"/>
                    </a:lnTo>
                    <a:lnTo>
                      <a:pt x="362" y="88"/>
                    </a:lnTo>
                    <a:lnTo>
                      <a:pt x="371" y="104"/>
                    </a:lnTo>
                    <a:lnTo>
                      <a:pt x="380" y="121"/>
                    </a:lnTo>
                    <a:lnTo>
                      <a:pt x="385" y="139"/>
                    </a:lnTo>
                    <a:lnTo>
                      <a:pt x="391" y="157"/>
                    </a:lnTo>
                    <a:lnTo>
                      <a:pt x="393" y="177"/>
                    </a:lnTo>
                    <a:lnTo>
                      <a:pt x="394" y="198"/>
                    </a:lnTo>
                    <a:lnTo>
                      <a:pt x="394" y="198"/>
                    </a:lnTo>
                    <a:close/>
                  </a:path>
                </a:pathLst>
              </a:custGeom>
              <a:gradFill rotWithShape="1">
                <a:gsLst>
                  <a:gs pos="0">
                    <a:srgbClr val="9E9E9E">
                      <a:gamma/>
                      <a:tint val="30196"/>
                      <a:invGamma/>
                    </a:srgbClr>
                  </a:gs>
                  <a:gs pos="100000">
                    <a:srgbClr val="9E9E9E"/>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8" name="Group 63"/>
              <p:cNvGrpSpPr/>
              <p:nvPr/>
            </p:nvGrpSpPr>
            <p:grpSpPr bwMode="auto">
              <a:xfrm>
                <a:off x="3061" y="2052"/>
                <a:ext cx="588" cy="588"/>
                <a:chOff x="3158" y="2149"/>
                <a:chExt cx="394" cy="395"/>
              </a:xfrm>
            </p:grpSpPr>
            <p:sp>
              <p:nvSpPr>
                <p:cNvPr id="19" name="Freeform 64"/>
                <p:cNvSpPr/>
                <p:nvPr/>
              </p:nvSpPr>
              <p:spPr bwMode="auto">
                <a:xfrm>
                  <a:off x="3158" y="2149"/>
                  <a:ext cx="394" cy="395"/>
                </a:xfrm>
                <a:custGeom>
                  <a:avLst/>
                  <a:gdLst>
                    <a:gd name="T0" fmla="*/ 394 w 394"/>
                    <a:gd name="T1" fmla="*/ 198 h 395"/>
                    <a:gd name="T2" fmla="*/ 390 w 394"/>
                    <a:gd name="T3" fmla="*/ 238 h 395"/>
                    <a:gd name="T4" fmla="*/ 379 w 394"/>
                    <a:gd name="T5" fmla="*/ 274 h 395"/>
                    <a:gd name="T6" fmla="*/ 361 w 394"/>
                    <a:gd name="T7" fmla="*/ 307 h 395"/>
                    <a:gd name="T8" fmla="*/ 336 w 394"/>
                    <a:gd name="T9" fmla="*/ 336 h 395"/>
                    <a:gd name="T10" fmla="*/ 306 w 394"/>
                    <a:gd name="T11" fmla="*/ 362 h 395"/>
                    <a:gd name="T12" fmla="*/ 274 w 394"/>
                    <a:gd name="T13" fmla="*/ 380 h 395"/>
                    <a:gd name="T14" fmla="*/ 237 w 394"/>
                    <a:gd name="T15" fmla="*/ 391 h 395"/>
                    <a:gd name="T16" fmla="*/ 197 w 394"/>
                    <a:gd name="T17" fmla="*/ 395 h 395"/>
                    <a:gd name="T18" fmla="*/ 177 w 394"/>
                    <a:gd name="T19" fmla="*/ 393 h 395"/>
                    <a:gd name="T20" fmla="*/ 139 w 394"/>
                    <a:gd name="T21" fmla="*/ 385 h 395"/>
                    <a:gd name="T22" fmla="*/ 104 w 394"/>
                    <a:gd name="T23" fmla="*/ 371 h 395"/>
                    <a:gd name="T24" fmla="*/ 71 w 394"/>
                    <a:gd name="T25" fmla="*/ 349 h 395"/>
                    <a:gd name="T26" fmla="*/ 45 w 394"/>
                    <a:gd name="T27" fmla="*/ 323 h 395"/>
                    <a:gd name="T28" fmla="*/ 24 w 394"/>
                    <a:gd name="T29" fmla="*/ 291 h 395"/>
                    <a:gd name="T30" fmla="*/ 9 w 394"/>
                    <a:gd name="T31" fmla="*/ 256 h 395"/>
                    <a:gd name="T32" fmla="*/ 2 w 394"/>
                    <a:gd name="T33" fmla="*/ 218 h 395"/>
                    <a:gd name="T34" fmla="*/ 0 w 394"/>
                    <a:gd name="T35" fmla="*/ 198 h 395"/>
                    <a:gd name="T36" fmla="*/ 4 w 394"/>
                    <a:gd name="T37" fmla="*/ 157 h 395"/>
                    <a:gd name="T38" fmla="*/ 14 w 394"/>
                    <a:gd name="T39" fmla="*/ 121 h 395"/>
                    <a:gd name="T40" fmla="*/ 33 w 394"/>
                    <a:gd name="T41" fmla="*/ 88 h 395"/>
                    <a:gd name="T42" fmla="*/ 58 w 394"/>
                    <a:gd name="T43" fmla="*/ 59 h 395"/>
                    <a:gd name="T44" fmla="*/ 87 w 394"/>
                    <a:gd name="T45" fmla="*/ 33 h 395"/>
                    <a:gd name="T46" fmla="*/ 120 w 394"/>
                    <a:gd name="T47" fmla="*/ 15 h 395"/>
                    <a:gd name="T48" fmla="*/ 157 w 394"/>
                    <a:gd name="T49" fmla="*/ 4 h 395"/>
                    <a:gd name="T50" fmla="*/ 197 w 394"/>
                    <a:gd name="T51" fmla="*/ 0 h 395"/>
                    <a:gd name="T52" fmla="*/ 217 w 394"/>
                    <a:gd name="T53" fmla="*/ 2 h 395"/>
                    <a:gd name="T54" fmla="*/ 255 w 394"/>
                    <a:gd name="T55" fmla="*/ 10 h 395"/>
                    <a:gd name="T56" fmla="*/ 290 w 394"/>
                    <a:gd name="T57" fmla="*/ 24 h 395"/>
                    <a:gd name="T58" fmla="*/ 323 w 394"/>
                    <a:gd name="T59" fmla="*/ 46 h 395"/>
                    <a:gd name="T60" fmla="*/ 348 w 394"/>
                    <a:gd name="T61" fmla="*/ 72 h 395"/>
                    <a:gd name="T62" fmla="*/ 370 w 394"/>
                    <a:gd name="T63" fmla="*/ 104 h 395"/>
                    <a:gd name="T64" fmla="*/ 385 w 394"/>
                    <a:gd name="T65" fmla="*/ 139 h 395"/>
                    <a:gd name="T66" fmla="*/ 392 w 394"/>
                    <a:gd name="T67" fmla="*/ 177 h 395"/>
                    <a:gd name="T68" fmla="*/ 394 w 394"/>
                    <a:gd name="T69" fmla="*/ 19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 h="395">
                      <a:moveTo>
                        <a:pt x="394" y="198"/>
                      </a:moveTo>
                      <a:lnTo>
                        <a:pt x="394" y="198"/>
                      </a:lnTo>
                      <a:lnTo>
                        <a:pt x="392" y="218"/>
                      </a:lnTo>
                      <a:lnTo>
                        <a:pt x="390" y="238"/>
                      </a:lnTo>
                      <a:lnTo>
                        <a:pt x="385" y="256"/>
                      </a:lnTo>
                      <a:lnTo>
                        <a:pt x="379" y="274"/>
                      </a:lnTo>
                      <a:lnTo>
                        <a:pt x="370" y="291"/>
                      </a:lnTo>
                      <a:lnTo>
                        <a:pt x="361" y="307"/>
                      </a:lnTo>
                      <a:lnTo>
                        <a:pt x="348" y="323"/>
                      </a:lnTo>
                      <a:lnTo>
                        <a:pt x="336" y="336"/>
                      </a:lnTo>
                      <a:lnTo>
                        <a:pt x="323" y="349"/>
                      </a:lnTo>
                      <a:lnTo>
                        <a:pt x="306" y="362"/>
                      </a:lnTo>
                      <a:lnTo>
                        <a:pt x="290" y="371"/>
                      </a:lnTo>
                      <a:lnTo>
                        <a:pt x="274" y="380"/>
                      </a:lnTo>
                      <a:lnTo>
                        <a:pt x="255" y="385"/>
                      </a:lnTo>
                      <a:lnTo>
                        <a:pt x="237" y="391"/>
                      </a:lnTo>
                      <a:lnTo>
                        <a:pt x="217" y="393"/>
                      </a:lnTo>
                      <a:lnTo>
                        <a:pt x="197" y="395"/>
                      </a:lnTo>
                      <a:lnTo>
                        <a:pt x="197" y="395"/>
                      </a:lnTo>
                      <a:lnTo>
                        <a:pt x="177" y="393"/>
                      </a:lnTo>
                      <a:lnTo>
                        <a:pt x="157" y="391"/>
                      </a:lnTo>
                      <a:lnTo>
                        <a:pt x="139" y="385"/>
                      </a:lnTo>
                      <a:lnTo>
                        <a:pt x="120" y="380"/>
                      </a:lnTo>
                      <a:lnTo>
                        <a:pt x="104" y="371"/>
                      </a:lnTo>
                      <a:lnTo>
                        <a:pt x="87" y="362"/>
                      </a:lnTo>
                      <a:lnTo>
                        <a:pt x="71" y="349"/>
                      </a:lnTo>
                      <a:lnTo>
                        <a:pt x="58" y="336"/>
                      </a:lnTo>
                      <a:lnTo>
                        <a:pt x="45" y="323"/>
                      </a:lnTo>
                      <a:lnTo>
                        <a:pt x="33" y="307"/>
                      </a:lnTo>
                      <a:lnTo>
                        <a:pt x="24" y="291"/>
                      </a:lnTo>
                      <a:lnTo>
                        <a:pt x="14" y="274"/>
                      </a:lnTo>
                      <a:lnTo>
                        <a:pt x="9" y="256"/>
                      </a:lnTo>
                      <a:lnTo>
                        <a:pt x="4" y="238"/>
                      </a:lnTo>
                      <a:lnTo>
                        <a:pt x="2" y="218"/>
                      </a:lnTo>
                      <a:lnTo>
                        <a:pt x="0" y="198"/>
                      </a:lnTo>
                      <a:lnTo>
                        <a:pt x="0" y="198"/>
                      </a:lnTo>
                      <a:lnTo>
                        <a:pt x="2" y="177"/>
                      </a:lnTo>
                      <a:lnTo>
                        <a:pt x="4" y="157"/>
                      </a:lnTo>
                      <a:lnTo>
                        <a:pt x="9" y="139"/>
                      </a:lnTo>
                      <a:lnTo>
                        <a:pt x="14" y="121"/>
                      </a:lnTo>
                      <a:lnTo>
                        <a:pt x="24" y="104"/>
                      </a:lnTo>
                      <a:lnTo>
                        <a:pt x="33" y="88"/>
                      </a:lnTo>
                      <a:lnTo>
                        <a:pt x="45" y="72"/>
                      </a:lnTo>
                      <a:lnTo>
                        <a:pt x="58" y="59"/>
                      </a:lnTo>
                      <a:lnTo>
                        <a:pt x="71" y="46"/>
                      </a:lnTo>
                      <a:lnTo>
                        <a:pt x="87" y="33"/>
                      </a:lnTo>
                      <a:lnTo>
                        <a:pt x="104" y="24"/>
                      </a:lnTo>
                      <a:lnTo>
                        <a:pt x="120" y="15"/>
                      </a:lnTo>
                      <a:lnTo>
                        <a:pt x="139" y="10"/>
                      </a:lnTo>
                      <a:lnTo>
                        <a:pt x="157" y="4"/>
                      </a:lnTo>
                      <a:lnTo>
                        <a:pt x="177" y="2"/>
                      </a:lnTo>
                      <a:lnTo>
                        <a:pt x="197" y="0"/>
                      </a:lnTo>
                      <a:lnTo>
                        <a:pt x="197" y="0"/>
                      </a:lnTo>
                      <a:lnTo>
                        <a:pt x="217" y="2"/>
                      </a:lnTo>
                      <a:lnTo>
                        <a:pt x="237" y="4"/>
                      </a:lnTo>
                      <a:lnTo>
                        <a:pt x="255" y="10"/>
                      </a:lnTo>
                      <a:lnTo>
                        <a:pt x="274" y="15"/>
                      </a:lnTo>
                      <a:lnTo>
                        <a:pt x="290" y="24"/>
                      </a:lnTo>
                      <a:lnTo>
                        <a:pt x="306" y="33"/>
                      </a:lnTo>
                      <a:lnTo>
                        <a:pt x="323" y="46"/>
                      </a:lnTo>
                      <a:lnTo>
                        <a:pt x="336" y="59"/>
                      </a:lnTo>
                      <a:lnTo>
                        <a:pt x="348" y="72"/>
                      </a:lnTo>
                      <a:lnTo>
                        <a:pt x="361" y="88"/>
                      </a:lnTo>
                      <a:lnTo>
                        <a:pt x="370" y="104"/>
                      </a:lnTo>
                      <a:lnTo>
                        <a:pt x="379" y="121"/>
                      </a:lnTo>
                      <a:lnTo>
                        <a:pt x="385" y="139"/>
                      </a:lnTo>
                      <a:lnTo>
                        <a:pt x="390" y="157"/>
                      </a:lnTo>
                      <a:lnTo>
                        <a:pt x="392" y="177"/>
                      </a:lnTo>
                      <a:lnTo>
                        <a:pt x="394" y="198"/>
                      </a:lnTo>
                      <a:lnTo>
                        <a:pt x="394" y="198"/>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20" name="Group 65"/>
                <p:cNvGrpSpPr/>
                <p:nvPr/>
              </p:nvGrpSpPr>
              <p:grpSpPr bwMode="auto">
                <a:xfrm>
                  <a:off x="3198" y="2169"/>
                  <a:ext cx="317" cy="104"/>
                  <a:chOff x="1431" y="1843"/>
                  <a:chExt cx="907" cy="295"/>
                </a:xfrm>
              </p:grpSpPr>
              <p:sp>
                <p:nvSpPr>
                  <p:cNvPr id="21" name="Freeform 66"/>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2" name="Oval 67"/>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sp>
        <p:nvSpPr>
          <p:cNvPr id="8" name="Text Box 70"/>
          <p:cNvSpPr txBox="1">
            <a:spLocks noChangeArrowheads="1"/>
          </p:cNvSpPr>
          <p:nvPr/>
        </p:nvSpPr>
        <p:spPr bwMode="auto">
          <a:xfrm>
            <a:off x="2195513" y="2525241"/>
            <a:ext cx="492125" cy="461963"/>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spAutoFit/>
          </a:bodyPr>
          <a:lstStyle/>
          <a:p>
            <a:r>
              <a:rPr lang="zh-CN" altLang="en-US" sz="1200" b="1" dirty="0">
                <a:latin typeface="微软雅黑" panose="020B0503020204020204" pitchFamily="34" charset="-122"/>
                <a:ea typeface="微软雅黑" panose="020B0503020204020204" pitchFamily="34" charset="-122"/>
              </a:rPr>
              <a:t>填加</a:t>
            </a:r>
            <a:endParaRPr lang="en-US" altLang="zh-CN" sz="1200" b="1" dirty="0">
              <a:latin typeface="微软雅黑" panose="020B0503020204020204" pitchFamily="34" charset="-122"/>
              <a:ea typeface="微软雅黑" panose="020B0503020204020204" pitchFamily="34" charset="-122"/>
            </a:endParaRPr>
          </a:p>
          <a:p>
            <a:r>
              <a:rPr lang="zh-CN" altLang="en-US" sz="1200" b="1" dirty="0">
                <a:latin typeface="微软雅黑" panose="020B0503020204020204" pitchFamily="34" charset="-122"/>
                <a:ea typeface="微软雅黑" panose="020B0503020204020204" pitchFamily="34" charset="-122"/>
              </a:rPr>
              <a:t>标题</a:t>
            </a:r>
            <a:endParaRPr lang="en-US" altLang="ko-KR" sz="1200" b="1" dirty="0">
              <a:latin typeface="微软雅黑" panose="020B0503020204020204" pitchFamily="34" charset="-122"/>
              <a:ea typeface="微软雅黑" panose="020B0503020204020204" pitchFamily="34" charset="-122"/>
            </a:endParaRPr>
          </a:p>
        </p:txBody>
      </p:sp>
      <p:sp>
        <p:nvSpPr>
          <p:cNvPr id="9" name="Text Box 71"/>
          <p:cNvSpPr txBox="1">
            <a:spLocks noChangeArrowheads="1"/>
          </p:cNvSpPr>
          <p:nvPr/>
        </p:nvSpPr>
        <p:spPr bwMode="auto">
          <a:xfrm>
            <a:off x="4788024" y="2485553"/>
            <a:ext cx="595035" cy="584775"/>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spAutoFit/>
          </a:bodyPr>
          <a:lstStyle/>
          <a:p>
            <a:r>
              <a:rPr lang="zh-CN" altLang="en-US" sz="1600" b="1" dirty="0">
                <a:latin typeface="微软雅黑" panose="020B0503020204020204" pitchFamily="34" charset="-122"/>
                <a:ea typeface="微软雅黑" panose="020B0503020204020204" pitchFamily="34" charset="-122"/>
              </a:rPr>
              <a:t>填加</a:t>
            </a:r>
            <a:endParaRPr lang="en-US" altLang="zh-CN" sz="1600" b="1" dirty="0">
              <a:latin typeface="微软雅黑" panose="020B0503020204020204" pitchFamily="34" charset="-122"/>
              <a:ea typeface="微软雅黑" panose="020B0503020204020204" pitchFamily="34" charset="-122"/>
            </a:endParaRPr>
          </a:p>
          <a:p>
            <a:r>
              <a:rPr lang="zh-CN" altLang="en-US" sz="1600" b="1" dirty="0">
                <a:latin typeface="微软雅黑" panose="020B0503020204020204" pitchFamily="34" charset="-122"/>
                <a:ea typeface="微软雅黑" panose="020B0503020204020204" pitchFamily="34" charset="-122"/>
              </a:rPr>
              <a:t>标题</a:t>
            </a:r>
            <a:endParaRPr lang="en-US" altLang="ko-KR" sz="1600" b="1" dirty="0">
              <a:latin typeface="微软雅黑" panose="020B0503020204020204" pitchFamily="34" charset="-122"/>
              <a:ea typeface="微软雅黑" panose="020B0503020204020204" pitchFamily="34" charset="-122"/>
            </a:endParaRPr>
          </a:p>
        </p:txBody>
      </p:sp>
      <p:sp>
        <p:nvSpPr>
          <p:cNvPr id="11" name="Text Box 73"/>
          <p:cNvSpPr txBox="1">
            <a:spLocks noChangeArrowheads="1"/>
          </p:cNvSpPr>
          <p:nvPr/>
        </p:nvSpPr>
        <p:spPr bwMode="auto">
          <a:xfrm>
            <a:off x="1291571" y="2627510"/>
            <a:ext cx="595035" cy="215444"/>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spAutoFit/>
          </a:bodyPr>
          <a:lstStyle/>
          <a:p>
            <a:pPr algn="ctr"/>
            <a:r>
              <a:rPr lang="zh-CN" altLang="en-US" sz="800" b="1" dirty="0">
                <a:latin typeface="微软雅黑" panose="020B0503020204020204" pitchFamily="34" charset="-122"/>
                <a:ea typeface="微软雅黑" panose="020B0503020204020204" pitchFamily="34" charset="-122"/>
              </a:rPr>
              <a:t>填加文字</a:t>
            </a:r>
            <a:endParaRPr lang="en-US" altLang="ko-KR" sz="800" b="1" dirty="0">
              <a:latin typeface="微软雅黑" panose="020B0503020204020204" pitchFamily="34" charset="-122"/>
              <a:ea typeface="微软雅黑" panose="020B0503020204020204" pitchFamily="34" charset="-122"/>
            </a:endParaRPr>
          </a:p>
        </p:txBody>
      </p:sp>
      <p:sp>
        <p:nvSpPr>
          <p:cNvPr id="12" name="Text Box 74"/>
          <p:cNvSpPr txBox="1">
            <a:spLocks noChangeArrowheads="1"/>
          </p:cNvSpPr>
          <p:nvPr/>
        </p:nvSpPr>
        <p:spPr bwMode="auto">
          <a:xfrm>
            <a:off x="3797360" y="2635800"/>
            <a:ext cx="595035" cy="215444"/>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spAutoFit/>
          </a:bodyPr>
          <a:lstStyle/>
          <a:p>
            <a:pPr algn="ctr"/>
            <a:r>
              <a:rPr lang="zh-CN" altLang="en-US" sz="800" b="1" dirty="0">
                <a:latin typeface="微软雅黑" panose="020B0503020204020204" pitchFamily="34" charset="-122"/>
                <a:ea typeface="微软雅黑" panose="020B0503020204020204" pitchFamily="34" charset="-122"/>
              </a:rPr>
              <a:t>填加文字</a:t>
            </a:r>
            <a:endParaRPr lang="en-US" altLang="ko-KR" sz="800" b="1" dirty="0">
              <a:latin typeface="微软雅黑" panose="020B0503020204020204" pitchFamily="34" charset="-122"/>
              <a:ea typeface="微软雅黑" panose="020B0503020204020204" pitchFamily="34" charset="-122"/>
            </a:endParaRPr>
          </a:p>
        </p:txBody>
      </p:sp>
      <p:sp>
        <p:nvSpPr>
          <p:cNvPr id="73" name="Text Box 45"/>
          <p:cNvSpPr txBox="1">
            <a:spLocks noChangeArrowheads="1"/>
          </p:cNvSpPr>
          <p:nvPr/>
        </p:nvSpPr>
        <p:spPr bwMode="auto">
          <a:xfrm>
            <a:off x="6516216" y="1187350"/>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74" name="Text Box 45"/>
          <p:cNvSpPr txBox="1">
            <a:spLocks noChangeArrowheads="1"/>
          </p:cNvSpPr>
          <p:nvPr/>
        </p:nvSpPr>
        <p:spPr bwMode="auto">
          <a:xfrm>
            <a:off x="6588000" y="3597084"/>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Effect transition="in" filter="fade">
                                      <p:cBhvr>
                                        <p:cTn id="9" dur="1000"/>
                                        <p:tgtEl>
                                          <p:spTgt spid="3"/>
                                        </p:tgtEl>
                                      </p:cBhvr>
                                    </p:animEffect>
                                  </p:childTnLst>
                                </p:cTn>
                              </p:par>
                            </p:childTnLst>
                          </p:cTn>
                        </p:par>
                        <p:par>
                          <p:cTn id="10" fill="hold">
                            <p:stCondLst>
                              <p:cond delay="1000"/>
                            </p:stCondLst>
                            <p:childTnLst>
                              <p:par>
                                <p:cTn id="11" presetID="31"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fill="hold"/>
                                        <p:tgtEl>
                                          <p:spTgt spid="8"/>
                                        </p:tgtEl>
                                        <p:attrNameLst>
                                          <p:attrName>ppt_w</p:attrName>
                                        </p:attrNameLst>
                                      </p:cBhvr>
                                      <p:tavLst>
                                        <p:tav tm="0">
                                          <p:val>
                                            <p:fltVal val="0"/>
                                          </p:val>
                                        </p:tav>
                                        <p:tav tm="100000">
                                          <p:val>
                                            <p:strVal val="#ppt_w"/>
                                          </p:val>
                                        </p:tav>
                                      </p:tavLst>
                                    </p:anim>
                                    <p:anim calcmode="lin" valueType="num">
                                      <p:cBhvr>
                                        <p:cTn id="14" dur="500" fill="hold"/>
                                        <p:tgtEl>
                                          <p:spTgt spid="8"/>
                                        </p:tgtEl>
                                        <p:attrNameLst>
                                          <p:attrName>ppt_h</p:attrName>
                                        </p:attrNameLst>
                                      </p:cBhvr>
                                      <p:tavLst>
                                        <p:tav tm="0">
                                          <p:val>
                                            <p:fltVal val="0"/>
                                          </p:val>
                                        </p:tav>
                                        <p:tav tm="100000">
                                          <p:val>
                                            <p:strVal val="#ppt_h"/>
                                          </p:val>
                                        </p:tav>
                                      </p:tavLst>
                                    </p:anim>
                                    <p:anim calcmode="lin" valueType="num">
                                      <p:cBhvr>
                                        <p:cTn id="15" dur="500" fill="hold"/>
                                        <p:tgtEl>
                                          <p:spTgt spid="8"/>
                                        </p:tgtEl>
                                        <p:attrNameLst>
                                          <p:attrName>style.rotation</p:attrName>
                                        </p:attrNameLst>
                                      </p:cBhvr>
                                      <p:tavLst>
                                        <p:tav tm="0">
                                          <p:val>
                                            <p:fltVal val="90"/>
                                          </p:val>
                                        </p:tav>
                                        <p:tav tm="100000">
                                          <p:val>
                                            <p:fltVal val="0"/>
                                          </p:val>
                                        </p:tav>
                                      </p:tavLst>
                                    </p:anim>
                                    <p:animEffect transition="in" filter="fade">
                                      <p:cBhvr>
                                        <p:cTn id="16" dur="500"/>
                                        <p:tgtEl>
                                          <p:spTgt spid="8"/>
                                        </p:tgtEl>
                                      </p:cBhvr>
                                    </p:animEffect>
                                  </p:childTnLst>
                                </p:cTn>
                              </p:par>
                            </p:childTnLst>
                          </p:cTn>
                        </p:par>
                        <p:par>
                          <p:cTn id="17" fill="hold">
                            <p:stCondLst>
                              <p:cond delay="1500"/>
                            </p:stCondLst>
                            <p:childTnLst>
                              <p:par>
                                <p:cTn id="18" presetID="31" presetClass="entr" presetSubtype="0"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 calcmode="lin" valueType="num">
                                      <p:cBhvr>
                                        <p:cTn id="20" dur="500" fill="hold"/>
                                        <p:tgtEl>
                                          <p:spTgt spid="9"/>
                                        </p:tgtEl>
                                        <p:attrNameLst>
                                          <p:attrName>ppt_w</p:attrName>
                                        </p:attrNameLst>
                                      </p:cBhvr>
                                      <p:tavLst>
                                        <p:tav tm="0">
                                          <p:val>
                                            <p:fltVal val="0"/>
                                          </p:val>
                                        </p:tav>
                                        <p:tav tm="100000">
                                          <p:val>
                                            <p:strVal val="#ppt_w"/>
                                          </p:val>
                                        </p:tav>
                                      </p:tavLst>
                                    </p:anim>
                                    <p:anim calcmode="lin" valueType="num">
                                      <p:cBhvr>
                                        <p:cTn id="21" dur="500" fill="hold"/>
                                        <p:tgtEl>
                                          <p:spTgt spid="9"/>
                                        </p:tgtEl>
                                        <p:attrNameLst>
                                          <p:attrName>ppt_h</p:attrName>
                                        </p:attrNameLst>
                                      </p:cBhvr>
                                      <p:tavLst>
                                        <p:tav tm="0">
                                          <p:val>
                                            <p:fltVal val="0"/>
                                          </p:val>
                                        </p:tav>
                                        <p:tav tm="100000">
                                          <p:val>
                                            <p:strVal val="#ppt_h"/>
                                          </p:val>
                                        </p:tav>
                                      </p:tavLst>
                                    </p:anim>
                                    <p:anim calcmode="lin" valueType="num">
                                      <p:cBhvr>
                                        <p:cTn id="22" dur="500" fill="hold"/>
                                        <p:tgtEl>
                                          <p:spTgt spid="9"/>
                                        </p:tgtEl>
                                        <p:attrNameLst>
                                          <p:attrName>style.rotation</p:attrName>
                                        </p:attrNameLst>
                                      </p:cBhvr>
                                      <p:tavLst>
                                        <p:tav tm="0">
                                          <p:val>
                                            <p:fltVal val="90"/>
                                          </p:val>
                                        </p:tav>
                                        <p:tav tm="100000">
                                          <p:val>
                                            <p:fltVal val="0"/>
                                          </p:val>
                                        </p:tav>
                                      </p:tavLst>
                                    </p:anim>
                                    <p:animEffect transition="in" filter="fade">
                                      <p:cBhvr>
                                        <p:cTn id="23" dur="500"/>
                                        <p:tgtEl>
                                          <p:spTgt spid="9"/>
                                        </p:tgtEl>
                                      </p:cBhvr>
                                    </p:animEffect>
                                  </p:childTnLst>
                                </p:cTn>
                              </p:par>
                            </p:childTnLst>
                          </p:cTn>
                        </p:par>
                        <p:par>
                          <p:cTn id="24" fill="hold">
                            <p:stCondLst>
                              <p:cond delay="2000"/>
                            </p:stCondLst>
                            <p:childTnLst>
                              <p:par>
                                <p:cTn id="25" presetID="31"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p:cTn id="27" dur="500" fill="hold"/>
                                        <p:tgtEl>
                                          <p:spTgt spid="11"/>
                                        </p:tgtEl>
                                        <p:attrNameLst>
                                          <p:attrName>ppt_w</p:attrName>
                                        </p:attrNameLst>
                                      </p:cBhvr>
                                      <p:tavLst>
                                        <p:tav tm="0">
                                          <p:val>
                                            <p:fltVal val="0"/>
                                          </p:val>
                                        </p:tav>
                                        <p:tav tm="100000">
                                          <p:val>
                                            <p:strVal val="#ppt_w"/>
                                          </p:val>
                                        </p:tav>
                                      </p:tavLst>
                                    </p:anim>
                                    <p:anim calcmode="lin" valueType="num">
                                      <p:cBhvr>
                                        <p:cTn id="28" dur="500" fill="hold"/>
                                        <p:tgtEl>
                                          <p:spTgt spid="11"/>
                                        </p:tgtEl>
                                        <p:attrNameLst>
                                          <p:attrName>ppt_h</p:attrName>
                                        </p:attrNameLst>
                                      </p:cBhvr>
                                      <p:tavLst>
                                        <p:tav tm="0">
                                          <p:val>
                                            <p:fltVal val="0"/>
                                          </p:val>
                                        </p:tav>
                                        <p:tav tm="100000">
                                          <p:val>
                                            <p:strVal val="#ppt_h"/>
                                          </p:val>
                                        </p:tav>
                                      </p:tavLst>
                                    </p:anim>
                                    <p:anim calcmode="lin" valueType="num">
                                      <p:cBhvr>
                                        <p:cTn id="29" dur="500" fill="hold"/>
                                        <p:tgtEl>
                                          <p:spTgt spid="11"/>
                                        </p:tgtEl>
                                        <p:attrNameLst>
                                          <p:attrName>style.rotation</p:attrName>
                                        </p:attrNameLst>
                                      </p:cBhvr>
                                      <p:tavLst>
                                        <p:tav tm="0">
                                          <p:val>
                                            <p:fltVal val="90"/>
                                          </p:val>
                                        </p:tav>
                                        <p:tav tm="100000">
                                          <p:val>
                                            <p:fltVal val="0"/>
                                          </p:val>
                                        </p:tav>
                                      </p:tavLst>
                                    </p:anim>
                                    <p:animEffect transition="in" filter="fade">
                                      <p:cBhvr>
                                        <p:cTn id="30" dur="500"/>
                                        <p:tgtEl>
                                          <p:spTgt spid="11"/>
                                        </p:tgtEl>
                                      </p:cBhvr>
                                    </p:animEffect>
                                  </p:childTnLst>
                                </p:cTn>
                              </p:par>
                            </p:childTnLst>
                          </p:cTn>
                        </p:par>
                        <p:par>
                          <p:cTn id="31" fill="hold">
                            <p:stCondLst>
                              <p:cond delay="2500"/>
                            </p:stCondLst>
                            <p:childTnLst>
                              <p:par>
                                <p:cTn id="32" presetID="31" presetClass="entr" presetSubtype="0" fill="hold" grpId="0"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p:cTn id="34" dur="500" fill="hold"/>
                                        <p:tgtEl>
                                          <p:spTgt spid="12"/>
                                        </p:tgtEl>
                                        <p:attrNameLst>
                                          <p:attrName>ppt_w</p:attrName>
                                        </p:attrNameLst>
                                      </p:cBhvr>
                                      <p:tavLst>
                                        <p:tav tm="0">
                                          <p:val>
                                            <p:fltVal val="0"/>
                                          </p:val>
                                        </p:tav>
                                        <p:tav tm="100000">
                                          <p:val>
                                            <p:strVal val="#ppt_w"/>
                                          </p:val>
                                        </p:tav>
                                      </p:tavLst>
                                    </p:anim>
                                    <p:anim calcmode="lin" valueType="num">
                                      <p:cBhvr>
                                        <p:cTn id="35" dur="500" fill="hold"/>
                                        <p:tgtEl>
                                          <p:spTgt spid="12"/>
                                        </p:tgtEl>
                                        <p:attrNameLst>
                                          <p:attrName>ppt_h</p:attrName>
                                        </p:attrNameLst>
                                      </p:cBhvr>
                                      <p:tavLst>
                                        <p:tav tm="0">
                                          <p:val>
                                            <p:fltVal val="0"/>
                                          </p:val>
                                        </p:tav>
                                        <p:tav tm="100000">
                                          <p:val>
                                            <p:strVal val="#ppt_h"/>
                                          </p:val>
                                        </p:tav>
                                      </p:tavLst>
                                    </p:anim>
                                    <p:anim calcmode="lin" valueType="num">
                                      <p:cBhvr>
                                        <p:cTn id="36" dur="500" fill="hold"/>
                                        <p:tgtEl>
                                          <p:spTgt spid="12"/>
                                        </p:tgtEl>
                                        <p:attrNameLst>
                                          <p:attrName>style.rotation</p:attrName>
                                        </p:attrNameLst>
                                      </p:cBhvr>
                                      <p:tavLst>
                                        <p:tav tm="0">
                                          <p:val>
                                            <p:fltVal val="90"/>
                                          </p:val>
                                        </p:tav>
                                        <p:tav tm="100000">
                                          <p:val>
                                            <p:fltVal val="0"/>
                                          </p:val>
                                        </p:tav>
                                      </p:tavLst>
                                    </p:anim>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childTnLst>
                                </p:cTn>
                              </p:par>
                            </p:childTnLst>
                          </p:cTn>
                        </p:par>
                        <p:par>
                          <p:cTn id="43" fill="hold">
                            <p:stCondLst>
                              <p:cond delay="500"/>
                            </p:stCondLst>
                            <p:childTnLst>
                              <p:par>
                                <p:cTn id="44" presetID="42" presetClass="entr" presetSubtype="0" fill="hold" grpId="0" nodeType="after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750"/>
                                        <p:tgtEl>
                                          <p:spTgt spid="73"/>
                                        </p:tgtEl>
                                      </p:cBhvr>
                                    </p:animEffect>
                                    <p:anim calcmode="lin" valueType="num">
                                      <p:cBhvr>
                                        <p:cTn id="47" dur="750" fill="hold"/>
                                        <p:tgtEl>
                                          <p:spTgt spid="73"/>
                                        </p:tgtEl>
                                        <p:attrNameLst>
                                          <p:attrName>ppt_x</p:attrName>
                                        </p:attrNameLst>
                                      </p:cBhvr>
                                      <p:tavLst>
                                        <p:tav tm="0">
                                          <p:val>
                                            <p:strVal val="#ppt_x"/>
                                          </p:val>
                                        </p:tav>
                                        <p:tav tm="100000">
                                          <p:val>
                                            <p:strVal val="#ppt_x"/>
                                          </p:val>
                                        </p:tav>
                                      </p:tavLst>
                                    </p:anim>
                                    <p:anim calcmode="lin" valueType="num">
                                      <p:cBhvr>
                                        <p:cTn id="48" dur="750" fill="hold"/>
                                        <p:tgtEl>
                                          <p:spTgt spid="73"/>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500"/>
                                        <p:tgtEl>
                                          <p:spTgt spid="5"/>
                                        </p:tgtEl>
                                      </p:cBhvr>
                                    </p:animEffect>
                                  </p:childTnLst>
                                </p:cTn>
                              </p:par>
                            </p:childTnLst>
                          </p:cTn>
                        </p:par>
                        <p:par>
                          <p:cTn id="54" fill="hold">
                            <p:stCondLst>
                              <p:cond delay="500"/>
                            </p:stCondLst>
                            <p:childTnLst>
                              <p:par>
                                <p:cTn id="55" presetID="42" presetClass="entr" presetSubtype="0" fill="hold" grpId="0" nodeType="afterEffect">
                                  <p:stCondLst>
                                    <p:cond delay="0"/>
                                  </p:stCondLst>
                                  <p:childTnLst>
                                    <p:set>
                                      <p:cBhvr>
                                        <p:cTn id="56" dur="1" fill="hold">
                                          <p:stCondLst>
                                            <p:cond delay="0"/>
                                          </p:stCondLst>
                                        </p:cTn>
                                        <p:tgtEl>
                                          <p:spTgt spid="74"/>
                                        </p:tgtEl>
                                        <p:attrNameLst>
                                          <p:attrName>style.visibility</p:attrName>
                                        </p:attrNameLst>
                                      </p:cBhvr>
                                      <p:to>
                                        <p:strVal val="visible"/>
                                      </p:to>
                                    </p:set>
                                    <p:animEffect transition="in" filter="fade">
                                      <p:cBhvr>
                                        <p:cTn id="57" dur="750"/>
                                        <p:tgtEl>
                                          <p:spTgt spid="74"/>
                                        </p:tgtEl>
                                      </p:cBhvr>
                                    </p:animEffect>
                                    <p:anim calcmode="lin" valueType="num">
                                      <p:cBhvr>
                                        <p:cTn id="58" dur="750" fill="hold"/>
                                        <p:tgtEl>
                                          <p:spTgt spid="74"/>
                                        </p:tgtEl>
                                        <p:attrNameLst>
                                          <p:attrName>ppt_x</p:attrName>
                                        </p:attrNameLst>
                                      </p:cBhvr>
                                      <p:tavLst>
                                        <p:tav tm="0">
                                          <p:val>
                                            <p:strVal val="#ppt_x"/>
                                          </p:val>
                                        </p:tav>
                                        <p:tav tm="100000">
                                          <p:val>
                                            <p:strVal val="#ppt_x"/>
                                          </p:val>
                                        </p:tav>
                                      </p:tavLst>
                                    </p:anim>
                                    <p:anim calcmode="lin" valueType="num">
                                      <p:cBhvr>
                                        <p:cTn id="59" dur="750" fill="hold"/>
                                        <p:tgtEl>
                                          <p:spTgt spid="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2" grpId="0"/>
      <p:bldP spid="73" grpId="0"/>
      <p:bldP spid="7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14"/>
          <p:cNvGrpSpPr/>
          <p:nvPr/>
        </p:nvGrpSpPr>
        <p:grpSpPr bwMode="auto">
          <a:xfrm>
            <a:off x="3851276" y="1085056"/>
            <a:ext cx="1258888" cy="1258887"/>
            <a:chOff x="2335" y="1139"/>
            <a:chExt cx="1089" cy="1089"/>
          </a:xfrm>
        </p:grpSpPr>
        <p:sp>
          <p:nvSpPr>
            <p:cNvPr id="91" name="Oval 15"/>
            <p:cNvSpPr>
              <a:spLocks noChangeArrowheads="1"/>
            </p:cNvSpPr>
            <p:nvPr/>
          </p:nvSpPr>
          <p:spPr bwMode="auto">
            <a:xfrm>
              <a:off x="2335" y="1139"/>
              <a:ext cx="1089" cy="1089"/>
            </a:xfrm>
            <a:prstGeom prst="ellipse">
              <a:avLst/>
            </a:prstGeom>
            <a:solidFill>
              <a:srgbClr val="03A550"/>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92" name="Group 16"/>
            <p:cNvGrpSpPr/>
            <p:nvPr/>
          </p:nvGrpSpPr>
          <p:grpSpPr bwMode="auto">
            <a:xfrm>
              <a:off x="2426" y="1169"/>
              <a:ext cx="908" cy="296"/>
              <a:chOff x="1431" y="1843"/>
              <a:chExt cx="907" cy="295"/>
            </a:xfrm>
          </p:grpSpPr>
          <p:sp>
            <p:nvSpPr>
              <p:cNvPr id="93" name="Freeform 17"/>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4" name="Oval 18"/>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17" name="AutoShape 66"/>
          <p:cNvSpPr>
            <a:spLocks noChangeArrowheads="1"/>
          </p:cNvSpPr>
          <p:nvPr/>
        </p:nvSpPr>
        <p:spPr bwMode="auto">
          <a:xfrm rot="20883400">
            <a:off x="2914651" y="797719"/>
            <a:ext cx="1079500" cy="1079500"/>
          </a:xfrm>
          <a:custGeom>
            <a:avLst/>
            <a:gdLst>
              <a:gd name="G0" fmla="+- -2283020 0 0"/>
              <a:gd name="G1" fmla="+- -8511305 0 0"/>
              <a:gd name="G2" fmla="+- -2283020 0 -8511305"/>
              <a:gd name="G3" fmla="+- 10800 0 0"/>
              <a:gd name="G4" fmla="+- 0 0 -2283020"/>
              <a:gd name="T0" fmla="*/ 360 256 1"/>
              <a:gd name="T1" fmla="*/ 0 256 1"/>
              <a:gd name="G5" fmla="+- G2 T0 T1"/>
              <a:gd name="G6" fmla="?: G2 G2 G5"/>
              <a:gd name="G7" fmla="+- 0 0 G6"/>
              <a:gd name="G8" fmla="+- 5629 0 0"/>
              <a:gd name="G9" fmla="+- 0 0 -8511305"/>
              <a:gd name="G10" fmla="+- 5629 0 2700"/>
              <a:gd name="G11" fmla="cos G10 -2283020"/>
              <a:gd name="G12" fmla="sin G10 -2283020"/>
              <a:gd name="G13" fmla="cos 13500 -2283020"/>
              <a:gd name="G14" fmla="sin 13500 -2283020"/>
              <a:gd name="G15" fmla="+- G11 10800 0"/>
              <a:gd name="G16" fmla="+- G12 10800 0"/>
              <a:gd name="G17" fmla="+- G13 10800 0"/>
              <a:gd name="G18" fmla="+- G14 10800 0"/>
              <a:gd name="G19" fmla="*/ 5629 1 2"/>
              <a:gd name="G20" fmla="+- G19 5400 0"/>
              <a:gd name="G21" fmla="cos G20 -2283020"/>
              <a:gd name="G22" fmla="sin G20 -2283020"/>
              <a:gd name="G23" fmla="+- G21 10800 0"/>
              <a:gd name="G24" fmla="+- G12 G23 G22"/>
              <a:gd name="G25" fmla="+- G22 G23 G11"/>
              <a:gd name="G26" fmla="cos 10800 -2283020"/>
              <a:gd name="G27" fmla="sin 10800 -2283020"/>
              <a:gd name="G28" fmla="cos 5629 -2283020"/>
              <a:gd name="G29" fmla="sin 5629 -2283020"/>
              <a:gd name="G30" fmla="+- G26 10800 0"/>
              <a:gd name="G31" fmla="+- G27 10800 0"/>
              <a:gd name="G32" fmla="+- G28 10800 0"/>
              <a:gd name="G33" fmla="+- G29 10800 0"/>
              <a:gd name="G34" fmla="+- G19 5400 0"/>
              <a:gd name="G35" fmla="cos G34 -8511305"/>
              <a:gd name="G36" fmla="sin G34 -8511305"/>
              <a:gd name="G37" fmla="+/ -8511305 -2283020 2"/>
              <a:gd name="T2" fmla="*/ 180 256 1"/>
              <a:gd name="T3" fmla="*/ 0 256 1"/>
              <a:gd name="G38" fmla="+- G37 T2 T3"/>
              <a:gd name="G39" fmla="?: G2 G37 G38"/>
              <a:gd name="G40" fmla="cos 10800 G39"/>
              <a:gd name="G41" fmla="sin 10800 G39"/>
              <a:gd name="G42" fmla="cos 5629 G39"/>
              <a:gd name="G43" fmla="sin 5629 G39"/>
              <a:gd name="G44" fmla="+- G40 10800 0"/>
              <a:gd name="G45" fmla="+- G41 10800 0"/>
              <a:gd name="G46" fmla="+- G42 10800 0"/>
              <a:gd name="G47" fmla="+- G43 10800 0"/>
              <a:gd name="G48" fmla="+- G35 10800 0"/>
              <a:gd name="G49" fmla="+- G36 10800 0"/>
              <a:gd name="T4" fmla="*/ 12236 w 21600"/>
              <a:gd name="T5" fmla="*/ 96 h 21600"/>
              <a:gd name="T6" fmla="*/ 5533 w 21600"/>
              <a:gd name="T7" fmla="*/ 4495 h 21600"/>
              <a:gd name="T8" fmla="*/ 11548 w 21600"/>
              <a:gd name="T9" fmla="*/ 5221 h 21600"/>
              <a:gd name="T10" fmla="*/ 21880 w 21600"/>
              <a:gd name="T11" fmla="*/ 3088 h 21600"/>
              <a:gd name="T12" fmla="*/ 20561 w 21600"/>
              <a:gd name="T13" fmla="*/ 10445 h 21600"/>
              <a:gd name="T14" fmla="*/ 13204 w 21600"/>
              <a:gd name="T15" fmla="*/ 9126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5420" y="7584"/>
                </a:moveTo>
                <a:cubicBezTo>
                  <a:pt x="14367" y="6072"/>
                  <a:pt x="12642" y="5171"/>
                  <a:pt x="10800" y="5171"/>
                </a:cubicBezTo>
                <a:cubicBezTo>
                  <a:pt x="9480" y="5170"/>
                  <a:pt x="8203" y="5634"/>
                  <a:pt x="7191" y="6479"/>
                </a:cubicBezTo>
                <a:lnTo>
                  <a:pt x="3876" y="2511"/>
                </a:lnTo>
                <a:cubicBezTo>
                  <a:pt x="5818" y="888"/>
                  <a:pt x="8269" y="-1"/>
                  <a:pt x="10800" y="0"/>
                </a:cubicBezTo>
                <a:cubicBezTo>
                  <a:pt x="14334" y="0"/>
                  <a:pt x="17645" y="1729"/>
                  <a:pt x="19664" y="4630"/>
                </a:cubicBezTo>
                <a:lnTo>
                  <a:pt x="21880" y="3088"/>
                </a:lnTo>
                <a:lnTo>
                  <a:pt x="20561" y="10445"/>
                </a:lnTo>
                <a:lnTo>
                  <a:pt x="13204" y="9126"/>
                </a:lnTo>
                <a:lnTo>
                  <a:pt x="15420" y="7584"/>
                </a:lnTo>
                <a:close/>
              </a:path>
            </a:pathLst>
          </a:custGeom>
          <a:solidFill>
            <a:schemeClr val="tx1">
              <a:alpha val="2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02" name="组合 101"/>
          <p:cNvGrpSpPr/>
          <p:nvPr/>
        </p:nvGrpSpPr>
        <p:grpSpPr>
          <a:xfrm>
            <a:off x="3130551" y="3606006"/>
            <a:ext cx="1298575" cy="1222375"/>
            <a:chOff x="3130551" y="3606006"/>
            <a:chExt cx="1298575" cy="1222375"/>
          </a:xfrm>
        </p:grpSpPr>
        <p:grpSp>
          <p:nvGrpSpPr>
            <p:cNvPr id="5" name="Group 7"/>
            <p:cNvGrpSpPr/>
            <p:nvPr/>
          </p:nvGrpSpPr>
          <p:grpSpPr bwMode="auto">
            <a:xfrm>
              <a:off x="3130551" y="4074319"/>
              <a:ext cx="658813" cy="754062"/>
              <a:chOff x="3061" y="-879"/>
              <a:chExt cx="614" cy="702"/>
            </a:xfrm>
          </p:grpSpPr>
          <p:sp>
            <p:nvSpPr>
              <p:cNvPr id="95" name="Oval 8"/>
              <p:cNvSpPr>
                <a:spLocks noChangeArrowheads="1"/>
              </p:cNvSpPr>
              <p:nvPr/>
            </p:nvSpPr>
            <p:spPr bwMode="auto">
              <a:xfrm>
                <a:off x="3061" y="-381"/>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96" name="Group 9"/>
              <p:cNvGrpSpPr/>
              <p:nvPr/>
            </p:nvGrpSpPr>
            <p:grpSpPr bwMode="auto">
              <a:xfrm>
                <a:off x="3062" y="-879"/>
                <a:ext cx="613" cy="613"/>
                <a:chOff x="2335" y="1139"/>
                <a:chExt cx="1089" cy="1089"/>
              </a:xfrm>
            </p:grpSpPr>
            <p:sp>
              <p:nvSpPr>
                <p:cNvPr id="97" name="Oval 10"/>
                <p:cNvSpPr>
                  <a:spLocks noChangeArrowheads="1"/>
                </p:cNvSpPr>
                <p:nvPr/>
              </p:nvSpPr>
              <p:spPr bwMode="auto">
                <a:xfrm>
                  <a:off x="2335" y="1139"/>
                  <a:ext cx="1089" cy="1089"/>
                </a:xfrm>
                <a:prstGeom prst="ellipse">
                  <a:avLst/>
                </a:prstGeom>
                <a:gradFill rotWithShape="1">
                  <a:gsLst>
                    <a:gs pos="0">
                      <a:srgbClr val="BEBEBE"/>
                    </a:gs>
                    <a:gs pos="100000">
                      <a:srgbClr val="BEBEB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98" name="Group 11"/>
                <p:cNvGrpSpPr/>
                <p:nvPr/>
              </p:nvGrpSpPr>
              <p:grpSpPr bwMode="auto">
                <a:xfrm>
                  <a:off x="2426" y="1169"/>
                  <a:ext cx="908" cy="296"/>
                  <a:chOff x="1431" y="1843"/>
                  <a:chExt cx="907" cy="295"/>
                </a:xfrm>
              </p:grpSpPr>
              <p:sp>
                <p:nvSpPr>
                  <p:cNvPr id="99" name="Freeform 1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0" name="Oval 1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nvGrpSpPr>
            <p:cNvPr id="18" name="Group 67"/>
            <p:cNvGrpSpPr/>
            <p:nvPr/>
          </p:nvGrpSpPr>
          <p:grpSpPr bwMode="auto">
            <a:xfrm>
              <a:off x="3959226" y="3893344"/>
              <a:ext cx="469900" cy="538162"/>
              <a:chOff x="3061" y="-879"/>
              <a:chExt cx="614" cy="702"/>
            </a:xfrm>
          </p:grpSpPr>
          <p:sp>
            <p:nvSpPr>
              <p:cNvPr id="48" name="Oval 68"/>
              <p:cNvSpPr>
                <a:spLocks noChangeArrowheads="1"/>
              </p:cNvSpPr>
              <p:nvPr/>
            </p:nvSpPr>
            <p:spPr bwMode="auto">
              <a:xfrm>
                <a:off x="3061" y="-381"/>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49" name="Group 69"/>
              <p:cNvGrpSpPr/>
              <p:nvPr/>
            </p:nvGrpSpPr>
            <p:grpSpPr bwMode="auto">
              <a:xfrm>
                <a:off x="3062" y="-879"/>
                <a:ext cx="613" cy="613"/>
                <a:chOff x="2335" y="1139"/>
                <a:chExt cx="1089" cy="1089"/>
              </a:xfrm>
            </p:grpSpPr>
            <p:sp>
              <p:nvSpPr>
                <p:cNvPr id="50" name="Oval 70"/>
                <p:cNvSpPr>
                  <a:spLocks noChangeArrowheads="1"/>
                </p:cNvSpPr>
                <p:nvPr/>
              </p:nvSpPr>
              <p:spPr bwMode="auto">
                <a:xfrm>
                  <a:off x="2335" y="1139"/>
                  <a:ext cx="1089" cy="1089"/>
                </a:xfrm>
                <a:prstGeom prst="ellipse">
                  <a:avLst/>
                </a:prstGeom>
                <a:gradFill rotWithShape="1">
                  <a:gsLst>
                    <a:gs pos="0">
                      <a:srgbClr val="D1D1D1"/>
                    </a:gs>
                    <a:gs pos="100000">
                      <a:srgbClr val="D1D1D1">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51" name="Group 71"/>
                <p:cNvGrpSpPr/>
                <p:nvPr/>
              </p:nvGrpSpPr>
              <p:grpSpPr bwMode="auto">
                <a:xfrm>
                  <a:off x="2426" y="1169"/>
                  <a:ext cx="908" cy="296"/>
                  <a:chOff x="1431" y="1843"/>
                  <a:chExt cx="907" cy="295"/>
                </a:xfrm>
              </p:grpSpPr>
              <p:sp>
                <p:nvSpPr>
                  <p:cNvPr id="52" name="Freeform 7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3" name="Oval 7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nvGrpSpPr>
            <p:cNvPr id="19" name="Group 74"/>
            <p:cNvGrpSpPr/>
            <p:nvPr/>
          </p:nvGrpSpPr>
          <p:grpSpPr bwMode="auto">
            <a:xfrm>
              <a:off x="3419476" y="3606006"/>
              <a:ext cx="344488" cy="393700"/>
              <a:chOff x="3061" y="-879"/>
              <a:chExt cx="614" cy="702"/>
            </a:xfrm>
          </p:grpSpPr>
          <p:sp>
            <p:nvSpPr>
              <p:cNvPr id="42" name="Oval 75"/>
              <p:cNvSpPr>
                <a:spLocks noChangeArrowheads="1"/>
              </p:cNvSpPr>
              <p:nvPr/>
            </p:nvSpPr>
            <p:spPr bwMode="auto">
              <a:xfrm>
                <a:off x="3061" y="-381"/>
                <a:ext cx="590" cy="204"/>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43" name="Group 76"/>
              <p:cNvGrpSpPr/>
              <p:nvPr/>
            </p:nvGrpSpPr>
            <p:grpSpPr bwMode="auto">
              <a:xfrm>
                <a:off x="3062" y="-879"/>
                <a:ext cx="613" cy="613"/>
                <a:chOff x="2335" y="1139"/>
                <a:chExt cx="1089" cy="1089"/>
              </a:xfrm>
            </p:grpSpPr>
            <p:sp>
              <p:nvSpPr>
                <p:cNvPr id="44" name="Oval 77"/>
                <p:cNvSpPr>
                  <a:spLocks noChangeArrowheads="1"/>
                </p:cNvSpPr>
                <p:nvPr/>
              </p:nvSpPr>
              <p:spPr bwMode="auto">
                <a:xfrm>
                  <a:off x="2335" y="1139"/>
                  <a:ext cx="1089" cy="1089"/>
                </a:xfrm>
                <a:prstGeom prst="ellipse">
                  <a:avLst/>
                </a:prstGeom>
                <a:gradFill rotWithShape="1">
                  <a:gsLst>
                    <a:gs pos="0">
                      <a:srgbClr val="E4E4E4"/>
                    </a:gs>
                    <a:gs pos="100000">
                      <a:srgbClr val="E4E4E4">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45" name="Group 78"/>
                <p:cNvGrpSpPr/>
                <p:nvPr/>
              </p:nvGrpSpPr>
              <p:grpSpPr bwMode="auto">
                <a:xfrm>
                  <a:off x="2426" y="1169"/>
                  <a:ext cx="908" cy="296"/>
                  <a:chOff x="1431" y="1843"/>
                  <a:chExt cx="907" cy="295"/>
                </a:xfrm>
              </p:grpSpPr>
              <p:sp>
                <p:nvSpPr>
                  <p:cNvPr id="46" name="Freeform 79"/>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7" name="Oval 80"/>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grpSp>
      <p:sp>
        <p:nvSpPr>
          <p:cNvPr id="21" name="Text Box 82"/>
          <p:cNvSpPr txBox="1">
            <a:spLocks noChangeArrowheads="1"/>
          </p:cNvSpPr>
          <p:nvPr/>
        </p:nvSpPr>
        <p:spPr bwMode="auto">
          <a:xfrm>
            <a:off x="3960813" y="1309440"/>
            <a:ext cx="1044575" cy="830262"/>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2400" b="1" dirty="0">
                <a:latin typeface="微软雅黑" panose="020B0503020204020204" pitchFamily="34" charset="-122"/>
                <a:ea typeface="微软雅黑" panose="020B0503020204020204" pitchFamily="34" charset="-122"/>
              </a:rPr>
              <a:t>填加</a:t>
            </a:r>
            <a:endParaRPr lang="en-US" altLang="zh-CN" sz="2400" b="1" dirty="0">
              <a:latin typeface="微软雅黑" panose="020B0503020204020204" pitchFamily="34" charset="-122"/>
              <a:ea typeface="微软雅黑" panose="020B0503020204020204" pitchFamily="34" charset="-122"/>
            </a:endParaRPr>
          </a:p>
          <a:p>
            <a:pPr algn="ctr"/>
            <a:r>
              <a:rPr lang="zh-CN" altLang="en-US" sz="2400" b="1" dirty="0">
                <a:latin typeface="微软雅黑" panose="020B0503020204020204" pitchFamily="34" charset="-122"/>
                <a:ea typeface="微软雅黑" panose="020B0503020204020204" pitchFamily="34" charset="-122"/>
              </a:rPr>
              <a:t>文字</a:t>
            </a:r>
            <a:endParaRPr lang="en-US" altLang="ko-KR" sz="2400" b="1" dirty="0">
              <a:latin typeface="微软雅黑" panose="020B0503020204020204" pitchFamily="34" charset="-122"/>
              <a:ea typeface="微软雅黑" panose="020B0503020204020204" pitchFamily="34" charset="-122"/>
            </a:endParaRPr>
          </a:p>
        </p:txBody>
      </p:sp>
      <p:grpSp>
        <p:nvGrpSpPr>
          <p:cNvPr id="101" name="组合 100"/>
          <p:cNvGrpSpPr/>
          <p:nvPr/>
        </p:nvGrpSpPr>
        <p:grpSpPr>
          <a:xfrm>
            <a:off x="1042988" y="1085056"/>
            <a:ext cx="2555875" cy="3790950"/>
            <a:chOff x="1042988" y="1085056"/>
            <a:chExt cx="2555875" cy="3790950"/>
          </a:xfrm>
        </p:grpSpPr>
        <p:sp>
          <p:nvSpPr>
            <p:cNvPr id="3" name="Oval 5"/>
            <p:cNvSpPr>
              <a:spLocks noChangeArrowheads="1"/>
            </p:cNvSpPr>
            <p:nvPr/>
          </p:nvSpPr>
          <p:spPr bwMode="auto">
            <a:xfrm>
              <a:off x="1222376" y="4063206"/>
              <a:ext cx="1981200" cy="812800"/>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7" name="Group 19"/>
            <p:cNvGrpSpPr/>
            <p:nvPr/>
          </p:nvGrpSpPr>
          <p:grpSpPr bwMode="auto">
            <a:xfrm>
              <a:off x="1042988" y="1369219"/>
              <a:ext cx="2368550" cy="3257550"/>
              <a:chOff x="2953" y="1386"/>
              <a:chExt cx="1492" cy="2052"/>
            </a:xfrm>
          </p:grpSpPr>
          <p:sp>
            <p:nvSpPr>
              <p:cNvPr id="88" name="Freeform 20"/>
              <p:cNvSpPr/>
              <p:nvPr/>
            </p:nvSpPr>
            <p:spPr bwMode="auto">
              <a:xfrm>
                <a:off x="2953" y="1386"/>
                <a:ext cx="1492" cy="2052"/>
              </a:xfrm>
              <a:custGeom>
                <a:avLst/>
                <a:gdLst>
                  <a:gd name="T0" fmla="*/ 1492 w 1492"/>
                  <a:gd name="T1" fmla="*/ 373 h 2052"/>
                  <a:gd name="T2" fmla="*/ 1488 w 1492"/>
                  <a:gd name="T3" fmla="*/ 336 h 2052"/>
                  <a:gd name="T4" fmla="*/ 1476 w 1492"/>
                  <a:gd name="T5" fmla="*/ 298 h 2052"/>
                  <a:gd name="T6" fmla="*/ 1458 w 1492"/>
                  <a:gd name="T7" fmla="*/ 262 h 2052"/>
                  <a:gd name="T8" fmla="*/ 1434 w 1492"/>
                  <a:gd name="T9" fmla="*/ 228 h 2052"/>
                  <a:gd name="T10" fmla="*/ 1401 w 1492"/>
                  <a:gd name="T11" fmla="*/ 196 h 2052"/>
                  <a:gd name="T12" fmla="*/ 1365 w 1492"/>
                  <a:gd name="T13" fmla="*/ 165 h 2052"/>
                  <a:gd name="T14" fmla="*/ 1321 w 1492"/>
                  <a:gd name="T15" fmla="*/ 136 h 2052"/>
                  <a:gd name="T16" fmla="*/ 1273 w 1492"/>
                  <a:gd name="T17" fmla="*/ 109 h 2052"/>
                  <a:gd name="T18" fmla="*/ 1220 w 1492"/>
                  <a:gd name="T19" fmla="*/ 86 h 2052"/>
                  <a:gd name="T20" fmla="*/ 1163 w 1492"/>
                  <a:gd name="T21" fmla="*/ 63 h 2052"/>
                  <a:gd name="T22" fmla="*/ 1102 w 1492"/>
                  <a:gd name="T23" fmla="*/ 45 h 2052"/>
                  <a:gd name="T24" fmla="*/ 1036 w 1492"/>
                  <a:gd name="T25" fmla="*/ 30 h 2052"/>
                  <a:gd name="T26" fmla="*/ 967 w 1492"/>
                  <a:gd name="T27" fmla="*/ 17 h 2052"/>
                  <a:gd name="T28" fmla="*/ 896 w 1492"/>
                  <a:gd name="T29" fmla="*/ 8 h 2052"/>
                  <a:gd name="T30" fmla="*/ 822 w 1492"/>
                  <a:gd name="T31" fmla="*/ 1 h 2052"/>
                  <a:gd name="T32" fmla="*/ 746 w 1492"/>
                  <a:gd name="T33" fmla="*/ 0 h 2052"/>
                  <a:gd name="T34" fmla="*/ 707 w 1492"/>
                  <a:gd name="T35" fmla="*/ 0 h 2052"/>
                  <a:gd name="T36" fmla="*/ 632 w 1492"/>
                  <a:gd name="T37" fmla="*/ 4 h 2052"/>
                  <a:gd name="T38" fmla="*/ 560 w 1492"/>
                  <a:gd name="T39" fmla="*/ 12 h 2052"/>
                  <a:gd name="T40" fmla="*/ 490 w 1492"/>
                  <a:gd name="T41" fmla="*/ 22 h 2052"/>
                  <a:gd name="T42" fmla="*/ 422 w 1492"/>
                  <a:gd name="T43" fmla="*/ 36 h 2052"/>
                  <a:gd name="T44" fmla="*/ 359 w 1492"/>
                  <a:gd name="T45" fmla="*/ 54 h 2052"/>
                  <a:gd name="T46" fmla="*/ 299 w 1492"/>
                  <a:gd name="T47" fmla="*/ 74 h 2052"/>
                  <a:gd name="T48" fmla="*/ 245 w 1492"/>
                  <a:gd name="T49" fmla="*/ 97 h 2052"/>
                  <a:gd name="T50" fmla="*/ 194 w 1492"/>
                  <a:gd name="T51" fmla="*/ 122 h 2052"/>
                  <a:gd name="T52" fmla="*/ 148 w 1492"/>
                  <a:gd name="T53" fmla="*/ 150 h 2052"/>
                  <a:gd name="T54" fmla="*/ 107 w 1492"/>
                  <a:gd name="T55" fmla="*/ 180 h 2052"/>
                  <a:gd name="T56" fmla="*/ 74 w 1492"/>
                  <a:gd name="T57" fmla="*/ 211 h 2052"/>
                  <a:gd name="T58" fmla="*/ 45 w 1492"/>
                  <a:gd name="T59" fmla="*/ 245 h 2052"/>
                  <a:gd name="T60" fmla="*/ 23 w 1492"/>
                  <a:gd name="T61" fmla="*/ 280 h 2052"/>
                  <a:gd name="T62" fmla="*/ 9 w 1492"/>
                  <a:gd name="T63" fmla="*/ 316 h 2052"/>
                  <a:gd name="T64" fmla="*/ 1 w 1492"/>
                  <a:gd name="T65" fmla="*/ 354 h 2052"/>
                  <a:gd name="T66" fmla="*/ 0 w 1492"/>
                  <a:gd name="T67" fmla="*/ 373 h 2052"/>
                  <a:gd name="T68" fmla="*/ 6 w 1492"/>
                  <a:gd name="T69" fmla="*/ 420 h 2052"/>
                  <a:gd name="T70" fmla="*/ 376 w 1492"/>
                  <a:gd name="T71" fmla="*/ 1889 h 2052"/>
                  <a:gd name="T72" fmla="*/ 376 w 1492"/>
                  <a:gd name="T73" fmla="*/ 1889 h 2052"/>
                  <a:gd name="T74" fmla="*/ 391 w 1492"/>
                  <a:gd name="T75" fmla="*/ 1922 h 2052"/>
                  <a:gd name="T76" fmla="*/ 417 w 1492"/>
                  <a:gd name="T77" fmla="*/ 1954 h 2052"/>
                  <a:gd name="T78" fmla="*/ 453 w 1492"/>
                  <a:gd name="T79" fmla="*/ 1981 h 2052"/>
                  <a:gd name="T80" fmla="*/ 499 w 1492"/>
                  <a:gd name="T81" fmla="*/ 2005 h 2052"/>
                  <a:gd name="T82" fmla="*/ 552 w 1492"/>
                  <a:gd name="T83" fmla="*/ 2025 h 2052"/>
                  <a:gd name="T84" fmla="*/ 611 w 1492"/>
                  <a:gd name="T85" fmla="*/ 2039 h 2052"/>
                  <a:gd name="T86" fmla="*/ 676 w 1492"/>
                  <a:gd name="T87" fmla="*/ 2048 h 2052"/>
                  <a:gd name="T88" fmla="*/ 746 w 1492"/>
                  <a:gd name="T89" fmla="*/ 2052 h 2052"/>
                  <a:gd name="T90" fmla="*/ 781 w 1492"/>
                  <a:gd name="T91" fmla="*/ 2051 h 2052"/>
                  <a:gd name="T92" fmla="*/ 848 w 1492"/>
                  <a:gd name="T93" fmla="*/ 2044 h 2052"/>
                  <a:gd name="T94" fmla="*/ 912 w 1492"/>
                  <a:gd name="T95" fmla="*/ 2033 h 2052"/>
                  <a:gd name="T96" fmla="*/ 967 w 1492"/>
                  <a:gd name="T97" fmla="*/ 2016 h 2052"/>
                  <a:gd name="T98" fmla="*/ 1018 w 1492"/>
                  <a:gd name="T99" fmla="*/ 1994 h 2052"/>
                  <a:gd name="T100" fmla="*/ 1058 w 1492"/>
                  <a:gd name="T101" fmla="*/ 1968 h 2052"/>
                  <a:gd name="T102" fmla="*/ 1089 w 1492"/>
                  <a:gd name="T103" fmla="*/ 1938 h 2052"/>
                  <a:gd name="T104" fmla="*/ 1110 w 1492"/>
                  <a:gd name="T105" fmla="*/ 1906 h 2052"/>
                  <a:gd name="T106" fmla="*/ 1116 w 1492"/>
                  <a:gd name="T107" fmla="*/ 1889 h 2052"/>
                  <a:gd name="T108" fmla="*/ 1486 w 1492"/>
                  <a:gd name="T109" fmla="*/ 420 h 2052"/>
                  <a:gd name="T110" fmla="*/ 1491 w 1492"/>
                  <a:gd name="T111" fmla="*/ 396 h 2052"/>
                  <a:gd name="T112" fmla="*/ 1492 w 1492"/>
                  <a:gd name="T113" fmla="*/ 373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92" h="2052">
                    <a:moveTo>
                      <a:pt x="1492" y="373"/>
                    </a:moveTo>
                    <a:lnTo>
                      <a:pt x="1492" y="373"/>
                    </a:lnTo>
                    <a:lnTo>
                      <a:pt x="1491" y="354"/>
                    </a:lnTo>
                    <a:lnTo>
                      <a:pt x="1488" y="336"/>
                    </a:lnTo>
                    <a:lnTo>
                      <a:pt x="1483" y="316"/>
                    </a:lnTo>
                    <a:lnTo>
                      <a:pt x="1476" y="298"/>
                    </a:lnTo>
                    <a:lnTo>
                      <a:pt x="1469" y="280"/>
                    </a:lnTo>
                    <a:lnTo>
                      <a:pt x="1458" y="262"/>
                    </a:lnTo>
                    <a:lnTo>
                      <a:pt x="1447" y="245"/>
                    </a:lnTo>
                    <a:lnTo>
                      <a:pt x="1434" y="228"/>
                    </a:lnTo>
                    <a:lnTo>
                      <a:pt x="1418" y="211"/>
                    </a:lnTo>
                    <a:lnTo>
                      <a:pt x="1401" y="196"/>
                    </a:lnTo>
                    <a:lnTo>
                      <a:pt x="1385" y="180"/>
                    </a:lnTo>
                    <a:lnTo>
                      <a:pt x="1365" y="165"/>
                    </a:lnTo>
                    <a:lnTo>
                      <a:pt x="1344" y="150"/>
                    </a:lnTo>
                    <a:lnTo>
                      <a:pt x="1321" y="136"/>
                    </a:lnTo>
                    <a:lnTo>
                      <a:pt x="1298" y="122"/>
                    </a:lnTo>
                    <a:lnTo>
                      <a:pt x="1273" y="109"/>
                    </a:lnTo>
                    <a:lnTo>
                      <a:pt x="1247" y="97"/>
                    </a:lnTo>
                    <a:lnTo>
                      <a:pt x="1220" y="86"/>
                    </a:lnTo>
                    <a:lnTo>
                      <a:pt x="1193" y="74"/>
                    </a:lnTo>
                    <a:lnTo>
                      <a:pt x="1163" y="63"/>
                    </a:lnTo>
                    <a:lnTo>
                      <a:pt x="1133" y="54"/>
                    </a:lnTo>
                    <a:lnTo>
                      <a:pt x="1102" y="45"/>
                    </a:lnTo>
                    <a:lnTo>
                      <a:pt x="1070" y="36"/>
                    </a:lnTo>
                    <a:lnTo>
                      <a:pt x="1036" y="30"/>
                    </a:lnTo>
                    <a:lnTo>
                      <a:pt x="1002" y="22"/>
                    </a:lnTo>
                    <a:lnTo>
                      <a:pt x="967" y="17"/>
                    </a:lnTo>
                    <a:lnTo>
                      <a:pt x="933" y="12"/>
                    </a:lnTo>
                    <a:lnTo>
                      <a:pt x="896" y="8"/>
                    </a:lnTo>
                    <a:lnTo>
                      <a:pt x="860" y="4"/>
                    </a:lnTo>
                    <a:lnTo>
                      <a:pt x="822" y="1"/>
                    </a:lnTo>
                    <a:lnTo>
                      <a:pt x="785" y="0"/>
                    </a:lnTo>
                    <a:lnTo>
                      <a:pt x="746" y="0"/>
                    </a:lnTo>
                    <a:lnTo>
                      <a:pt x="746" y="0"/>
                    </a:lnTo>
                    <a:lnTo>
                      <a:pt x="707" y="0"/>
                    </a:lnTo>
                    <a:lnTo>
                      <a:pt x="670" y="1"/>
                    </a:lnTo>
                    <a:lnTo>
                      <a:pt x="632" y="4"/>
                    </a:lnTo>
                    <a:lnTo>
                      <a:pt x="596" y="8"/>
                    </a:lnTo>
                    <a:lnTo>
                      <a:pt x="560" y="12"/>
                    </a:lnTo>
                    <a:lnTo>
                      <a:pt x="525" y="17"/>
                    </a:lnTo>
                    <a:lnTo>
                      <a:pt x="490" y="22"/>
                    </a:lnTo>
                    <a:lnTo>
                      <a:pt x="456" y="30"/>
                    </a:lnTo>
                    <a:lnTo>
                      <a:pt x="422" y="36"/>
                    </a:lnTo>
                    <a:lnTo>
                      <a:pt x="390" y="45"/>
                    </a:lnTo>
                    <a:lnTo>
                      <a:pt x="359" y="54"/>
                    </a:lnTo>
                    <a:lnTo>
                      <a:pt x="329" y="63"/>
                    </a:lnTo>
                    <a:lnTo>
                      <a:pt x="299" y="74"/>
                    </a:lnTo>
                    <a:lnTo>
                      <a:pt x="272" y="86"/>
                    </a:lnTo>
                    <a:lnTo>
                      <a:pt x="245" y="97"/>
                    </a:lnTo>
                    <a:lnTo>
                      <a:pt x="219" y="109"/>
                    </a:lnTo>
                    <a:lnTo>
                      <a:pt x="194" y="122"/>
                    </a:lnTo>
                    <a:lnTo>
                      <a:pt x="171" y="136"/>
                    </a:lnTo>
                    <a:lnTo>
                      <a:pt x="148" y="150"/>
                    </a:lnTo>
                    <a:lnTo>
                      <a:pt x="127" y="165"/>
                    </a:lnTo>
                    <a:lnTo>
                      <a:pt x="107" y="180"/>
                    </a:lnTo>
                    <a:lnTo>
                      <a:pt x="91" y="196"/>
                    </a:lnTo>
                    <a:lnTo>
                      <a:pt x="74" y="211"/>
                    </a:lnTo>
                    <a:lnTo>
                      <a:pt x="58" y="228"/>
                    </a:lnTo>
                    <a:lnTo>
                      <a:pt x="45" y="245"/>
                    </a:lnTo>
                    <a:lnTo>
                      <a:pt x="34" y="262"/>
                    </a:lnTo>
                    <a:lnTo>
                      <a:pt x="23" y="280"/>
                    </a:lnTo>
                    <a:lnTo>
                      <a:pt x="16" y="298"/>
                    </a:lnTo>
                    <a:lnTo>
                      <a:pt x="9" y="316"/>
                    </a:lnTo>
                    <a:lnTo>
                      <a:pt x="4" y="336"/>
                    </a:lnTo>
                    <a:lnTo>
                      <a:pt x="1" y="354"/>
                    </a:lnTo>
                    <a:lnTo>
                      <a:pt x="0" y="373"/>
                    </a:lnTo>
                    <a:lnTo>
                      <a:pt x="0" y="373"/>
                    </a:lnTo>
                    <a:lnTo>
                      <a:pt x="1" y="396"/>
                    </a:lnTo>
                    <a:lnTo>
                      <a:pt x="6" y="420"/>
                    </a:lnTo>
                    <a:lnTo>
                      <a:pt x="5" y="420"/>
                    </a:lnTo>
                    <a:lnTo>
                      <a:pt x="376" y="1889"/>
                    </a:lnTo>
                    <a:lnTo>
                      <a:pt x="376" y="1889"/>
                    </a:lnTo>
                    <a:lnTo>
                      <a:pt x="376" y="1889"/>
                    </a:lnTo>
                    <a:lnTo>
                      <a:pt x="382" y="1906"/>
                    </a:lnTo>
                    <a:lnTo>
                      <a:pt x="391" y="1922"/>
                    </a:lnTo>
                    <a:lnTo>
                      <a:pt x="403" y="1938"/>
                    </a:lnTo>
                    <a:lnTo>
                      <a:pt x="417" y="1954"/>
                    </a:lnTo>
                    <a:lnTo>
                      <a:pt x="434" y="1968"/>
                    </a:lnTo>
                    <a:lnTo>
                      <a:pt x="453" y="1981"/>
                    </a:lnTo>
                    <a:lnTo>
                      <a:pt x="474" y="1994"/>
                    </a:lnTo>
                    <a:lnTo>
                      <a:pt x="499" y="2005"/>
                    </a:lnTo>
                    <a:lnTo>
                      <a:pt x="525" y="2016"/>
                    </a:lnTo>
                    <a:lnTo>
                      <a:pt x="552" y="2025"/>
                    </a:lnTo>
                    <a:lnTo>
                      <a:pt x="580" y="2033"/>
                    </a:lnTo>
                    <a:lnTo>
                      <a:pt x="611" y="2039"/>
                    </a:lnTo>
                    <a:lnTo>
                      <a:pt x="644" y="2044"/>
                    </a:lnTo>
                    <a:lnTo>
                      <a:pt x="676" y="2048"/>
                    </a:lnTo>
                    <a:lnTo>
                      <a:pt x="711" y="2051"/>
                    </a:lnTo>
                    <a:lnTo>
                      <a:pt x="746" y="2052"/>
                    </a:lnTo>
                    <a:lnTo>
                      <a:pt x="746" y="2052"/>
                    </a:lnTo>
                    <a:lnTo>
                      <a:pt x="781" y="2051"/>
                    </a:lnTo>
                    <a:lnTo>
                      <a:pt x="816" y="2048"/>
                    </a:lnTo>
                    <a:lnTo>
                      <a:pt x="848" y="2044"/>
                    </a:lnTo>
                    <a:lnTo>
                      <a:pt x="881" y="2039"/>
                    </a:lnTo>
                    <a:lnTo>
                      <a:pt x="912" y="2033"/>
                    </a:lnTo>
                    <a:lnTo>
                      <a:pt x="940" y="2025"/>
                    </a:lnTo>
                    <a:lnTo>
                      <a:pt x="967" y="2016"/>
                    </a:lnTo>
                    <a:lnTo>
                      <a:pt x="993" y="2005"/>
                    </a:lnTo>
                    <a:lnTo>
                      <a:pt x="1018" y="1994"/>
                    </a:lnTo>
                    <a:lnTo>
                      <a:pt x="1039" y="1981"/>
                    </a:lnTo>
                    <a:lnTo>
                      <a:pt x="1058" y="1968"/>
                    </a:lnTo>
                    <a:lnTo>
                      <a:pt x="1075" y="1954"/>
                    </a:lnTo>
                    <a:lnTo>
                      <a:pt x="1089" y="1938"/>
                    </a:lnTo>
                    <a:lnTo>
                      <a:pt x="1101" y="1922"/>
                    </a:lnTo>
                    <a:lnTo>
                      <a:pt x="1110" y="1906"/>
                    </a:lnTo>
                    <a:lnTo>
                      <a:pt x="1116" y="1889"/>
                    </a:lnTo>
                    <a:lnTo>
                      <a:pt x="1116" y="1889"/>
                    </a:lnTo>
                    <a:lnTo>
                      <a:pt x="1487" y="420"/>
                    </a:lnTo>
                    <a:lnTo>
                      <a:pt x="1486" y="420"/>
                    </a:lnTo>
                    <a:lnTo>
                      <a:pt x="1486" y="420"/>
                    </a:lnTo>
                    <a:lnTo>
                      <a:pt x="1491" y="396"/>
                    </a:lnTo>
                    <a:lnTo>
                      <a:pt x="1492" y="373"/>
                    </a:lnTo>
                    <a:lnTo>
                      <a:pt x="1492" y="373"/>
                    </a:lnTo>
                    <a:close/>
                  </a:path>
                </a:pathLst>
              </a:custGeom>
              <a:gradFill rotWithShape="1">
                <a:gsLst>
                  <a:gs pos="0">
                    <a:srgbClr val="B2B2B2">
                      <a:gamma/>
                      <a:shade val="51373"/>
                      <a:invGamma/>
                    </a:srgbClr>
                  </a:gs>
                  <a:gs pos="50000">
                    <a:srgbClr val="B2B2B2"/>
                  </a:gs>
                  <a:gs pos="100000">
                    <a:srgbClr val="B2B2B2">
                      <a:gamma/>
                      <a:shade val="51373"/>
                      <a:invGamma/>
                    </a:srgbClr>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9" name="Freeform 21"/>
              <p:cNvSpPr>
                <a:spLocks noEditPoints="1"/>
              </p:cNvSpPr>
              <p:nvPr/>
            </p:nvSpPr>
            <p:spPr bwMode="auto">
              <a:xfrm>
                <a:off x="2953" y="1386"/>
                <a:ext cx="1492" cy="746"/>
              </a:xfrm>
              <a:custGeom>
                <a:avLst/>
                <a:gdLst>
                  <a:gd name="T0" fmla="*/ 632 w 1492"/>
                  <a:gd name="T1" fmla="*/ 4 h 746"/>
                  <a:gd name="T2" fmla="*/ 456 w 1492"/>
                  <a:gd name="T3" fmla="*/ 30 h 746"/>
                  <a:gd name="T4" fmla="*/ 299 w 1492"/>
                  <a:gd name="T5" fmla="*/ 74 h 746"/>
                  <a:gd name="T6" fmla="*/ 171 w 1492"/>
                  <a:gd name="T7" fmla="*/ 136 h 746"/>
                  <a:gd name="T8" fmla="*/ 74 w 1492"/>
                  <a:gd name="T9" fmla="*/ 211 h 746"/>
                  <a:gd name="T10" fmla="*/ 16 w 1492"/>
                  <a:gd name="T11" fmla="*/ 298 h 746"/>
                  <a:gd name="T12" fmla="*/ 0 w 1492"/>
                  <a:gd name="T13" fmla="*/ 373 h 746"/>
                  <a:gd name="T14" fmla="*/ 23 w 1492"/>
                  <a:gd name="T15" fmla="*/ 466 h 746"/>
                  <a:gd name="T16" fmla="*/ 91 w 1492"/>
                  <a:gd name="T17" fmla="*/ 551 h 746"/>
                  <a:gd name="T18" fmla="*/ 194 w 1492"/>
                  <a:gd name="T19" fmla="*/ 624 h 746"/>
                  <a:gd name="T20" fmla="*/ 329 w 1492"/>
                  <a:gd name="T21" fmla="*/ 683 h 746"/>
                  <a:gd name="T22" fmla="*/ 490 w 1492"/>
                  <a:gd name="T23" fmla="*/ 724 h 746"/>
                  <a:gd name="T24" fmla="*/ 670 w 1492"/>
                  <a:gd name="T25" fmla="*/ 745 h 746"/>
                  <a:gd name="T26" fmla="*/ 822 w 1492"/>
                  <a:gd name="T27" fmla="*/ 745 h 746"/>
                  <a:gd name="T28" fmla="*/ 1002 w 1492"/>
                  <a:gd name="T29" fmla="*/ 724 h 746"/>
                  <a:gd name="T30" fmla="*/ 1163 w 1492"/>
                  <a:gd name="T31" fmla="*/ 683 h 746"/>
                  <a:gd name="T32" fmla="*/ 1298 w 1492"/>
                  <a:gd name="T33" fmla="*/ 624 h 746"/>
                  <a:gd name="T34" fmla="*/ 1401 w 1492"/>
                  <a:gd name="T35" fmla="*/ 551 h 746"/>
                  <a:gd name="T36" fmla="*/ 1469 w 1492"/>
                  <a:gd name="T37" fmla="*/ 466 h 746"/>
                  <a:gd name="T38" fmla="*/ 1492 w 1492"/>
                  <a:gd name="T39" fmla="*/ 373 h 746"/>
                  <a:gd name="T40" fmla="*/ 1476 w 1492"/>
                  <a:gd name="T41" fmla="*/ 298 h 746"/>
                  <a:gd name="T42" fmla="*/ 1418 w 1492"/>
                  <a:gd name="T43" fmla="*/ 211 h 746"/>
                  <a:gd name="T44" fmla="*/ 1321 w 1492"/>
                  <a:gd name="T45" fmla="*/ 136 h 746"/>
                  <a:gd name="T46" fmla="*/ 1193 w 1492"/>
                  <a:gd name="T47" fmla="*/ 74 h 746"/>
                  <a:gd name="T48" fmla="*/ 1036 w 1492"/>
                  <a:gd name="T49" fmla="*/ 30 h 746"/>
                  <a:gd name="T50" fmla="*/ 860 w 1492"/>
                  <a:gd name="T51" fmla="*/ 4 h 746"/>
                  <a:gd name="T52" fmla="*/ 746 w 1492"/>
                  <a:gd name="T53" fmla="*/ 723 h 746"/>
                  <a:gd name="T54" fmla="*/ 605 w 1492"/>
                  <a:gd name="T55" fmla="*/ 716 h 746"/>
                  <a:gd name="T56" fmla="*/ 443 w 1492"/>
                  <a:gd name="T57" fmla="*/ 689 h 746"/>
                  <a:gd name="T58" fmla="*/ 302 w 1492"/>
                  <a:gd name="T59" fmla="*/ 644 h 746"/>
                  <a:gd name="T60" fmla="*/ 185 w 1492"/>
                  <a:gd name="T61" fmla="*/ 583 h 746"/>
                  <a:gd name="T62" fmla="*/ 101 w 1492"/>
                  <a:gd name="T63" fmla="*/ 509 h 746"/>
                  <a:gd name="T64" fmla="*/ 54 w 1492"/>
                  <a:gd name="T65" fmla="*/ 426 h 746"/>
                  <a:gd name="T66" fmla="*/ 48 w 1492"/>
                  <a:gd name="T67" fmla="*/ 355 h 746"/>
                  <a:gd name="T68" fmla="*/ 78 w 1492"/>
                  <a:gd name="T69" fmla="*/ 269 h 746"/>
                  <a:gd name="T70" fmla="*/ 148 w 1492"/>
                  <a:gd name="T71" fmla="*/ 192 h 746"/>
                  <a:gd name="T72" fmla="*/ 251 w 1492"/>
                  <a:gd name="T73" fmla="*/ 126 h 746"/>
                  <a:gd name="T74" fmla="*/ 383 w 1492"/>
                  <a:gd name="T75" fmla="*/ 74 h 746"/>
                  <a:gd name="T76" fmla="*/ 537 w 1492"/>
                  <a:gd name="T77" fmla="*/ 39 h 746"/>
                  <a:gd name="T78" fmla="*/ 710 w 1492"/>
                  <a:gd name="T79" fmla="*/ 23 h 746"/>
                  <a:gd name="T80" fmla="*/ 852 w 1492"/>
                  <a:gd name="T81" fmla="*/ 27 h 746"/>
                  <a:gd name="T82" fmla="*/ 1018 w 1492"/>
                  <a:gd name="T83" fmla="*/ 51 h 746"/>
                  <a:gd name="T84" fmla="*/ 1164 w 1492"/>
                  <a:gd name="T85" fmla="*/ 92 h 746"/>
                  <a:gd name="T86" fmla="*/ 1286 w 1492"/>
                  <a:gd name="T87" fmla="*/ 150 h 746"/>
                  <a:gd name="T88" fmla="*/ 1377 w 1492"/>
                  <a:gd name="T89" fmla="*/ 222 h 746"/>
                  <a:gd name="T90" fmla="*/ 1431 w 1492"/>
                  <a:gd name="T91" fmla="*/ 302 h 746"/>
                  <a:gd name="T92" fmla="*/ 1445 w 1492"/>
                  <a:gd name="T93" fmla="*/ 373 h 746"/>
                  <a:gd name="T94" fmla="*/ 1423 w 1492"/>
                  <a:gd name="T95" fmla="*/ 461 h 746"/>
                  <a:gd name="T96" fmla="*/ 1361 w 1492"/>
                  <a:gd name="T97" fmla="*/ 540 h 746"/>
                  <a:gd name="T98" fmla="*/ 1264 w 1492"/>
                  <a:gd name="T99" fmla="*/ 609 h 746"/>
                  <a:gd name="T100" fmla="*/ 1137 w 1492"/>
                  <a:gd name="T101" fmla="*/ 663 h 746"/>
                  <a:gd name="T102" fmla="*/ 987 w 1492"/>
                  <a:gd name="T103" fmla="*/ 702 h 746"/>
                  <a:gd name="T104" fmla="*/ 817 w 1492"/>
                  <a:gd name="T105" fmla="*/ 72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2" h="746">
                    <a:moveTo>
                      <a:pt x="746" y="0"/>
                    </a:moveTo>
                    <a:lnTo>
                      <a:pt x="746" y="0"/>
                    </a:lnTo>
                    <a:lnTo>
                      <a:pt x="707" y="0"/>
                    </a:lnTo>
                    <a:lnTo>
                      <a:pt x="670" y="1"/>
                    </a:lnTo>
                    <a:lnTo>
                      <a:pt x="632" y="4"/>
                    </a:lnTo>
                    <a:lnTo>
                      <a:pt x="596" y="8"/>
                    </a:lnTo>
                    <a:lnTo>
                      <a:pt x="560" y="12"/>
                    </a:lnTo>
                    <a:lnTo>
                      <a:pt x="525" y="17"/>
                    </a:lnTo>
                    <a:lnTo>
                      <a:pt x="490" y="22"/>
                    </a:lnTo>
                    <a:lnTo>
                      <a:pt x="456" y="30"/>
                    </a:lnTo>
                    <a:lnTo>
                      <a:pt x="422" y="36"/>
                    </a:lnTo>
                    <a:lnTo>
                      <a:pt x="390" y="45"/>
                    </a:lnTo>
                    <a:lnTo>
                      <a:pt x="359" y="54"/>
                    </a:lnTo>
                    <a:lnTo>
                      <a:pt x="329" y="63"/>
                    </a:lnTo>
                    <a:lnTo>
                      <a:pt x="299" y="74"/>
                    </a:lnTo>
                    <a:lnTo>
                      <a:pt x="272" y="86"/>
                    </a:lnTo>
                    <a:lnTo>
                      <a:pt x="245" y="97"/>
                    </a:lnTo>
                    <a:lnTo>
                      <a:pt x="219" y="109"/>
                    </a:lnTo>
                    <a:lnTo>
                      <a:pt x="194" y="122"/>
                    </a:lnTo>
                    <a:lnTo>
                      <a:pt x="171" y="136"/>
                    </a:lnTo>
                    <a:lnTo>
                      <a:pt x="148" y="150"/>
                    </a:lnTo>
                    <a:lnTo>
                      <a:pt x="127" y="165"/>
                    </a:lnTo>
                    <a:lnTo>
                      <a:pt x="107" y="180"/>
                    </a:lnTo>
                    <a:lnTo>
                      <a:pt x="91" y="196"/>
                    </a:lnTo>
                    <a:lnTo>
                      <a:pt x="74" y="211"/>
                    </a:lnTo>
                    <a:lnTo>
                      <a:pt x="58" y="228"/>
                    </a:lnTo>
                    <a:lnTo>
                      <a:pt x="45" y="245"/>
                    </a:lnTo>
                    <a:lnTo>
                      <a:pt x="34" y="262"/>
                    </a:lnTo>
                    <a:lnTo>
                      <a:pt x="23" y="280"/>
                    </a:lnTo>
                    <a:lnTo>
                      <a:pt x="16" y="298"/>
                    </a:lnTo>
                    <a:lnTo>
                      <a:pt x="9" y="316"/>
                    </a:lnTo>
                    <a:lnTo>
                      <a:pt x="4" y="336"/>
                    </a:lnTo>
                    <a:lnTo>
                      <a:pt x="1" y="354"/>
                    </a:lnTo>
                    <a:lnTo>
                      <a:pt x="0" y="373"/>
                    </a:lnTo>
                    <a:lnTo>
                      <a:pt x="0" y="373"/>
                    </a:lnTo>
                    <a:lnTo>
                      <a:pt x="1" y="393"/>
                    </a:lnTo>
                    <a:lnTo>
                      <a:pt x="4" y="411"/>
                    </a:lnTo>
                    <a:lnTo>
                      <a:pt x="9" y="430"/>
                    </a:lnTo>
                    <a:lnTo>
                      <a:pt x="16" y="448"/>
                    </a:lnTo>
                    <a:lnTo>
                      <a:pt x="23" y="466"/>
                    </a:lnTo>
                    <a:lnTo>
                      <a:pt x="34" y="485"/>
                    </a:lnTo>
                    <a:lnTo>
                      <a:pt x="45" y="501"/>
                    </a:lnTo>
                    <a:lnTo>
                      <a:pt x="58" y="518"/>
                    </a:lnTo>
                    <a:lnTo>
                      <a:pt x="74" y="535"/>
                    </a:lnTo>
                    <a:lnTo>
                      <a:pt x="91" y="551"/>
                    </a:lnTo>
                    <a:lnTo>
                      <a:pt x="107" y="566"/>
                    </a:lnTo>
                    <a:lnTo>
                      <a:pt x="127" y="582"/>
                    </a:lnTo>
                    <a:lnTo>
                      <a:pt x="148" y="596"/>
                    </a:lnTo>
                    <a:lnTo>
                      <a:pt x="171" y="610"/>
                    </a:lnTo>
                    <a:lnTo>
                      <a:pt x="194" y="624"/>
                    </a:lnTo>
                    <a:lnTo>
                      <a:pt x="219" y="637"/>
                    </a:lnTo>
                    <a:lnTo>
                      <a:pt x="245" y="649"/>
                    </a:lnTo>
                    <a:lnTo>
                      <a:pt x="272" y="661"/>
                    </a:lnTo>
                    <a:lnTo>
                      <a:pt x="299" y="672"/>
                    </a:lnTo>
                    <a:lnTo>
                      <a:pt x="329" y="683"/>
                    </a:lnTo>
                    <a:lnTo>
                      <a:pt x="359" y="692"/>
                    </a:lnTo>
                    <a:lnTo>
                      <a:pt x="390" y="701"/>
                    </a:lnTo>
                    <a:lnTo>
                      <a:pt x="422" y="710"/>
                    </a:lnTo>
                    <a:lnTo>
                      <a:pt x="456" y="716"/>
                    </a:lnTo>
                    <a:lnTo>
                      <a:pt x="490" y="724"/>
                    </a:lnTo>
                    <a:lnTo>
                      <a:pt x="525" y="729"/>
                    </a:lnTo>
                    <a:lnTo>
                      <a:pt x="560" y="735"/>
                    </a:lnTo>
                    <a:lnTo>
                      <a:pt x="596" y="738"/>
                    </a:lnTo>
                    <a:lnTo>
                      <a:pt x="632" y="742"/>
                    </a:lnTo>
                    <a:lnTo>
                      <a:pt x="670" y="745"/>
                    </a:lnTo>
                    <a:lnTo>
                      <a:pt x="707" y="746"/>
                    </a:lnTo>
                    <a:lnTo>
                      <a:pt x="746" y="746"/>
                    </a:lnTo>
                    <a:lnTo>
                      <a:pt x="746" y="746"/>
                    </a:lnTo>
                    <a:lnTo>
                      <a:pt x="785" y="746"/>
                    </a:lnTo>
                    <a:lnTo>
                      <a:pt x="822" y="745"/>
                    </a:lnTo>
                    <a:lnTo>
                      <a:pt x="860" y="742"/>
                    </a:lnTo>
                    <a:lnTo>
                      <a:pt x="896" y="738"/>
                    </a:lnTo>
                    <a:lnTo>
                      <a:pt x="933" y="735"/>
                    </a:lnTo>
                    <a:lnTo>
                      <a:pt x="967" y="729"/>
                    </a:lnTo>
                    <a:lnTo>
                      <a:pt x="1002" y="724"/>
                    </a:lnTo>
                    <a:lnTo>
                      <a:pt x="1036" y="716"/>
                    </a:lnTo>
                    <a:lnTo>
                      <a:pt x="1070" y="710"/>
                    </a:lnTo>
                    <a:lnTo>
                      <a:pt x="1102" y="701"/>
                    </a:lnTo>
                    <a:lnTo>
                      <a:pt x="1133" y="692"/>
                    </a:lnTo>
                    <a:lnTo>
                      <a:pt x="1163" y="683"/>
                    </a:lnTo>
                    <a:lnTo>
                      <a:pt x="1193" y="672"/>
                    </a:lnTo>
                    <a:lnTo>
                      <a:pt x="1220" y="661"/>
                    </a:lnTo>
                    <a:lnTo>
                      <a:pt x="1247" y="649"/>
                    </a:lnTo>
                    <a:lnTo>
                      <a:pt x="1273" y="637"/>
                    </a:lnTo>
                    <a:lnTo>
                      <a:pt x="1298" y="624"/>
                    </a:lnTo>
                    <a:lnTo>
                      <a:pt x="1321" y="610"/>
                    </a:lnTo>
                    <a:lnTo>
                      <a:pt x="1344" y="596"/>
                    </a:lnTo>
                    <a:lnTo>
                      <a:pt x="1365" y="582"/>
                    </a:lnTo>
                    <a:lnTo>
                      <a:pt x="1385" y="566"/>
                    </a:lnTo>
                    <a:lnTo>
                      <a:pt x="1401" y="551"/>
                    </a:lnTo>
                    <a:lnTo>
                      <a:pt x="1418" y="535"/>
                    </a:lnTo>
                    <a:lnTo>
                      <a:pt x="1434" y="518"/>
                    </a:lnTo>
                    <a:lnTo>
                      <a:pt x="1447" y="501"/>
                    </a:lnTo>
                    <a:lnTo>
                      <a:pt x="1458" y="485"/>
                    </a:lnTo>
                    <a:lnTo>
                      <a:pt x="1469" y="466"/>
                    </a:lnTo>
                    <a:lnTo>
                      <a:pt x="1476" y="448"/>
                    </a:lnTo>
                    <a:lnTo>
                      <a:pt x="1483" y="430"/>
                    </a:lnTo>
                    <a:lnTo>
                      <a:pt x="1488" y="411"/>
                    </a:lnTo>
                    <a:lnTo>
                      <a:pt x="1491" y="393"/>
                    </a:lnTo>
                    <a:lnTo>
                      <a:pt x="1492" y="373"/>
                    </a:lnTo>
                    <a:lnTo>
                      <a:pt x="1492" y="373"/>
                    </a:lnTo>
                    <a:lnTo>
                      <a:pt x="1491" y="354"/>
                    </a:lnTo>
                    <a:lnTo>
                      <a:pt x="1488" y="336"/>
                    </a:lnTo>
                    <a:lnTo>
                      <a:pt x="1483" y="316"/>
                    </a:lnTo>
                    <a:lnTo>
                      <a:pt x="1476" y="298"/>
                    </a:lnTo>
                    <a:lnTo>
                      <a:pt x="1469" y="280"/>
                    </a:lnTo>
                    <a:lnTo>
                      <a:pt x="1458" y="262"/>
                    </a:lnTo>
                    <a:lnTo>
                      <a:pt x="1447" y="245"/>
                    </a:lnTo>
                    <a:lnTo>
                      <a:pt x="1434" y="228"/>
                    </a:lnTo>
                    <a:lnTo>
                      <a:pt x="1418" y="211"/>
                    </a:lnTo>
                    <a:lnTo>
                      <a:pt x="1401" y="196"/>
                    </a:lnTo>
                    <a:lnTo>
                      <a:pt x="1385" y="180"/>
                    </a:lnTo>
                    <a:lnTo>
                      <a:pt x="1365" y="165"/>
                    </a:lnTo>
                    <a:lnTo>
                      <a:pt x="1344" y="150"/>
                    </a:lnTo>
                    <a:lnTo>
                      <a:pt x="1321" y="136"/>
                    </a:lnTo>
                    <a:lnTo>
                      <a:pt x="1298" y="122"/>
                    </a:lnTo>
                    <a:lnTo>
                      <a:pt x="1273" y="109"/>
                    </a:lnTo>
                    <a:lnTo>
                      <a:pt x="1247" y="97"/>
                    </a:lnTo>
                    <a:lnTo>
                      <a:pt x="1220" y="86"/>
                    </a:lnTo>
                    <a:lnTo>
                      <a:pt x="1193" y="74"/>
                    </a:lnTo>
                    <a:lnTo>
                      <a:pt x="1163" y="63"/>
                    </a:lnTo>
                    <a:lnTo>
                      <a:pt x="1133" y="54"/>
                    </a:lnTo>
                    <a:lnTo>
                      <a:pt x="1102" y="45"/>
                    </a:lnTo>
                    <a:lnTo>
                      <a:pt x="1070" y="36"/>
                    </a:lnTo>
                    <a:lnTo>
                      <a:pt x="1036" y="30"/>
                    </a:lnTo>
                    <a:lnTo>
                      <a:pt x="1002" y="22"/>
                    </a:lnTo>
                    <a:lnTo>
                      <a:pt x="967" y="17"/>
                    </a:lnTo>
                    <a:lnTo>
                      <a:pt x="933" y="12"/>
                    </a:lnTo>
                    <a:lnTo>
                      <a:pt x="896" y="8"/>
                    </a:lnTo>
                    <a:lnTo>
                      <a:pt x="860" y="4"/>
                    </a:lnTo>
                    <a:lnTo>
                      <a:pt x="822" y="1"/>
                    </a:lnTo>
                    <a:lnTo>
                      <a:pt x="785" y="0"/>
                    </a:lnTo>
                    <a:lnTo>
                      <a:pt x="746" y="0"/>
                    </a:lnTo>
                    <a:lnTo>
                      <a:pt x="746" y="0"/>
                    </a:lnTo>
                    <a:close/>
                    <a:moveTo>
                      <a:pt x="746" y="723"/>
                    </a:moveTo>
                    <a:lnTo>
                      <a:pt x="746" y="723"/>
                    </a:lnTo>
                    <a:lnTo>
                      <a:pt x="710" y="723"/>
                    </a:lnTo>
                    <a:lnTo>
                      <a:pt x="675" y="722"/>
                    </a:lnTo>
                    <a:lnTo>
                      <a:pt x="640" y="719"/>
                    </a:lnTo>
                    <a:lnTo>
                      <a:pt x="605" y="716"/>
                    </a:lnTo>
                    <a:lnTo>
                      <a:pt x="571" y="713"/>
                    </a:lnTo>
                    <a:lnTo>
                      <a:pt x="537" y="707"/>
                    </a:lnTo>
                    <a:lnTo>
                      <a:pt x="505" y="702"/>
                    </a:lnTo>
                    <a:lnTo>
                      <a:pt x="474" y="696"/>
                    </a:lnTo>
                    <a:lnTo>
                      <a:pt x="443" y="689"/>
                    </a:lnTo>
                    <a:lnTo>
                      <a:pt x="413" y="681"/>
                    </a:lnTo>
                    <a:lnTo>
                      <a:pt x="383" y="672"/>
                    </a:lnTo>
                    <a:lnTo>
                      <a:pt x="355" y="663"/>
                    </a:lnTo>
                    <a:lnTo>
                      <a:pt x="328" y="654"/>
                    </a:lnTo>
                    <a:lnTo>
                      <a:pt x="302" y="644"/>
                    </a:lnTo>
                    <a:lnTo>
                      <a:pt x="276" y="632"/>
                    </a:lnTo>
                    <a:lnTo>
                      <a:pt x="251" y="621"/>
                    </a:lnTo>
                    <a:lnTo>
                      <a:pt x="228" y="609"/>
                    </a:lnTo>
                    <a:lnTo>
                      <a:pt x="206" y="596"/>
                    </a:lnTo>
                    <a:lnTo>
                      <a:pt x="185" y="583"/>
                    </a:lnTo>
                    <a:lnTo>
                      <a:pt x="166" y="569"/>
                    </a:lnTo>
                    <a:lnTo>
                      <a:pt x="148" y="554"/>
                    </a:lnTo>
                    <a:lnTo>
                      <a:pt x="131" y="540"/>
                    </a:lnTo>
                    <a:lnTo>
                      <a:pt x="115" y="525"/>
                    </a:lnTo>
                    <a:lnTo>
                      <a:pt x="101" y="509"/>
                    </a:lnTo>
                    <a:lnTo>
                      <a:pt x="89" y="494"/>
                    </a:lnTo>
                    <a:lnTo>
                      <a:pt x="78" y="477"/>
                    </a:lnTo>
                    <a:lnTo>
                      <a:pt x="69" y="461"/>
                    </a:lnTo>
                    <a:lnTo>
                      <a:pt x="61" y="444"/>
                    </a:lnTo>
                    <a:lnTo>
                      <a:pt x="54" y="426"/>
                    </a:lnTo>
                    <a:lnTo>
                      <a:pt x="51" y="409"/>
                    </a:lnTo>
                    <a:lnTo>
                      <a:pt x="48" y="391"/>
                    </a:lnTo>
                    <a:lnTo>
                      <a:pt x="47" y="373"/>
                    </a:lnTo>
                    <a:lnTo>
                      <a:pt x="47" y="373"/>
                    </a:lnTo>
                    <a:lnTo>
                      <a:pt x="48" y="355"/>
                    </a:lnTo>
                    <a:lnTo>
                      <a:pt x="51" y="337"/>
                    </a:lnTo>
                    <a:lnTo>
                      <a:pt x="54" y="320"/>
                    </a:lnTo>
                    <a:lnTo>
                      <a:pt x="61" y="302"/>
                    </a:lnTo>
                    <a:lnTo>
                      <a:pt x="69" y="285"/>
                    </a:lnTo>
                    <a:lnTo>
                      <a:pt x="78" y="269"/>
                    </a:lnTo>
                    <a:lnTo>
                      <a:pt x="89" y="253"/>
                    </a:lnTo>
                    <a:lnTo>
                      <a:pt x="101" y="237"/>
                    </a:lnTo>
                    <a:lnTo>
                      <a:pt x="115" y="222"/>
                    </a:lnTo>
                    <a:lnTo>
                      <a:pt x="131" y="206"/>
                    </a:lnTo>
                    <a:lnTo>
                      <a:pt x="148" y="192"/>
                    </a:lnTo>
                    <a:lnTo>
                      <a:pt x="166" y="177"/>
                    </a:lnTo>
                    <a:lnTo>
                      <a:pt x="185" y="163"/>
                    </a:lnTo>
                    <a:lnTo>
                      <a:pt x="206" y="150"/>
                    </a:lnTo>
                    <a:lnTo>
                      <a:pt x="228" y="137"/>
                    </a:lnTo>
                    <a:lnTo>
                      <a:pt x="251" y="126"/>
                    </a:lnTo>
                    <a:lnTo>
                      <a:pt x="276" y="114"/>
                    </a:lnTo>
                    <a:lnTo>
                      <a:pt x="302" y="102"/>
                    </a:lnTo>
                    <a:lnTo>
                      <a:pt x="328" y="92"/>
                    </a:lnTo>
                    <a:lnTo>
                      <a:pt x="355" y="83"/>
                    </a:lnTo>
                    <a:lnTo>
                      <a:pt x="383" y="74"/>
                    </a:lnTo>
                    <a:lnTo>
                      <a:pt x="413" y="65"/>
                    </a:lnTo>
                    <a:lnTo>
                      <a:pt x="443" y="57"/>
                    </a:lnTo>
                    <a:lnTo>
                      <a:pt x="474" y="51"/>
                    </a:lnTo>
                    <a:lnTo>
                      <a:pt x="505" y="44"/>
                    </a:lnTo>
                    <a:lnTo>
                      <a:pt x="537" y="39"/>
                    </a:lnTo>
                    <a:lnTo>
                      <a:pt x="571" y="34"/>
                    </a:lnTo>
                    <a:lnTo>
                      <a:pt x="605" y="30"/>
                    </a:lnTo>
                    <a:lnTo>
                      <a:pt x="640" y="27"/>
                    </a:lnTo>
                    <a:lnTo>
                      <a:pt x="675" y="25"/>
                    </a:lnTo>
                    <a:lnTo>
                      <a:pt x="710" y="23"/>
                    </a:lnTo>
                    <a:lnTo>
                      <a:pt x="746" y="23"/>
                    </a:lnTo>
                    <a:lnTo>
                      <a:pt x="746" y="23"/>
                    </a:lnTo>
                    <a:lnTo>
                      <a:pt x="782" y="23"/>
                    </a:lnTo>
                    <a:lnTo>
                      <a:pt x="817" y="25"/>
                    </a:lnTo>
                    <a:lnTo>
                      <a:pt x="852" y="27"/>
                    </a:lnTo>
                    <a:lnTo>
                      <a:pt x="887" y="30"/>
                    </a:lnTo>
                    <a:lnTo>
                      <a:pt x="921" y="34"/>
                    </a:lnTo>
                    <a:lnTo>
                      <a:pt x="955" y="39"/>
                    </a:lnTo>
                    <a:lnTo>
                      <a:pt x="987" y="44"/>
                    </a:lnTo>
                    <a:lnTo>
                      <a:pt x="1018" y="51"/>
                    </a:lnTo>
                    <a:lnTo>
                      <a:pt x="1049" y="57"/>
                    </a:lnTo>
                    <a:lnTo>
                      <a:pt x="1079" y="65"/>
                    </a:lnTo>
                    <a:lnTo>
                      <a:pt x="1109" y="74"/>
                    </a:lnTo>
                    <a:lnTo>
                      <a:pt x="1137" y="83"/>
                    </a:lnTo>
                    <a:lnTo>
                      <a:pt x="1164" y="92"/>
                    </a:lnTo>
                    <a:lnTo>
                      <a:pt x="1190" y="102"/>
                    </a:lnTo>
                    <a:lnTo>
                      <a:pt x="1216" y="114"/>
                    </a:lnTo>
                    <a:lnTo>
                      <a:pt x="1241" y="126"/>
                    </a:lnTo>
                    <a:lnTo>
                      <a:pt x="1264" y="137"/>
                    </a:lnTo>
                    <a:lnTo>
                      <a:pt x="1286" y="150"/>
                    </a:lnTo>
                    <a:lnTo>
                      <a:pt x="1307" y="163"/>
                    </a:lnTo>
                    <a:lnTo>
                      <a:pt x="1326" y="177"/>
                    </a:lnTo>
                    <a:lnTo>
                      <a:pt x="1344" y="192"/>
                    </a:lnTo>
                    <a:lnTo>
                      <a:pt x="1361" y="206"/>
                    </a:lnTo>
                    <a:lnTo>
                      <a:pt x="1377" y="222"/>
                    </a:lnTo>
                    <a:lnTo>
                      <a:pt x="1391" y="237"/>
                    </a:lnTo>
                    <a:lnTo>
                      <a:pt x="1403" y="253"/>
                    </a:lnTo>
                    <a:lnTo>
                      <a:pt x="1414" y="269"/>
                    </a:lnTo>
                    <a:lnTo>
                      <a:pt x="1423" y="285"/>
                    </a:lnTo>
                    <a:lnTo>
                      <a:pt x="1431" y="302"/>
                    </a:lnTo>
                    <a:lnTo>
                      <a:pt x="1438" y="320"/>
                    </a:lnTo>
                    <a:lnTo>
                      <a:pt x="1441" y="337"/>
                    </a:lnTo>
                    <a:lnTo>
                      <a:pt x="1444" y="355"/>
                    </a:lnTo>
                    <a:lnTo>
                      <a:pt x="1445" y="373"/>
                    </a:lnTo>
                    <a:lnTo>
                      <a:pt x="1445" y="373"/>
                    </a:lnTo>
                    <a:lnTo>
                      <a:pt x="1444" y="391"/>
                    </a:lnTo>
                    <a:lnTo>
                      <a:pt x="1441" y="409"/>
                    </a:lnTo>
                    <a:lnTo>
                      <a:pt x="1438" y="426"/>
                    </a:lnTo>
                    <a:lnTo>
                      <a:pt x="1431" y="444"/>
                    </a:lnTo>
                    <a:lnTo>
                      <a:pt x="1423" y="461"/>
                    </a:lnTo>
                    <a:lnTo>
                      <a:pt x="1414" y="477"/>
                    </a:lnTo>
                    <a:lnTo>
                      <a:pt x="1403" y="494"/>
                    </a:lnTo>
                    <a:lnTo>
                      <a:pt x="1391" y="509"/>
                    </a:lnTo>
                    <a:lnTo>
                      <a:pt x="1377" y="525"/>
                    </a:lnTo>
                    <a:lnTo>
                      <a:pt x="1361" y="540"/>
                    </a:lnTo>
                    <a:lnTo>
                      <a:pt x="1344" y="554"/>
                    </a:lnTo>
                    <a:lnTo>
                      <a:pt x="1326" y="569"/>
                    </a:lnTo>
                    <a:lnTo>
                      <a:pt x="1307" y="583"/>
                    </a:lnTo>
                    <a:lnTo>
                      <a:pt x="1286" y="596"/>
                    </a:lnTo>
                    <a:lnTo>
                      <a:pt x="1264" y="609"/>
                    </a:lnTo>
                    <a:lnTo>
                      <a:pt x="1241" y="621"/>
                    </a:lnTo>
                    <a:lnTo>
                      <a:pt x="1216" y="632"/>
                    </a:lnTo>
                    <a:lnTo>
                      <a:pt x="1190" y="644"/>
                    </a:lnTo>
                    <a:lnTo>
                      <a:pt x="1164" y="654"/>
                    </a:lnTo>
                    <a:lnTo>
                      <a:pt x="1137" y="663"/>
                    </a:lnTo>
                    <a:lnTo>
                      <a:pt x="1109" y="672"/>
                    </a:lnTo>
                    <a:lnTo>
                      <a:pt x="1079" y="681"/>
                    </a:lnTo>
                    <a:lnTo>
                      <a:pt x="1049" y="689"/>
                    </a:lnTo>
                    <a:lnTo>
                      <a:pt x="1018" y="696"/>
                    </a:lnTo>
                    <a:lnTo>
                      <a:pt x="987" y="702"/>
                    </a:lnTo>
                    <a:lnTo>
                      <a:pt x="955" y="707"/>
                    </a:lnTo>
                    <a:lnTo>
                      <a:pt x="921" y="713"/>
                    </a:lnTo>
                    <a:lnTo>
                      <a:pt x="887" y="716"/>
                    </a:lnTo>
                    <a:lnTo>
                      <a:pt x="852" y="719"/>
                    </a:lnTo>
                    <a:lnTo>
                      <a:pt x="817" y="722"/>
                    </a:lnTo>
                    <a:lnTo>
                      <a:pt x="782" y="723"/>
                    </a:lnTo>
                    <a:lnTo>
                      <a:pt x="746" y="723"/>
                    </a:lnTo>
                    <a:lnTo>
                      <a:pt x="746" y="723"/>
                    </a:lnTo>
                    <a:close/>
                  </a:path>
                </a:pathLst>
              </a:custGeom>
              <a:solidFill>
                <a:srgbClr val="EAEAEA"/>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0" name="Freeform 22"/>
              <p:cNvSpPr/>
              <p:nvPr/>
            </p:nvSpPr>
            <p:spPr bwMode="auto">
              <a:xfrm>
                <a:off x="3000" y="1409"/>
                <a:ext cx="1398" cy="700"/>
              </a:xfrm>
              <a:custGeom>
                <a:avLst/>
                <a:gdLst>
                  <a:gd name="T0" fmla="*/ 1397 w 1398"/>
                  <a:gd name="T1" fmla="*/ 368 h 700"/>
                  <a:gd name="T2" fmla="*/ 1384 w 1398"/>
                  <a:gd name="T3" fmla="*/ 421 h 700"/>
                  <a:gd name="T4" fmla="*/ 1356 w 1398"/>
                  <a:gd name="T5" fmla="*/ 471 h 700"/>
                  <a:gd name="T6" fmla="*/ 1314 w 1398"/>
                  <a:gd name="T7" fmla="*/ 517 h 700"/>
                  <a:gd name="T8" fmla="*/ 1260 w 1398"/>
                  <a:gd name="T9" fmla="*/ 560 h 700"/>
                  <a:gd name="T10" fmla="*/ 1194 w 1398"/>
                  <a:gd name="T11" fmla="*/ 598 h 700"/>
                  <a:gd name="T12" fmla="*/ 1117 w 1398"/>
                  <a:gd name="T13" fmla="*/ 631 h 700"/>
                  <a:gd name="T14" fmla="*/ 1032 w 1398"/>
                  <a:gd name="T15" fmla="*/ 658 h 700"/>
                  <a:gd name="T16" fmla="*/ 940 w 1398"/>
                  <a:gd name="T17" fmla="*/ 679 h 700"/>
                  <a:gd name="T18" fmla="*/ 840 w 1398"/>
                  <a:gd name="T19" fmla="*/ 693 h 700"/>
                  <a:gd name="T20" fmla="*/ 735 w 1398"/>
                  <a:gd name="T21" fmla="*/ 700 h 700"/>
                  <a:gd name="T22" fmla="*/ 663 w 1398"/>
                  <a:gd name="T23" fmla="*/ 700 h 700"/>
                  <a:gd name="T24" fmla="*/ 558 w 1398"/>
                  <a:gd name="T25" fmla="*/ 693 h 700"/>
                  <a:gd name="T26" fmla="*/ 458 w 1398"/>
                  <a:gd name="T27" fmla="*/ 679 h 700"/>
                  <a:gd name="T28" fmla="*/ 366 w 1398"/>
                  <a:gd name="T29" fmla="*/ 658 h 700"/>
                  <a:gd name="T30" fmla="*/ 281 w 1398"/>
                  <a:gd name="T31" fmla="*/ 631 h 700"/>
                  <a:gd name="T32" fmla="*/ 204 w 1398"/>
                  <a:gd name="T33" fmla="*/ 598 h 700"/>
                  <a:gd name="T34" fmla="*/ 138 w 1398"/>
                  <a:gd name="T35" fmla="*/ 560 h 700"/>
                  <a:gd name="T36" fmla="*/ 84 w 1398"/>
                  <a:gd name="T37" fmla="*/ 517 h 700"/>
                  <a:gd name="T38" fmla="*/ 42 w 1398"/>
                  <a:gd name="T39" fmla="*/ 471 h 700"/>
                  <a:gd name="T40" fmla="*/ 14 w 1398"/>
                  <a:gd name="T41" fmla="*/ 421 h 700"/>
                  <a:gd name="T42" fmla="*/ 1 w 1398"/>
                  <a:gd name="T43" fmla="*/ 368 h 700"/>
                  <a:gd name="T44" fmla="*/ 1 w 1398"/>
                  <a:gd name="T45" fmla="*/ 332 h 700"/>
                  <a:gd name="T46" fmla="*/ 14 w 1398"/>
                  <a:gd name="T47" fmla="*/ 279 h 700"/>
                  <a:gd name="T48" fmla="*/ 42 w 1398"/>
                  <a:gd name="T49" fmla="*/ 230 h 700"/>
                  <a:gd name="T50" fmla="*/ 84 w 1398"/>
                  <a:gd name="T51" fmla="*/ 183 h 700"/>
                  <a:gd name="T52" fmla="*/ 138 w 1398"/>
                  <a:gd name="T53" fmla="*/ 140 h 700"/>
                  <a:gd name="T54" fmla="*/ 204 w 1398"/>
                  <a:gd name="T55" fmla="*/ 103 h 700"/>
                  <a:gd name="T56" fmla="*/ 281 w 1398"/>
                  <a:gd name="T57" fmla="*/ 69 h 700"/>
                  <a:gd name="T58" fmla="*/ 366 w 1398"/>
                  <a:gd name="T59" fmla="*/ 42 h 700"/>
                  <a:gd name="T60" fmla="*/ 458 w 1398"/>
                  <a:gd name="T61" fmla="*/ 21 h 700"/>
                  <a:gd name="T62" fmla="*/ 558 w 1398"/>
                  <a:gd name="T63" fmla="*/ 7 h 700"/>
                  <a:gd name="T64" fmla="*/ 663 w 1398"/>
                  <a:gd name="T65" fmla="*/ 0 h 700"/>
                  <a:gd name="T66" fmla="*/ 735 w 1398"/>
                  <a:gd name="T67" fmla="*/ 0 h 700"/>
                  <a:gd name="T68" fmla="*/ 840 w 1398"/>
                  <a:gd name="T69" fmla="*/ 7 h 700"/>
                  <a:gd name="T70" fmla="*/ 940 w 1398"/>
                  <a:gd name="T71" fmla="*/ 21 h 700"/>
                  <a:gd name="T72" fmla="*/ 1032 w 1398"/>
                  <a:gd name="T73" fmla="*/ 42 h 700"/>
                  <a:gd name="T74" fmla="*/ 1117 w 1398"/>
                  <a:gd name="T75" fmla="*/ 69 h 700"/>
                  <a:gd name="T76" fmla="*/ 1194 w 1398"/>
                  <a:gd name="T77" fmla="*/ 103 h 700"/>
                  <a:gd name="T78" fmla="*/ 1260 w 1398"/>
                  <a:gd name="T79" fmla="*/ 140 h 700"/>
                  <a:gd name="T80" fmla="*/ 1314 w 1398"/>
                  <a:gd name="T81" fmla="*/ 183 h 700"/>
                  <a:gd name="T82" fmla="*/ 1356 w 1398"/>
                  <a:gd name="T83" fmla="*/ 230 h 700"/>
                  <a:gd name="T84" fmla="*/ 1384 w 1398"/>
                  <a:gd name="T85" fmla="*/ 279 h 700"/>
                  <a:gd name="T86" fmla="*/ 1397 w 1398"/>
                  <a:gd name="T87" fmla="*/ 332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98" h="700">
                    <a:moveTo>
                      <a:pt x="1398" y="350"/>
                    </a:moveTo>
                    <a:lnTo>
                      <a:pt x="1398" y="350"/>
                    </a:lnTo>
                    <a:lnTo>
                      <a:pt x="1397" y="368"/>
                    </a:lnTo>
                    <a:lnTo>
                      <a:pt x="1394" y="386"/>
                    </a:lnTo>
                    <a:lnTo>
                      <a:pt x="1391" y="403"/>
                    </a:lnTo>
                    <a:lnTo>
                      <a:pt x="1384" y="421"/>
                    </a:lnTo>
                    <a:lnTo>
                      <a:pt x="1376" y="438"/>
                    </a:lnTo>
                    <a:lnTo>
                      <a:pt x="1367" y="454"/>
                    </a:lnTo>
                    <a:lnTo>
                      <a:pt x="1356" y="471"/>
                    </a:lnTo>
                    <a:lnTo>
                      <a:pt x="1344" y="486"/>
                    </a:lnTo>
                    <a:lnTo>
                      <a:pt x="1330" y="502"/>
                    </a:lnTo>
                    <a:lnTo>
                      <a:pt x="1314" y="517"/>
                    </a:lnTo>
                    <a:lnTo>
                      <a:pt x="1297" y="531"/>
                    </a:lnTo>
                    <a:lnTo>
                      <a:pt x="1279" y="546"/>
                    </a:lnTo>
                    <a:lnTo>
                      <a:pt x="1260" y="560"/>
                    </a:lnTo>
                    <a:lnTo>
                      <a:pt x="1239" y="573"/>
                    </a:lnTo>
                    <a:lnTo>
                      <a:pt x="1217" y="586"/>
                    </a:lnTo>
                    <a:lnTo>
                      <a:pt x="1194" y="598"/>
                    </a:lnTo>
                    <a:lnTo>
                      <a:pt x="1169" y="609"/>
                    </a:lnTo>
                    <a:lnTo>
                      <a:pt x="1143" y="621"/>
                    </a:lnTo>
                    <a:lnTo>
                      <a:pt x="1117" y="631"/>
                    </a:lnTo>
                    <a:lnTo>
                      <a:pt x="1090" y="640"/>
                    </a:lnTo>
                    <a:lnTo>
                      <a:pt x="1062" y="649"/>
                    </a:lnTo>
                    <a:lnTo>
                      <a:pt x="1032" y="658"/>
                    </a:lnTo>
                    <a:lnTo>
                      <a:pt x="1002" y="666"/>
                    </a:lnTo>
                    <a:lnTo>
                      <a:pt x="971" y="673"/>
                    </a:lnTo>
                    <a:lnTo>
                      <a:pt x="940" y="679"/>
                    </a:lnTo>
                    <a:lnTo>
                      <a:pt x="908" y="684"/>
                    </a:lnTo>
                    <a:lnTo>
                      <a:pt x="874" y="690"/>
                    </a:lnTo>
                    <a:lnTo>
                      <a:pt x="840" y="693"/>
                    </a:lnTo>
                    <a:lnTo>
                      <a:pt x="805" y="696"/>
                    </a:lnTo>
                    <a:lnTo>
                      <a:pt x="770" y="699"/>
                    </a:lnTo>
                    <a:lnTo>
                      <a:pt x="735" y="700"/>
                    </a:lnTo>
                    <a:lnTo>
                      <a:pt x="699" y="700"/>
                    </a:lnTo>
                    <a:lnTo>
                      <a:pt x="699" y="700"/>
                    </a:lnTo>
                    <a:lnTo>
                      <a:pt x="663" y="700"/>
                    </a:lnTo>
                    <a:lnTo>
                      <a:pt x="628" y="699"/>
                    </a:lnTo>
                    <a:lnTo>
                      <a:pt x="593" y="696"/>
                    </a:lnTo>
                    <a:lnTo>
                      <a:pt x="558" y="693"/>
                    </a:lnTo>
                    <a:lnTo>
                      <a:pt x="524" y="690"/>
                    </a:lnTo>
                    <a:lnTo>
                      <a:pt x="490" y="684"/>
                    </a:lnTo>
                    <a:lnTo>
                      <a:pt x="458" y="679"/>
                    </a:lnTo>
                    <a:lnTo>
                      <a:pt x="427" y="673"/>
                    </a:lnTo>
                    <a:lnTo>
                      <a:pt x="396" y="666"/>
                    </a:lnTo>
                    <a:lnTo>
                      <a:pt x="366" y="658"/>
                    </a:lnTo>
                    <a:lnTo>
                      <a:pt x="336" y="649"/>
                    </a:lnTo>
                    <a:lnTo>
                      <a:pt x="308" y="640"/>
                    </a:lnTo>
                    <a:lnTo>
                      <a:pt x="281" y="631"/>
                    </a:lnTo>
                    <a:lnTo>
                      <a:pt x="255" y="621"/>
                    </a:lnTo>
                    <a:lnTo>
                      <a:pt x="229" y="609"/>
                    </a:lnTo>
                    <a:lnTo>
                      <a:pt x="204" y="598"/>
                    </a:lnTo>
                    <a:lnTo>
                      <a:pt x="181" y="586"/>
                    </a:lnTo>
                    <a:lnTo>
                      <a:pt x="159" y="573"/>
                    </a:lnTo>
                    <a:lnTo>
                      <a:pt x="138" y="560"/>
                    </a:lnTo>
                    <a:lnTo>
                      <a:pt x="119" y="546"/>
                    </a:lnTo>
                    <a:lnTo>
                      <a:pt x="101" y="531"/>
                    </a:lnTo>
                    <a:lnTo>
                      <a:pt x="84" y="517"/>
                    </a:lnTo>
                    <a:lnTo>
                      <a:pt x="68" y="502"/>
                    </a:lnTo>
                    <a:lnTo>
                      <a:pt x="54" y="486"/>
                    </a:lnTo>
                    <a:lnTo>
                      <a:pt x="42" y="471"/>
                    </a:lnTo>
                    <a:lnTo>
                      <a:pt x="31" y="454"/>
                    </a:lnTo>
                    <a:lnTo>
                      <a:pt x="22" y="438"/>
                    </a:lnTo>
                    <a:lnTo>
                      <a:pt x="14" y="421"/>
                    </a:lnTo>
                    <a:lnTo>
                      <a:pt x="7" y="403"/>
                    </a:lnTo>
                    <a:lnTo>
                      <a:pt x="4" y="386"/>
                    </a:lnTo>
                    <a:lnTo>
                      <a:pt x="1" y="368"/>
                    </a:lnTo>
                    <a:lnTo>
                      <a:pt x="0" y="350"/>
                    </a:lnTo>
                    <a:lnTo>
                      <a:pt x="0" y="350"/>
                    </a:lnTo>
                    <a:lnTo>
                      <a:pt x="1" y="332"/>
                    </a:lnTo>
                    <a:lnTo>
                      <a:pt x="4" y="314"/>
                    </a:lnTo>
                    <a:lnTo>
                      <a:pt x="7" y="297"/>
                    </a:lnTo>
                    <a:lnTo>
                      <a:pt x="14" y="279"/>
                    </a:lnTo>
                    <a:lnTo>
                      <a:pt x="22" y="262"/>
                    </a:lnTo>
                    <a:lnTo>
                      <a:pt x="31" y="246"/>
                    </a:lnTo>
                    <a:lnTo>
                      <a:pt x="42" y="230"/>
                    </a:lnTo>
                    <a:lnTo>
                      <a:pt x="54" y="214"/>
                    </a:lnTo>
                    <a:lnTo>
                      <a:pt x="68" y="199"/>
                    </a:lnTo>
                    <a:lnTo>
                      <a:pt x="84" y="183"/>
                    </a:lnTo>
                    <a:lnTo>
                      <a:pt x="101" y="169"/>
                    </a:lnTo>
                    <a:lnTo>
                      <a:pt x="119" y="154"/>
                    </a:lnTo>
                    <a:lnTo>
                      <a:pt x="138" y="140"/>
                    </a:lnTo>
                    <a:lnTo>
                      <a:pt x="159" y="127"/>
                    </a:lnTo>
                    <a:lnTo>
                      <a:pt x="181" y="114"/>
                    </a:lnTo>
                    <a:lnTo>
                      <a:pt x="204" y="103"/>
                    </a:lnTo>
                    <a:lnTo>
                      <a:pt x="229" y="91"/>
                    </a:lnTo>
                    <a:lnTo>
                      <a:pt x="255" y="79"/>
                    </a:lnTo>
                    <a:lnTo>
                      <a:pt x="281" y="69"/>
                    </a:lnTo>
                    <a:lnTo>
                      <a:pt x="308" y="60"/>
                    </a:lnTo>
                    <a:lnTo>
                      <a:pt x="336" y="51"/>
                    </a:lnTo>
                    <a:lnTo>
                      <a:pt x="366" y="42"/>
                    </a:lnTo>
                    <a:lnTo>
                      <a:pt x="396" y="34"/>
                    </a:lnTo>
                    <a:lnTo>
                      <a:pt x="427" y="28"/>
                    </a:lnTo>
                    <a:lnTo>
                      <a:pt x="458" y="21"/>
                    </a:lnTo>
                    <a:lnTo>
                      <a:pt x="490" y="16"/>
                    </a:lnTo>
                    <a:lnTo>
                      <a:pt x="524" y="11"/>
                    </a:lnTo>
                    <a:lnTo>
                      <a:pt x="558" y="7"/>
                    </a:lnTo>
                    <a:lnTo>
                      <a:pt x="593" y="4"/>
                    </a:lnTo>
                    <a:lnTo>
                      <a:pt x="628" y="2"/>
                    </a:lnTo>
                    <a:lnTo>
                      <a:pt x="663" y="0"/>
                    </a:lnTo>
                    <a:lnTo>
                      <a:pt x="699" y="0"/>
                    </a:lnTo>
                    <a:lnTo>
                      <a:pt x="699" y="0"/>
                    </a:lnTo>
                    <a:lnTo>
                      <a:pt x="735" y="0"/>
                    </a:lnTo>
                    <a:lnTo>
                      <a:pt x="770" y="2"/>
                    </a:lnTo>
                    <a:lnTo>
                      <a:pt x="805" y="4"/>
                    </a:lnTo>
                    <a:lnTo>
                      <a:pt x="840" y="7"/>
                    </a:lnTo>
                    <a:lnTo>
                      <a:pt x="874" y="11"/>
                    </a:lnTo>
                    <a:lnTo>
                      <a:pt x="908" y="16"/>
                    </a:lnTo>
                    <a:lnTo>
                      <a:pt x="940" y="21"/>
                    </a:lnTo>
                    <a:lnTo>
                      <a:pt x="971" y="28"/>
                    </a:lnTo>
                    <a:lnTo>
                      <a:pt x="1002" y="34"/>
                    </a:lnTo>
                    <a:lnTo>
                      <a:pt x="1032" y="42"/>
                    </a:lnTo>
                    <a:lnTo>
                      <a:pt x="1062" y="51"/>
                    </a:lnTo>
                    <a:lnTo>
                      <a:pt x="1090" y="60"/>
                    </a:lnTo>
                    <a:lnTo>
                      <a:pt x="1117" y="69"/>
                    </a:lnTo>
                    <a:lnTo>
                      <a:pt x="1143" y="79"/>
                    </a:lnTo>
                    <a:lnTo>
                      <a:pt x="1169" y="91"/>
                    </a:lnTo>
                    <a:lnTo>
                      <a:pt x="1194" y="103"/>
                    </a:lnTo>
                    <a:lnTo>
                      <a:pt x="1217" y="114"/>
                    </a:lnTo>
                    <a:lnTo>
                      <a:pt x="1239" y="127"/>
                    </a:lnTo>
                    <a:lnTo>
                      <a:pt x="1260" y="140"/>
                    </a:lnTo>
                    <a:lnTo>
                      <a:pt x="1279" y="154"/>
                    </a:lnTo>
                    <a:lnTo>
                      <a:pt x="1297" y="169"/>
                    </a:lnTo>
                    <a:lnTo>
                      <a:pt x="1314" y="183"/>
                    </a:lnTo>
                    <a:lnTo>
                      <a:pt x="1330" y="199"/>
                    </a:lnTo>
                    <a:lnTo>
                      <a:pt x="1344" y="214"/>
                    </a:lnTo>
                    <a:lnTo>
                      <a:pt x="1356" y="230"/>
                    </a:lnTo>
                    <a:lnTo>
                      <a:pt x="1367" y="246"/>
                    </a:lnTo>
                    <a:lnTo>
                      <a:pt x="1376" y="262"/>
                    </a:lnTo>
                    <a:lnTo>
                      <a:pt x="1384" y="279"/>
                    </a:lnTo>
                    <a:lnTo>
                      <a:pt x="1391" y="297"/>
                    </a:lnTo>
                    <a:lnTo>
                      <a:pt x="1394" y="314"/>
                    </a:lnTo>
                    <a:lnTo>
                      <a:pt x="1397" y="332"/>
                    </a:lnTo>
                    <a:lnTo>
                      <a:pt x="1398" y="350"/>
                    </a:lnTo>
                    <a:lnTo>
                      <a:pt x="1398" y="35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pSp>
          <p:nvGrpSpPr>
            <p:cNvPr id="8" name="Group 23"/>
            <p:cNvGrpSpPr/>
            <p:nvPr/>
          </p:nvGrpSpPr>
          <p:grpSpPr bwMode="auto">
            <a:xfrm>
              <a:off x="2232026" y="1085056"/>
              <a:ext cx="1042988" cy="1042987"/>
              <a:chOff x="2335" y="1139"/>
              <a:chExt cx="1089" cy="1089"/>
            </a:xfrm>
          </p:grpSpPr>
          <p:sp>
            <p:nvSpPr>
              <p:cNvPr id="84" name="Oval 24"/>
              <p:cNvSpPr>
                <a:spLocks noChangeArrowheads="1"/>
              </p:cNvSpPr>
              <p:nvPr/>
            </p:nvSpPr>
            <p:spPr bwMode="auto">
              <a:xfrm>
                <a:off x="2335" y="1139"/>
                <a:ext cx="1089" cy="1089"/>
              </a:xfrm>
              <a:prstGeom prst="ellipse">
                <a:avLst/>
              </a:prstGeom>
              <a:solidFill>
                <a:srgbClr val="03A550"/>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85" name="Group 25"/>
              <p:cNvGrpSpPr/>
              <p:nvPr/>
            </p:nvGrpSpPr>
            <p:grpSpPr bwMode="auto">
              <a:xfrm>
                <a:off x="2426" y="1169"/>
                <a:ext cx="908" cy="296"/>
                <a:chOff x="1431" y="1843"/>
                <a:chExt cx="907" cy="295"/>
              </a:xfrm>
            </p:grpSpPr>
            <p:sp>
              <p:nvSpPr>
                <p:cNvPr id="86" name="Freeform 26"/>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7" name="Oval 27"/>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9" name="Group 28"/>
            <p:cNvGrpSpPr/>
            <p:nvPr/>
          </p:nvGrpSpPr>
          <p:grpSpPr bwMode="auto">
            <a:xfrm>
              <a:off x="1150938" y="1445419"/>
              <a:ext cx="755650" cy="755650"/>
              <a:chOff x="2335" y="1139"/>
              <a:chExt cx="1089" cy="1089"/>
            </a:xfrm>
          </p:grpSpPr>
          <p:sp>
            <p:nvSpPr>
              <p:cNvPr id="80" name="Oval 29"/>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81" name="Group 30"/>
              <p:cNvGrpSpPr/>
              <p:nvPr/>
            </p:nvGrpSpPr>
            <p:grpSpPr bwMode="auto">
              <a:xfrm>
                <a:off x="2426" y="1169"/>
                <a:ext cx="908" cy="296"/>
                <a:chOff x="1431" y="1843"/>
                <a:chExt cx="907" cy="295"/>
              </a:xfrm>
            </p:grpSpPr>
            <p:sp>
              <p:nvSpPr>
                <p:cNvPr id="82" name="Freeform 31"/>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3" name="Oval 32"/>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0" name="Group 33"/>
            <p:cNvGrpSpPr/>
            <p:nvPr/>
          </p:nvGrpSpPr>
          <p:grpSpPr bwMode="auto">
            <a:xfrm>
              <a:off x="1800226" y="1302544"/>
              <a:ext cx="755650" cy="755650"/>
              <a:chOff x="2335" y="1139"/>
              <a:chExt cx="1089" cy="1089"/>
            </a:xfrm>
          </p:grpSpPr>
          <p:sp>
            <p:nvSpPr>
              <p:cNvPr id="76" name="Oval 34"/>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77" name="Group 35"/>
              <p:cNvGrpSpPr/>
              <p:nvPr/>
            </p:nvGrpSpPr>
            <p:grpSpPr bwMode="auto">
              <a:xfrm>
                <a:off x="2426" y="1169"/>
                <a:ext cx="908" cy="296"/>
                <a:chOff x="1431" y="1843"/>
                <a:chExt cx="907" cy="295"/>
              </a:xfrm>
            </p:grpSpPr>
            <p:sp>
              <p:nvSpPr>
                <p:cNvPr id="78" name="Freeform 36"/>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9" name="Oval 37"/>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1" name="Group 38"/>
            <p:cNvGrpSpPr/>
            <p:nvPr/>
          </p:nvGrpSpPr>
          <p:grpSpPr bwMode="auto">
            <a:xfrm>
              <a:off x="1692276" y="1626394"/>
              <a:ext cx="755650" cy="755650"/>
              <a:chOff x="2335" y="1139"/>
              <a:chExt cx="1089" cy="1089"/>
            </a:xfrm>
          </p:grpSpPr>
          <p:sp>
            <p:nvSpPr>
              <p:cNvPr id="72" name="Oval 39"/>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73" name="Group 40"/>
              <p:cNvGrpSpPr/>
              <p:nvPr/>
            </p:nvGrpSpPr>
            <p:grpSpPr bwMode="auto">
              <a:xfrm>
                <a:off x="2426" y="1169"/>
                <a:ext cx="908" cy="296"/>
                <a:chOff x="1431" y="1843"/>
                <a:chExt cx="907" cy="295"/>
              </a:xfrm>
            </p:grpSpPr>
            <p:sp>
              <p:nvSpPr>
                <p:cNvPr id="74" name="Freeform 41"/>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5" name="Oval 42"/>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2" name="Group 43"/>
            <p:cNvGrpSpPr/>
            <p:nvPr/>
          </p:nvGrpSpPr>
          <p:grpSpPr bwMode="auto">
            <a:xfrm>
              <a:off x="1223963" y="1769269"/>
              <a:ext cx="755650" cy="755650"/>
              <a:chOff x="2335" y="1139"/>
              <a:chExt cx="1089" cy="1089"/>
            </a:xfrm>
          </p:grpSpPr>
          <p:sp>
            <p:nvSpPr>
              <p:cNvPr id="68" name="Oval 44"/>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9" name="Group 45"/>
              <p:cNvGrpSpPr/>
              <p:nvPr/>
            </p:nvGrpSpPr>
            <p:grpSpPr bwMode="auto">
              <a:xfrm>
                <a:off x="2426" y="1169"/>
                <a:ext cx="908" cy="296"/>
                <a:chOff x="1431" y="1843"/>
                <a:chExt cx="907" cy="295"/>
              </a:xfrm>
            </p:grpSpPr>
            <p:sp>
              <p:nvSpPr>
                <p:cNvPr id="70" name="Freeform 46"/>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1" name="Oval 47"/>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3" name="Group 48"/>
            <p:cNvGrpSpPr/>
            <p:nvPr/>
          </p:nvGrpSpPr>
          <p:grpSpPr bwMode="auto">
            <a:xfrm>
              <a:off x="1727201" y="2058194"/>
              <a:ext cx="755650" cy="755650"/>
              <a:chOff x="2335" y="1139"/>
              <a:chExt cx="1089" cy="1089"/>
            </a:xfrm>
          </p:grpSpPr>
          <p:sp>
            <p:nvSpPr>
              <p:cNvPr id="64" name="Oval 49"/>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5" name="Group 50"/>
              <p:cNvGrpSpPr/>
              <p:nvPr/>
            </p:nvGrpSpPr>
            <p:grpSpPr bwMode="auto">
              <a:xfrm>
                <a:off x="2426" y="1169"/>
                <a:ext cx="908" cy="296"/>
                <a:chOff x="1431" y="1843"/>
                <a:chExt cx="907" cy="295"/>
              </a:xfrm>
            </p:grpSpPr>
            <p:sp>
              <p:nvSpPr>
                <p:cNvPr id="66" name="Freeform 51"/>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7" name="Oval 52"/>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4" name="Group 53"/>
            <p:cNvGrpSpPr/>
            <p:nvPr/>
          </p:nvGrpSpPr>
          <p:grpSpPr bwMode="auto">
            <a:xfrm>
              <a:off x="2232026" y="1842294"/>
              <a:ext cx="755650" cy="755650"/>
              <a:chOff x="2335" y="1139"/>
              <a:chExt cx="1089" cy="1089"/>
            </a:xfrm>
          </p:grpSpPr>
          <p:sp>
            <p:nvSpPr>
              <p:cNvPr id="60" name="Oval 54"/>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1" name="Group 55"/>
              <p:cNvGrpSpPr/>
              <p:nvPr/>
            </p:nvGrpSpPr>
            <p:grpSpPr bwMode="auto">
              <a:xfrm>
                <a:off x="2426" y="1169"/>
                <a:ext cx="908" cy="296"/>
                <a:chOff x="1431" y="1843"/>
                <a:chExt cx="907" cy="295"/>
              </a:xfrm>
            </p:grpSpPr>
            <p:sp>
              <p:nvSpPr>
                <p:cNvPr id="62" name="Freeform 56"/>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3" name="Oval 57"/>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5" name="Group 58"/>
            <p:cNvGrpSpPr/>
            <p:nvPr/>
          </p:nvGrpSpPr>
          <p:grpSpPr bwMode="auto">
            <a:xfrm>
              <a:off x="2592388" y="1769269"/>
              <a:ext cx="755650" cy="755650"/>
              <a:chOff x="2335" y="1139"/>
              <a:chExt cx="1089" cy="1089"/>
            </a:xfrm>
          </p:grpSpPr>
          <p:sp>
            <p:nvSpPr>
              <p:cNvPr id="56" name="Oval 59"/>
              <p:cNvSpPr>
                <a:spLocks noChangeArrowheads="1"/>
              </p:cNvSpPr>
              <p:nvPr/>
            </p:nvSpPr>
            <p:spPr bwMode="auto">
              <a:xfrm>
                <a:off x="2335" y="1139"/>
                <a:ext cx="1089" cy="1089"/>
              </a:xfrm>
              <a:prstGeom prst="ellipse">
                <a:avLst/>
              </a:prstGeom>
              <a:gradFill rotWithShape="1">
                <a:gsLst>
                  <a:gs pos="0">
                    <a:srgbClr val="9E9E9E"/>
                  </a:gs>
                  <a:gs pos="100000">
                    <a:srgbClr val="9E9E9E">
                      <a:gamma/>
                      <a:shade val="57647"/>
                      <a:invGamma/>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57" name="Group 60"/>
              <p:cNvGrpSpPr/>
              <p:nvPr/>
            </p:nvGrpSpPr>
            <p:grpSpPr bwMode="auto">
              <a:xfrm>
                <a:off x="2426" y="1169"/>
                <a:ext cx="908" cy="296"/>
                <a:chOff x="1431" y="1843"/>
                <a:chExt cx="907" cy="295"/>
              </a:xfrm>
            </p:grpSpPr>
            <p:sp>
              <p:nvSpPr>
                <p:cNvPr id="58" name="Freeform 61"/>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9" name="Oval 62"/>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16" name="Group 63"/>
            <p:cNvGrpSpPr/>
            <p:nvPr/>
          </p:nvGrpSpPr>
          <p:grpSpPr bwMode="auto">
            <a:xfrm>
              <a:off x="1042988" y="1961356"/>
              <a:ext cx="2368550" cy="2665412"/>
              <a:chOff x="1088" y="1759"/>
              <a:chExt cx="1492" cy="1679"/>
            </a:xfrm>
          </p:grpSpPr>
          <p:sp>
            <p:nvSpPr>
              <p:cNvPr id="54" name="Freeform 64"/>
              <p:cNvSpPr/>
              <p:nvPr/>
            </p:nvSpPr>
            <p:spPr bwMode="auto">
              <a:xfrm>
                <a:off x="1088" y="1759"/>
                <a:ext cx="1492" cy="373"/>
              </a:xfrm>
              <a:custGeom>
                <a:avLst/>
                <a:gdLst>
                  <a:gd name="T0" fmla="*/ 710 w 1492"/>
                  <a:gd name="T1" fmla="*/ 350 h 373"/>
                  <a:gd name="T2" fmla="*/ 605 w 1492"/>
                  <a:gd name="T3" fmla="*/ 343 h 373"/>
                  <a:gd name="T4" fmla="*/ 505 w 1492"/>
                  <a:gd name="T5" fmla="*/ 329 h 373"/>
                  <a:gd name="T6" fmla="*/ 413 w 1492"/>
                  <a:gd name="T7" fmla="*/ 308 h 373"/>
                  <a:gd name="T8" fmla="*/ 328 w 1492"/>
                  <a:gd name="T9" fmla="*/ 281 h 373"/>
                  <a:gd name="T10" fmla="*/ 251 w 1492"/>
                  <a:gd name="T11" fmla="*/ 248 h 373"/>
                  <a:gd name="T12" fmla="*/ 185 w 1492"/>
                  <a:gd name="T13" fmla="*/ 210 h 373"/>
                  <a:gd name="T14" fmla="*/ 131 w 1492"/>
                  <a:gd name="T15" fmla="*/ 167 h 373"/>
                  <a:gd name="T16" fmla="*/ 89 w 1492"/>
                  <a:gd name="T17" fmla="*/ 121 h 373"/>
                  <a:gd name="T18" fmla="*/ 61 w 1492"/>
                  <a:gd name="T19" fmla="*/ 71 h 373"/>
                  <a:gd name="T20" fmla="*/ 48 w 1492"/>
                  <a:gd name="T21" fmla="*/ 18 h 373"/>
                  <a:gd name="T22" fmla="*/ 0 w 1492"/>
                  <a:gd name="T23" fmla="*/ 0 h 373"/>
                  <a:gd name="T24" fmla="*/ 9 w 1492"/>
                  <a:gd name="T25" fmla="*/ 57 h 373"/>
                  <a:gd name="T26" fmla="*/ 34 w 1492"/>
                  <a:gd name="T27" fmla="*/ 112 h 373"/>
                  <a:gd name="T28" fmla="*/ 74 w 1492"/>
                  <a:gd name="T29" fmla="*/ 162 h 373"/>
                  <a:gd name="T30" fmla="*/ 127 w 1492"/>
                  <a:gd name="T31" fmla="*/ 209 h 373"/>
                  <a:gd name="T32" fmla="*/ 194 w 1492"/>
                  <a:gd name="T33" fmla="*/ 251 h 373"/>
                  <a:gd name="T34" fmla="*/ 272 w 1492"/>
                  <a:gd name="T35" fmla="*/ 288 h 373"/>
                  <a:gd name="T36" fmla="*/ 359 w 1492"/>
                  <a:gd name="T37" fmla="*/ 319 h 373"/>
                  <a:gd name="T38" fmla="*/ 456 w 1492"/>
                  <a:gd name="T39" fmla="*/ 343 h 373"/>
                  <a:gd name="T40" fmla="*/ 560 w 1492"/>
                  <a:gd name="T41" fmla="*/ 362 h 373"/>
                  <a:gd name="T42" fmla="*/ 670 w 1492"/>
                  <a:gd name="T43" fmla="*/ 372 h 373"/>
                  <a:gd name="T44" fmla="*/ 746 w 1492"/>
                  <a:gd name="T45" fmla="*/ 373 h 373"/>
                  <a:gd name="T46" fmla="*/ 860 w 1492"/>
                  <a:gd name="T47" fmla="*/ 369 h 373"/>
                  <a:gd name="T48" fmla="*/ 967 w 1492"/>
                  <a:gd name="T49" fmla="*/ 356 h 373"/>
                  <a:gd name="T50" fmla="*/ 1070 w 1492"/>
                  <a:gd name="T51" fmla="*/ 337 h 373"/>
                  <a:gd name="T52" fmla="*/ 1163 w 1492"/>
                  <a:gd name="T53" fmla="*/ 310 h 373"/>
                  <a:gd name="T54" fmla="*/ 1247 w 1492"/>
                  <a:gd name="T55" fmla="*/ 276 h 373"/>
                  <a:gd name="T56" fmla="*/ 1321 w 1492"/>
                  <a:gd name="T57" fmla="*/ 237 h 373"/>
                  <a:gd name="T58" fmla="*/ 1385 w 1492"/>
                  <a:gd name="T59" fmla="*/ 193 h 373"/>
                  <a:gd name="T60" fmla="*/ 1434 w 1492"/>
                  <a:gd name="T61" fmla="*/ 145 h 373"/>
                  <a:gd name="T62" fmla="*/ 1469 w 1492"/>
                  <a:gd name="T63" fmla="*/ 93 h 373"/>
                  <a:gd name="T64" fmla="*/ 1488 w 1492"/>
                  <a:gd name="T65" fmla="*/ 38 h 373"/>
                  <a:gd name="T66" fmla="*/ 1445 w 1492"/>
                  <a:gd name="T67" fmla="*/ 0 h 373"/>
                  <a:gd name="T68" fmla="*/ 1441 w 1492"/>
                  <a:gd name="T69" fmla="*/ 36 h 373"/>
                  <a:gd name="T70" fmla="*/ 1423 w 1492"/>
                  <a:gd name="T71" fmla="*/ 88 h 373"/>
                  <a:gd name="T72" fmla="*/ 1391 w 1492"/>
                  <a:gd name="T73" fmla="*/ 136 h 373"/>
                  <a:gd name="T74" fmla="*/ 1344 w 1492"/>
                  <a:gd name="T75" fmla="*/ 181 h 373"/>
                  <a:gd name="T76" fmla="*/ 1286 w 1492"/>
                  <a:gd name="T77" fmla="*/ 223 h 373"/>
                  <a:gd name="T78" fmla="*/ 1216 w 1492"/>
                  <a:gd name="T79" fmla="*/ 259 h 373"/>
                  <a:gd name="T80" fmla="*/ 1137 w 1492"/>
                  <a:gd name="T81" fmla="*/ 290 h 373"/>
                  <a:gd name="T82" fmla="*/ 1049 w 1492"/>
                  <a:gd name="T83" fmla="*/ 316 h 373"/>
                  <a:gd name="T84" fmla="*/ 955 w 1492"/>
                  <a:gd name="T85" fmla="*/ 334 h 373"/>
                  <a:gd name="T86" fmla="*/ 852 w 1492"/>
                  <a:gd name="T87" fmla="*/ 346 h 373"/>
                  <a:gd name="T88" fmla="*/ 746 w 1492"/>
                  <a:gd name="T89" fmla="*/ 35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2" h="373">
                    <a:moveTo>
                      <a:pt x="746" y="350"/>
                    </a:moveTo>
                    <a:lnTo>
                      <a:pt x="746" y="350"/>
                    </a:lnTo>
                    <a:lnTo>
                      <a:pt x="710" y="350"/>
                    </a:lnTo>
                    <a:lnTo>
                      <a:pt x="675" y="349"/>
                    </a:lnTo>
                    <a:lnTo>
                      <a:pt x="640" y="346"/>
                    </a:lnTo>
                    <a:lnTo>
                      <a:pt x="605" y="343"/>
                    </a:lnTo>
                    <a:lnTo>
                      <a:pt x="571" y="340"/>
                    </a:lnTo>
                    <a:lnTo>
                      <a:pt x="537" y="334"/>
                    </a:lnTo>
                    <a:lnTo>
                      <a:pt x="505" y="329"/>
                    </a:lnTo>
                    <a:lnTo>
                      <a:pt x="474" y="323"/>
                    </a:lnTo>
                    <a:lnTo>
                      <a:pt x="443" y="316"/>
                    </a:lnTo>
                    <a:lnTo>
                      <a:pt x="413" y="308"/>
                    </a:lnTo>
                    <a:lnTo>
                      <a:pt x="383" y="299"/>
                    </a:lnTo>
                    <a:lnTo>
                      <a:pt x="355" y="290"/>
                    </a:lnTo>
                    <a:lnTo>
                      <a:pt x="328" y="281"/>
                    </a:lnTo>
                    <a:lnTo>
                      <a:pt x="302" y="271"/>
                    </a:lnTo>
                    <a:lnTo>
                      <a:pt x="276" y="259"/>
                    </a:lnTo>
                    <a:lnTo>
                      <a:pt x="251" y="248"/>
                    </a:lnTo>
                    <a:lnTo>
                      <a:pt x="228" y="236"/>
                    </a:lnTo>
                    <a:lnTo>
                      <a:pt x="206" y="223"/>
                    </a:lnTo>
                    <a:lnTo>
                      <a:pt x="185" y="210"/>
                    </a:lnTo>
                    <a:lnTo>
                      <a:pt x="166" y="196"/>
                    </a:lnTo>
                    <a:lnTo>
                      <a:pt x="148" y="181"/>
                    </a:lnTo>
                    <a:lnTo>
                      <a:pt x="131" y="167"/>
                    </a:lnTo>
                    <a:lnTo>
                      <a:pt x="115" y="152"/>
                    </a:lnTo>
                    <a:lnTo>
                      <a:pt x="101" y="136"/>
                    </a:lnTo>
                    <a:lnTo>
                      <a:pt x="89" y="121"/>
                    </a:lnTo>
                    <a:lnTo>
                      <a:pt x="78" y="104"/>
                    </a:lnTo>
                    <a:lnTo>
                      <a:pt x="69" y="88"/>
                    </a:lnTo>
                    <a:lnTo>
                      <a:pt x="61" y="71"/>
                    </a:lnTo>
                    <a:lnTo>
                      <a:pt x="54" y="53"/>
                    </a:lnTo>
                    <a:lnTo>
                      <a:pt x="51" y="36"/>
                    </a:lnTo>
                    <a:lnTo>
                      <a:pt x="48" y="18"/>
                    </a:lnTo>
                    <a:lnTo>
                      <a:pt x="47" y="0"/>
                    </a:lnTo>
                    <a:lnTo>
                      <a:pt x="0" y="0"/>
                    </a:lnTo>
                    <a:lnTo>
                      <a:pt x="0" y="0"/>
                    </a:lnTo>
                    <a:lnTo>
                      <a:pt x="1" y="20"/>
                    </a:lnTo>
                    <a:lnTo>
                      <a:pt x="4" y="38"/>
                    </a:lnTo>
                    <a:lnTo>
                      <a:pt x="9" y="57"/>
                    </a:lnTo>
                    <a:lnTo>
                      <a:pt x="16" y="75"/>
                    </a:lnTo>
                    <a:lnTo>
                      <a:pt x="23" y="93"/>
                    </a:lnTo>
                    <a:lnTo>
                      <a:pt x="34" y="112"/>
                    </a:lnTo>
                    <a:lnTo>
                      <a:pt x="45" y="128"/>
                    </a:lnTo>
                    <a:lnTo>
                      <a:pt x="58" y="145"/>
                    </a:lnTo>
                    <a:lnTo>
                      <a:pt x="74" y="162"/>
                    </a:lnTo>
                    <a:lnTo>
                      <a:pt x="91" y="178"/>
                    </a:lnTo>
                    <a:lnTo>
                      <a:pt x="107" y="193"/>
                    </a:lnTo>
                    <a:lnTo>
                      <a:pt x="127" y="209"/>
                    </a:lnTo>
                    <a:lnTo>
                      <a:pt x="148" y="223"/>
                    </a:lnTo>
                    <a:lnTo>
                      <a:pt x="171" y="237"/>
                    </a:lnTo>
                    <a:lnTo>
                      <a:pt x="194" y="251"/>
                    </a:lnTo>
                    <a:lnTo>
                      <a:pt x="219" y="264"/>
                    </a:lnTo>
                    <a:lnTo>
                      <a:pt x="245" y="276"/>
                    </a:lnTo>
                    <a:lnTo>
                      <a:pt x="272" y="288"/>
                    </a:lnTo>
                    <a:lnTo>
                      <a:pt x="299" y="299"/>
                    </a:lnTo>
                    <a:lnTo>
                      <a:pt x="329" y="310"/>
                    </a:lnTo>
                    <a:lnTo>
                      <a:pt x="359" y="319"/>
                    </a:lnTo>
                    <a:lnTo>
                      <a:pt x="390" y="328"/>
                    </a:lnTo>
                    <a:lnTo>
                      <a:pt x="422" y="337"/>
                    </a:lnTo>
                    <a:lnTo>
                      <a:pt x="456" y="343"/>
                    </a:lnTo>
                    <a:lnTo>
                      <a:pt x="490" y="351"/>
                    </a:lnTo>
                    <a:lnTo>
                      <a:pt x="525" y="356"/>
                    </a:lnTo>
                    <a:lnTo>
                      <a:pt x="560" y="362"/>
                    </a:lnTo>
                    <a:lnTo>
                      <a:pt x="596" y="365"/>
                    </a:lnTo>
                    <a:lnTo>
                      <a:pt x="632" y="369"/>
                    </a:lnTo>
                    <a:lnTo>
                      <a:pt x="670" y="372"/>
                    </a:lnTo>
                    <a:lnTo>
                      <a:pt x="707" y="373"/>
                    </a:lnTo>
                    <a:lnTo>
                      <a:pt x="746" y="373"/>
                    </a:lnTo>
                    <a:lnTo>
                      <a:pt x="746" y="373"/>
                    </a:lnTo>
                    <a:lnTo>
                      <a:pt x="785" y="373"/>
                    </a:lnTo>
                    <a:lnTo>
                      <a:pt x="822" y="372"/>
                    </a:lnTo>
                    <a:lnTo>
                      <a:pt x="860" y="369"/>
                    </a:lnTo>
                    <a:lnTo>
                      <a:pt x="896" y="365"/>
                    </a:lnTo>
                    <a:lnTo>
                      <a:pt x="933" y="362"/>
                    </a:lnTo>
                    <a:lnTo>
                      <a:pt x="967" y="356"/>
                    </a:lnTo>
                    <a:lnTo>
                      <a:pt x="1002" y="351"/>
                    </a:lnTo>
                    <a:lnTo>
                      <a:pt x="1036" y="343"/>
                    </a:lnTo>
                    <a:lnTo>
                      <a:pt x="1070" y="337"/>
                    </a:lnTo>
                    <a:lnTo>
                      <a:pt x="1102" y="328"/>
                    </a:lnTo>
                    <a:lnTo>
                      <a:pt x="1133" y="319"/>
                    </a:lnTo>
                    <a:lnTo>
                      <a:pt x="1163" y="310"/>
                    </a:lnTo>
                    <a:lnTo>
                      <a:pt x="1193" y="299"/>
                    </a:lnTo>
                    <a:lnTo>
                      <a:pt x="1220" y="288"/>
                    </a:lnTo>
                    <a:lnTo>
                      <a:pt x="1247" y="276"/>
                    </a:lnTo>
                    <a:lnTo>
                      <a:pt x="1273" y="264"/>
                    </a:lnTo>
                    <a:lnTo>
                      <a:pt x="1298" y="251"/>
                    </a:lnTo>
                    <a:lnTo>
                      <a:pt x="1321" y="237"/>
                    </a:lnTo>
                    <a:lnTo>
                      <a:pt x="1344" y="223"/>
                    </a:lnTo>
                    <a:lnTo>
                      <a:pt x="1365" y="209"/>
                    </a:lnTo>
                    <a:lnTo>
                      <a:pt x="1385" y="193"/>
                    </a:lnTo>
                    <a:lnTo>
                      <a:pt x="1401" y="178"/>
                    </a:lnTo>
                    <a:lnTo>
                      <a:pt x="1418" y="162"/>
                    </a:lnTo>
                    <a:lnTo>
                      <a:pt x="1434" y="145"/>
                    </a:lnTo>
                    <a:lnTo>
                      <a:pt x="1447" y="128"/>
                    </a:lnTo>
                    <a:lnTo>
                      <a:pt x="1458" y="112"/>
                    </a:lnTo>
                    <a:lnTo>
                      <a:pt x="1469" y="93"/>
                    </a:lnTo>
                    <a:lnTo>
                      <a:pt x="1476" y="75"/>
                    </a:lnTo>
                    <a:lnTo>
                      <a:pt x="1483" y="57"/>
                    </a:lnTo>
                    <a:lnTo>
                      <a:pt x="1488" y="38"/>
                    </a:lnTo>
                    <a:lnTo>
                      <a:pt x="1491" y="20"/>
                    </a:lnTo>
                    <a:lnTo>
                      <a:pt x="1492" y="0"/>
                    </a:lnTo>
                    <a:lnTo>
                      <a:pt x="1445" y="0"/>
                    </a:lnTo>
                    <a:lnTo>
                      <a:pt x="1445" y="0"/>
                    </a:lnTo>
                    <a:lnTo>
                      <a:pt x="1444" y="18"/>
                    </a:lnTo>
                    <a:lnTo>
                      <a:pt x="1441" y="36"/>
                    </a:lnTo>
                    <a:lnTo>
                      <a:pt x="1438" y="53"/>
                    </a:lnTo>
                    <a:lnTo>
                      <a:pt x="1431" y="71"/>
                    </a:lnTo>
                    <a:lnTo>
                      <a:pt x="1423" y="88"/>
                    </a:lnTo>
                    <a:lnTo>
                      <a:pt x="1414" y="104"/>
                    </a:lnTo>
                    <a:lnTo>
                      <a:pt x="1403" y="121"/>
                    </a:lnTo>
                    <a:lnTo>
                      <a:pt x="1391" y="136"/>
                    </a:lnTo>
                    <a:lnTo>
                      <a:pt x="1377" y="152"/>
                    </a:lnTo>
                    <a:lnTo>
                      <a:pt x="1361" y="167"/>
                    </a:lnTo>
                    <a:lnTo>
                      <a:pt x="1344" y="181"/>
                    </a:lnTo>
                    <a:lnTo>
                      <a:pt x="1326" y="196"/>
                    </a:lnTo>
                    <a:lnTo>
                      <a:pt x="1307" y="210"/>
                    </a:lnTo>
                    <a:lnTo>
                      <a:pt x="1286" y="223"/>
                    </a:lnTo>
                    <a:lnTo>
                      <a:pt x="1264" y="236"/>
                    </a:lnTo>
                    <a:lnTo>
                      <a:pt x="1241" y="248"/>
                    </a:lnTo>
                    <a:lnTo>
                      <a:pt x="1216" y="259"/>
                    </a:lnTo>
                    <a:lnTo>
                      <a:pt x="1190" y="271"/>
                    </a:lnTo>
                    <a:lnTo>
                      <a:pt x="1164" y="281"/>
                    </a:lnTo>
                    <a:lnTo>
                      <a:pt x="1137" y="290"/>
                    </a:lnTo>
                    <a:lnTo>
                      <a:pt x="1109" y="299"/>
                    </a:lnTo>
                    <a:lnTo>
                      <a:pt x="1079" y="308"/>
                    </a:lnTo>
                    <a:lnTo>
                      <a:pt x="1049" y="316"/>
                    </a:lnTo>
                    <a:lnTo>
                      <a:pt x="1018" y="323"/>
                    </a:lnTo>
                    <a:lnTo>
                      <a:pt x="987" y="329"/>
                    </a:lnTo>
                    <a:lnTo>
                      <a:pt x="955" y="334"/>
                    </a:lnTo>
                    <a:lnTo>
                      <a:pt x="921" y="340"/>
                    </a:lnTo>
                    <a:lnTo>
                      <a:pt x="887" y="343"/>
                    </a:lnTo>
                    <a:lnTo>
                      <a:pt x="852" y="346"/>
                    </a:lnTo>
                    <a:lnTo>
                      <a:pt x="817" y="349"/>
                    </a:lnTo>
                    <a:lnTo>
                      <a:pt x="782" y="350"/>
                    </a:lnTo>
                    <a:lnTo>
                      <a:pt x="746" y="350"/>
                    </a:lnTo>
                    <a:lnTo>
                      <a:pt x="746" y="350"/>
                    </a:lnTo>
                    <a:close/>
                  </a:path>
                </a:pathLst>
              </a:custGeom>
              <a:solidFill>
                <a:srgbClr val="EAEAEA"/>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5" name="Freeform 65"/>
              <p:cNvSpPr/>
              <p:nvPr/>
            </p:nvSpPr>
            <p:spPr bwMode="auto">
              <a:xfrm>
                <a:off x="1093" y="1806"/>
                <a:ext cx="1482" cy="1632"/>
              </a:xfrm>
              <a:custGeom>
                <a:avLst/>
                <a:gdLst>
                  <a:gd name="T0" fmla="*/ 1481 w 1482"/>
                  <a:gd name="T1" fmla="*/ 0 h 1632"/>
                  <a:gd name="T2" fmla="*/ 1469 w 1482"/>
                  <a:gd name="T3" fmla="*/ 35 h 1632"/>
                  <a:gd name="T4" fmla="*/ 1452 w 1482"/>
                  <a:gd name="T5" fmla="*/ 67 h 1632"/>
                  <a:gd name="T6" fmla="*/ 1429 w 1482"/>
                  <a:gd name="T7" fmla="*/ 98 h 1632"/>
                  <a:gd name="T8" fmla="*/ 1399 w 1482"/>
                  <a:gd name="T9" fmla="*/ 129 h 1632"/>
                  <a:gd name="T10" fmla="*/ 1365 w 1482"/>
                  <a:gd name="T11" fmla="*/ 158 h 1632"/>
                  <a:gd name="T12" fmla="*/ 1326 w 1482"/>
                  <a:gd name="T13" fmla="*/ 184 h 1632"/>
                  <a:gd name="T14" fmla="*/ 1284 w 1482"/>
                  <a:gd name="T15" fmla="*/ 210 h 1632"/>
                  <a:gd name="T16" fmla="*/ 1236 w 1482"/>
                  <a:gd name="T17" fmla="*/ 232 h 1632"/>
                  <a:gd name="T18" fmla="*/ 1185 w 1482"/>
                  <a:gd name="T19" fmla="*/ 252 h 1632"/>
                  <a:gd name="T20" fmla="*/ 1130 w 1482"/>
                  <a:gd name="T21" fmla="*/ 272 h 1632"/>
                  <a:gd name="T22" fmla="*/ 1071 w 1482"/>
                  <a:gd name="T23" fmla="*/ 287 h 1632"/>
                  <a:gd name="T24" fmla="*/ 1010 w 1482"/>
                  <a:gd name="T25" fmla="*/ 302 h 1632"/>
                  <a:gd name="T26" fmla="*/ 947 w 1482"/>
                  <a:gd name="T27" fmla="*/ 312 h 1632"/>
                  <a:gd name="T28" fmla="*/ 880 w 1482"/>
                  <a:gd name="T29" fmla="*/ 320 h 1632"/>
                  <a:gd name="T30" fmla="*/ 811 w 1482"/>
                  <a:gd name="T31" fmla="*/ 325 h 1632"/>
                  <a:gd name="T32" fmla="*/ 741 w 1482"/>
                  <a:gd name="T33" fmla="*/ 326 h 1632"/>
                  <a:gd name="T34" fmla="*/ 706 w 1482"/>
                  <a:gd name="T35" fmla="*/ 326 h 1632"/>
                  <a:gd name="T36" fmla="*/ 636 w 1482"/>
                  <a:gd name="T37" fmla="*/ 322 h 1632"/>
                  <a:gd name="T38" fmla="*/ 569 w 1482"/>
                  <a:gd name="T39" fmla="*/ 316 h 1632"/>
                  <a:gd name="T40" fmla="*/ 503 w 1482"/>
                  <a:gd name="T41" fmla="*/ 307 h 1632"/>
                  <a:gd name="T42" fmla="*/ 441 w 1482"/>
                  <a:gd name="T43" fmla="*/ 295 h 1632"/>
                  <a:gd name="T44" fmla="*/ 381 w 1482"/>
                  <a:gd name="T45" fmla="*/ 280 h 1632"/>
                  <a:gd name="T46" fmla="*/ 324 w 1482"/>
                  <a:gd name="T47" fmla="*/ 263 h 1632"/>
                  <a:gd name="T48" fmla="*/ 271 w 1482"/>
                  <a:gd name="T49" fmla="*/ 243 h 1632"/>
                  <a:gd name="T50" fmla="*/ 222 w 1482"/>
                  <a:gd name="T51" fmla="*/ 221 h 1632"/>
                  <a:gd name="T52" fmla="*/ 176 w 1482"/>
                  <a:gd name="T53" fmla="*/ 197 h 1632"/>
                  <a:gd name="T54" fmla="*/ 135 w 1482"/>
                  <a:gd name="T55" fmla="*/ 171 h 1632"/>
                  <a:gd name="T56" fmla="*/ 99 w 1482"/>
                  <a:gd name="T57" fmla="*/ 144 h 1632"/>
                  <a:gd name="T58" fmla="*/ 68 w 1482"/>
                  <a:gd name="T59" fmla="*/ 114 h 1632"/>
                  <a:gd name="T60" fmla="*/ 42 w 1482"/>
                  <a:gd name="T61" fmla="*/ 83 h 1632"/>
                  <a:gd name="T62" fmla="*/ 21 w 1482"/>
                  <a:gd name="T63" fmla="*/ 50 h 1632"/>
                  <a:gd name="T64" fmla="*/ 5 w 1482"/>
                  <a:gd name="T65" fmla="*/ 18 h 1632"/>
                  <a:gd name="T66" fmla="*/ 1 w 1482"/>
                  <a:gd name="T67" fmla="*/ 0 h 1632"/>
                  <a:gd name="T68" fmla="*/ 0 w 1482"/>
                  <a:gd name="T69" fmla="*/ 0 h 1632"/>
                  <a:gd name="T70" fmla="*/ 371 w 1482"/>
                  <a:gd name="T71" fmla="*/ 1469 h 1632"/>
                  <a:gd name="T72" fmla="*/ 377 w 1482"/>
                  <a:gd name="T73" fmla="*/ 1486 h 1632"/>
                  <a:gd name="T74" fmla="*/ 398 w 1482"/>
                  <a:gd name="T75" fmla="*/ 1518 h 1632"/>
                  <a:gd name="T76" fmla="*/ 429 w 1482"/>
                  <a:gd name="T77" fmla="*/ 1548 h 1632"/>
                  <a:gd name="T78" fmla="*/ 469 w 1482"/>
                  <a:gd name="T79" fmla="*/ 1574 h 1632"/>
                  <a:gd name="T80" fmla="*/ 520 w 1482"/>
                  <a:gd name="T81" fmla="*/ 1596 h 1632"/>
                  <a:gd name="T82" fmla="*/ 575 w 1482"/>
                  <a:gd name="T83" fmla="*/ 1613 h 1632"/>
                  <a:gd name="T84" fmla="*/ 639 w 1482"/>
                  <a:gd name="T85" fmla="*/ 1624 h 1632"/>
                  <a:gd name="T86" fmla="*/ 706 w 1482"/>
                  <a:gd name="T87" fmla="*/ 1631 h 1632"/>
                  <a:gd name="T88" fmla="*/ 741 w 1482"/>
                  <a:gd name="T89" fmla="*/ 1632 h 1632"/>
                  <a:gd name="T90" fmla="*/ 811 w 1482"/>
                  <a:gd name="T91" fmla="*/ 1628 h 1632"/>
                  <a:gd name="T92" fmla="*/ 876 w 1482"/>
                  <a:gd name="T93" fmla="*/ 1619 h 1632"/>
                  <a:gd name="T94" fmla="*/ 935 w 1482"/>
                  <a:gd name="T95" fmla="*/ 1605 h 1632"/>
                  <a:gd name="T96" fmla="*/ 988 w 1482"/>
                  <a:gd name="T97" fmla="*/ 1585 h 1632"/>
                  <a:gd name="T98" fmla="*/ 1034 w 1482"/>
                  <a:gd name="T99" fmla="*/ 1561 h 1632"/>
                  <a:gd name="T100" fmla="*/ 1070 w 1482"/>
                  <a:gd name="T101" fmla="*/ 1534 h 1632"/>
                  <a:gd name="T102" fmla="*/ 1096 w 1482"/>
                  <a:gd name="T103" fmla="*/ 1502 h 1632"/>
                  <a:gd name="T104" fmla="*/ 1111 w 1482"/>
                  <a:gd name="T105" fmla="*/ 1469 h 1632"/>
                  <a:gd name="T106" fmla="*/ 1482 w 1482"/>
                  <a:gd name="T107" fmla="*/ 0 h 1632"/>
                  <a:gd name="T108" fmla="*/ 1481 w 1482"/>
                  <a:gd name="T109" fmla="*/ 0 h 1632"/>
                  <a:gd name="T110" fmla="*/ 1481 w 1482"/>
                  <a:gd name="T111" fmla="*/ 0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2" h="1632">
                    <a:moveTo>
                      <a:pt x="1481" y="0"/>
                    </a:moveTo>
                    <a:lnTo>
                      <a:pt x="1481" y="0"/>
                    </a:lnTo>
                    <a:lnTo>
                      <a:pt x="1477" y="18"/>
                    </a:lnTo>
                    <a:lnTo>
                      <a:pt x="1469" y="35"/>
                    </a:lnTo>
                    <a:lnTo>
                      <a:pt x="1461" y="50"/>
                    </a:lnTo>
                    <a:lnTo>
                      <a:pt x="1452" y="67"/>
                    </a:lnTo>
                    <a:lnTo>
                      <a:pt x="1440" y="83"/>
                    </a:lnTo>
                    <a:lnTo>
                      <a:pt x="1429" y="98"/>
                    </a:lnTo>
                    <a:lnTo>
                      <a:pt x="1414" y="114"/>
                    </a:lnTo>
                    <a:lnTo>
                      <a:pt x="1399" y="129"/>
                    </a:lnTo>
                    <a:lnTo>
                      <a:pt x="1383" y="144"/>
                    </a:lnTo>
                    <a:lnTo>
                      <a:pt x="1365" y="158"/>
                    </a:lnTo>
                    <a:lnTo>
                      <a:pt x="1347" y="171"/>
                    </a:lnTo>
                    <a:lnTo>
                      <a:pt x="1326" y="184"/>
                    </a:lnTo>
                    <a:lnTo>
                      <a:pt x="1306" y="197"/>
                    </a:lnTo>
                    <a:lnTo>
                      <a:pt x="1284" y="210"/>
                    </a:lnTo>
                    <a:lnTo>
                      <a:pt x="1260" y="221"/>
                    </a:lnTo>
                    <a:lnTo>
                      <a:pt x="1236" y="232"/>
                    </a:lnTo>
                    <a:lnTo>
                      <a:pt x="1211" y="243"/>
                    </a:lnTo>
                    <a:lnTo>
                      <a:pt x="1185" y="252"/>
                    </a:lnTo>
                    <a:lnTo>
                      <a:pt x="1158" y="263"/>
                    </a:lnTo>
                    <a:lnTo>
                      <a:pt x="1130" y="272"/>
                    </a:lnTo>
                    <a:lnTo>
                      <a:pt x="1101" y="280"/>
                    </a:lnTo>
                    <a:lnTo>
                      <a:pt x="1071" y="287"/>
                    </a:lnTo>
                    <a:lnTo>
                      <a:pt x="1041" y="295"/>
                    </a:lnTo>
                    <a:lnTo>
                      <a:pt x="1010" y="302"/>
                    </a:lnTo>
                    <a:lnTo>
                      <a:pt x="979" y="307"/>
                    </a:lnTo>
                    <a:lnTo>
                      <a:pt x="947" y="312"/>
                    </a:lnTo>
                    <a:lnTo>
                      <a:pt x="913" y="316"/>
                    </a:lnTo>
                    <a:lnTo>
                      <a:pt x="880" y="320"/>
                    </a:lnTo>
                    <a:lnTo>
                      <a:pt x="846" y="322"/>
                    </a:lnTo>
                    <a:lnTo>
                      <a:pt x="811" y="325"/>
                    </a:lnTo>
                    <a:lnTo>
                      <a:pt x="776" y="326"/>
                    </a:lnTo>
                    <a:lnTo>
                      <a:pt x="741" y="326"/>
                    </a:lnTo>
                    <a:lnTo>
                      <a:pt x="741" y="326"/>
                    </a:lnTo>
                    <a:lnTo>
                      <a:pt x="706" y="326"/>
                    </a:lnTo>
                    <a:lnTo>
                      <a:pt x="671" y="325"/>
                    </a:lnTo>
                    <a:lnTo>
                      <a:pt x="636" y="322"/>
                    </a:lnTo>
                    <a:lnTo>
                      <a:pt x="602" y="320"/>
                    </a:lnTo>
                    <a:lnTo>
                      <a:pt x="569" y="316"/>
                    </a:lnTo>
                    <a:lnTo>
                      <a:pt x="535" y="312"/>
                    </a:lnTo>
                    <a:lnTo>
                      <a:pt x="503" y="307"/>
                    </a:lnTo>
                    <a:lnTo>
                      <a:pt x="472" y="302"/>
                    </a:lnTo>
                    <a:lnTo>
                      <a:pt x="441" y="295"/>
                    </a:lnTo>
                    <a:lnTo>
                      <a:pt x="411" y="287"/>
                    </a:lnTo>
                    <a:lnTo>
                      <a:pt x="381" y="280"/>
                    </a:lnTo>
                    <a:lnTo>
                      <a:pt x="352" y="272"/>
                    </a:lnTo>
                    <a:lnTo>
                      <a:pt x="324" y="263"/>
                    </a:lnTo>
                    <a:lnTo>
                      <a:pt x="297" y="252"/>
                    </a:lnTo>
                    <a:lnTo>
                      <a:pt x="271" y="243"/>
                    </a:lnTo>
                    <a:lnTo>
                      <a:pt x="246" y="232"/>
                    </a:lnTo>
                    <a:lnTo>
                      <a:pt x="222" y="221"/>
                    </a:lnTo>
                    <a:lnTo>
                      <a:pt x="198" y="210"/>
                    </a:lnTo>
                    <a:lnTo>
                      <a:pt x="176" y="197"/>
                    </a:lnTo>
                    <a:lnTo>
                      <a:pt x="156" y="184"/>
                    </a:lnTo>
                    <a:lnTo>
                      <a:pt x="135" y="171"/>
                    </a:lnTo>
                    <a:lnTo>
                      <a:pt x="117" y="158"/>
                    </a:lnTo>
                    <a:lnTo>
                      <a:pt x="99" y="144"/>
                    </a:lnTo>
                    <a:lnTo>
                      <a:pt x="83" y="129"/>
                    </a:lnTo>
                    <a:lnTo>
                      <a:pt x="68" y="114"/>
                    </a:lnTo>
                    <a:lnTo>
                      <a:pt x="53" y="98"/>
                    </a:lnTo>
                    <a:lnTo>
                      <a:pt x="42" y="83"/>
                    </a:lnTo>
                    <a:lnTo>
                      <a:pt x="30" y="67"/>
                    </a:lnTo>
                    <a:lnTo>
                      <a:pt x="21" y="50"/>
                    </a:lnTo>
                    <a:lnTo>
                      <a:pt x="13" y="35"/>
                    </a:lnTo>
                    <a:lnTo>
                      <a:pt x="5" y="18"/>
                    </a:lnTo>
                    <a:lnTo>
                      <a:pt x="1" y="0"/>
                    </a:lnTo>
                    <a:lnTo>
                      <a:pt x="1" y="0"/>
                    </a:lnTo>
                    <a:lnTo>
                      <a:pt x="1" y="0"/>
                    </a:lnTo>
                    <a:lnTo>
                      <a:pt x="0" y="0"/>
                    </a:lnTo>
                    <a:lnTo>
                      <a:pt x="371" y="1469"/>
                    </a:lnTo>
                    <a:lnTo>
                      <a:pt x="371" y="1469"/>
                    </a:lnTo>
                    <a:lnTo>
                      <a:pt x="371" y="1469"/>
                    </a:lnTo>
                    <a:lnTo>
                      <a:pt x="377" y="1486"/>
                    </a:lnTo>
                    <a:lnTo>
                      <a:pt x="386" y="1502"/>
                    </a:lnTo>
                    <a:lnTo>
                      <a:pt x="398" y="1518"/>
                    </a:lnTo>
                    <a:lnTo>
                      <a:pt x="412" y="1534"/>
                    </a:lnTo>
                    <a:lnTo>
                      <a:pt x="429" y="1548"/>
                    </a:lnTo>
                    <a:lnTo>
                      <a:pt x="448" y="1561"/>
                    </a:lnTo>
                    <a:lnTo>
                      <a:pt x="469" y="1574"/>
                    </a:lnTo>
                    <a:lnTo>
                      <a:pt x="494" y="1585"/>
                    </a:lnTo>
                    <a:lnTo>
                      <a:pt x="520" y="1596"/>
                    </a:lnTo>
                    <a:lnTo>
                      <a:pt x="547" y="1605"/>
                    </a:lnTo>
                    <a:lnTo>
                      <a:pt x="575" y="1613"/>
                    </a:lnTo>
                    <a:lnTo>
                      <a:pt x="606" y="1619"/>
                    </a:lnTo>
                    <a:lnTo>
                      <a:pt x="639" y="1624"/>
                    </a:lnTo>
                    <a:lnTo>
                      <a:pt x="671" y="1628"/>
                    </a:lnTo>
                    <a:lnTo>
                      <a:pt x="706" y="1631"/>
                    </a:lnTo>
                    <a:lnTo>
                      <a:pt x="741" y="1632"/>
                    </a:lnTo>
                    <a:lnTo>
                      <a:pt x="741" y="1632"/>
                    </a:lnTo>
                    <a:lnTo>
                      <a:pt x="776" y="1631"/>
                    </a:lnTo>
                    <a:lnTo>
                      <a:pt x="811" y="1628"/>
                    </a:lnTo>
                    <a:lnTo>
                      <a:pt x="843" y="1624"/>
                    </a:lnTo>
                    <a:lnTo>
                      <a:pt x="876" y="1619"/>
                    </a:lnTo>
                    <a:lnTo>
                      <a:pt x="907" y="1613"/>
                    </a:lnTo>
                    <a:lnTo>
                      <a:pt x="935" y="1605"/>
                    </a:lnTo>
                    <a:lnTo>
                      <a:pt x="962" y="1596"/>
                    </a:lnTo>
                    <a:lnTo>
                      <a:pt x="988" y="1585"/>
                    </a:lnTo>
                    <a:lnTo>
                      <a:pt x="1013" y="1574"/>
                    </a:lnTo>
                    <a:lnTo>
                      <a:pt x="1034" y="1561"/>
                    </a:lnTo>
                    <a:lnTo>
                      <a:pt x="1053" y="1548"/>
                    </a:lnTo>
                    <a:lnTo>
                      <a:pt x="1070" y="1534"/>
                    </a:lnTo>
                    <a:lnTo>
                      <a:pt x="1084" y="1518"/>
                    </a:lnTo>
                    <a:lnTo>
                      <a:pt x="1096" y="1502"/>
                    </a:lnTo>
                    <a:lnTo>
                      <a:pt x="1105" y="1486"/>
                    </a:lnTo>
                    <a:lnTo>
                      <a:pt x="1111" y="1469"/>
                    </a:lnTo>
                    <a:lnTo>
                      <a:pt x="1111" y="1469"/>
                    </a:lnTo>
                    <a:lnTo>
                      <a:pt x="1482" y="0"/>
                    </a:lnTo>
                    <a:lnTo>
                      <a:pt x="1481" y="0"/>
                    </a:lnTo>
                    <a:lnTo>
                      <a:pt x="1481" y="0"/>
                    </a:lnTo>
                    <a:lnTo>
                      <a:pt x="1481" y="0"/>
                    </a:lnTo>
                    <a:lnTo>
                      <a:pt x="1481" y="0"/>
                    </a:lnTo>
                    <a:close/>
                  </a:path>
                </a:pathLst>
              </a:custGeom>
              <a:gradFill rotWithShape="1">
                <a:gsLst>
                  <a:gs pos="0">
                    <a:srgbClr val="969696"/>
                  </a:gs>
                  <a:gs pos="50000">
                    <a:srgbClr val="969696">
                      <a:gamma/>
                      <a:tint val="0"/>
                      <a:invGamma/>
                    </a:srgbClr>
                  </a:gs>
                  <a:gs pos="100000">
                    <a:srgbClr val="969696"/>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20" name="Text Box 81"/>
            <p:cNvSpPr txBox="1">
              <a:spLocks noChangeArrowheads="1"/>
            </p:cNvSpPr>
            <p:nvPr/>
          </p:nvSpPr>
          <p:spPr bwMode="auto">
            <a:xfrm>
              <a:off x="1763713" y="3123406"/>
              <a:ext cx="1835150" cy="338137"/>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r>
                <a:rPr lang="zh-CN" altLang="en-US" sz="1600" b="1">
                  <a:solidFill>
                    <a:schemeClr val="bg2">
                      <a:lumMod val="75000"/>
                    </a:schemeClr>
                  </a:solidFill>
                  <a:latin typeface="微软雅黑" panose="020B0503020204020204" pitchFamily="34" charset="-122"/>
                  <a:ea typeface="微软雅黑" panose="020B0503020204020204" pitchFamily="34" charset="-122"/>
                </a:rPr>
                <a:t>填加内容</a:t>
              </a:r>
              <a:endParaRPr lang="en-US" altLang="ko-KR" sz="1600" b="1" dirty="0">
                <a:solidFill>
                  <a:schemeClr val="bg2">
                    <a:lumMod val="75000"/>
                  </a:schemeClr>
                </a:solidFill>
                <a:latin typeface="微软雅黑" panose="020B0503020204020204" pitchFamily="34" charset="-122"/>
                <a:ea typeface="微软雅黑" panose="020B0503020204020204" pitchFamily="34" charset="-122"/>
              </a:endParaRPr>
            </a:p>
          </p:txBody>
        </p:sp>
        <p:sp>
          <p:nvSpPr>
            <p:cNvPr id="22" name="Text Box 83"/>
            <p:cNvSpPr txBox="1">
              <a:spLocks noChangeArrowheads="1"/>
            </p:cNvSpPr>
            <p:nvPr/>
          </p:nvSpPr>
          <p:spPr bwMode="auto">
            <a:xfrm>
              <a:off x="2339976" y="1373981"/>
              <a:ext cx="971550" cy="246062"/>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zh-CN" altLang="en-US" sz="1000" b="1" dirty="0">
                  <a:latin typeface="微软雅黑" panose="020B0503020204020204" pitchFamily="34" charset="-122"/>
                  <a:ea typeface="微软雅黑" panose="020B0503020204020204" pitchFamily="34" charset="-122"/>
                </a:rPr>
                <a:t>填加文字</a:t>
              </a:r>
              <a:endParaRPr lang="en-US" altLang="ko-KR" sz="1000" b="1" dirty="0">
                <a:latin typeface="微软雅黑" panose="020B0503020204020204" pitchFamily="34" charset="-122"/>
                <a:ea typeface="微软雅黑" panose="020B0503020204020204" pitchFamily="34" charset="-122"/>
              </a:endParaRPr>
            </a:p>
          </p:txBody>
        </p:sp>
      </p:grpSp>
      <p:sp>
        <p:nvSpPr>
          <p:cNvPr id="24" name="AutoShape 85"/>
          <p:cNvSpPr>
            <a:spLocks noChangeArrowheads="1"/>
          </p:cNvSpPr>
          <p:nvPr/>
        </p:nvSpPr>
        <p:spPr bwMode="auto">
          <a:xfrm>
            <a:off x="5832476" y="832644"/>
            <a:ext cx="2627313" cy="3924300"/>
          </a:xfrm>
          <a:prstGeom prst="roundRect">
            <a:avLst>
              <a:gd name="adj" fmla="val 5528"/>
            </a:avLst>
          </a:prstGeom>
          <a:solidFill>
            <a:schemeClr val="tx1">
              <a:alpha val="10001"/>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6" name="Oval 87"/>
          <p:cNvSpPr>
            <a:spLocks noChangeArrowheads="1"/>
          </p:cNvSpPr>
          <p:nvPr/>
        </p:nvSpPr>
        <p:spPr bwMode="auto">
          <a:xfrm>
            <a:off x="5975351" y="1307307"/>
            <a:ext cx="392113" cy="134938"/>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27" name="Group 88"/>
          <p:cNvGrpSpPr/>
          <p:nvPr/>
        </p:nvGrpSpPr>
        <p:grpSpPr bwMode="auto">
          <a:xfrm>
            <a:off x="5975351" y="975519"/>
            <a:ext cx="407988" cy="407988"/>
            <a:chOff x="2335" y="1139"/>
            <a:chExt cx="1089" cy="1089"/>
          </a:xfrm>
        </p:grpSpPr>
        <p:sp>
          <p:nvSpPr>
            <p:cNvPr id="38" name="Oval 89"/>
            <p:cNvSpPr>
              <a:spLocks noChangeArrowheads="1"/>
            </p:cNvSpPr>
            <p:nvPr/>
          </p:nvSpPr>
          <p:spPr bwMode="auto">
            <a:xfrm>
              <a:off x="2335" y="1139"/>
              <a:ext cx="1089" cy="1089"/>
            </a:xfrm>
            <a:prstGeom prst="ellipse">
              <a:avLst/>
            </a:prstGeom>
            <a:solidFill>
              <a:srgbClr val="03A550"/>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39" name="Group 90"/>
            <p:cNvGrpSpPr/>
            <p:nvPr/>
          </p:nvGrpSpPr>
          <p:grpSpPr bwMode="auto">
            <a:xfrm>
              <a:off x="2426" y="1169"/>
              <a:ext cx="908" cy="296"/>
              <a:chOff x="1431" y="1843"/>
              <a:chExt cx="907" cy="295"/>
            </a:xfrm>
          </p:grpSpPr>
          <p:sp>
            <p:nvSpPr>
              <p:cNvPr id="40" name="Freeform 91"/>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1" name="Oval 92"/>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28" name="Oval 93"/>
          <p:cNvSpPr>
            <a:spLocks noChangeArrowheads="1"/>
          </p:cNvSpPr>
          <p:nvPr/>
        </p:nvSpPr>
        <p:spPr bwMode="auto">
          <a:xfrm>
            <a:off x="5975351" y="3648869"/>
            <a:ext cx="392113" cy="134938"/>
          </a:xfrm>
          <a:prstGeom prst="ellipse">
            <a:avLst/>
          </a:prstGeom>
          <a:gradFill rotWithShape="1">
            <a:gsLst>
              <a:gs pos="0">
                <a:schemeClr val="tx1">
                  <a:alpha val="50000"/>
                </a:schemeClr>
              </a:gs>
              <a:gs pos="100000">
                <a:schemeClr val="tx1">
                  <a:gamma/>
                  <a:shade val="46275"/>
                  <a:invGamma/>
                  <a:alpha val="0"/>
                </a:schemeClr>
              </a:gs>
            </a:gsLst>
            <a:path path="shape">
              <a:fillToRect l="50000" t="50000" r="50000" b="50000"/>
            </a:path>
          </a:gradFill>
          <a:ln>
            <a:noFill/>
          </a:ln>
          <a:effectLst/>
          <a:extLst>
            <a:ext uri="{91240B29-F687-4F45-9708-019B960494DF}">
              <a14:hiddenLine xmlns:a14="http://schemas.microsoft.com/office/drawing/2010/main" w="31750">
                <a:solidFill>
                  <a:srgbClr val="9E9E9E"/>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29" name="Group 94"/>
          <p:cNvGrpSpPr/>
          <p:nvPr/>
        </p:nvGrpSpPr>
        <p:grpSpPr bwMode="auto">
          <a:xfrm>
            <a:off x="5975351" y="2082007"/>
            <a:ext cx="407988" cy="407988"/>
            <a:chOff x="2335" y="1139"/>
            <a:chExt cx="1089" cy="1089"/>
          </a:xfrm>
        </p:grpSpPr>
        <p:sp>
          <p:nvSpPr>
            <p:cNvPr id="34" name="Oval 95"/>
            <p:cNvSpPr>
              <a:spLocks noChangeArrowheads="1"/>
            </p:cNvSpPr>
            <p:nvPr/>
          </p:nvSpPr>
          <p:spPr bwMode="auto">
            <a:xfrm>
              <a:off x="2335" y="1139"/>
              <a:ext cx="1089" cy="1089"/>
            </a:xfrm>
            <a:prstGeom prst="ellipse">
              <a:avLst/>
            </a:prstGeom>
            <a:gradFill rotWithShape="1">
              <a:gsLst>
                <a:gs pos="0">
                  <a:schemeClr val="bg1">
                    <a:lumMod val="85000"/>
                  </a:schemeClr>
                </a:gs>
                <a:gs pos="100000">
                  <a:schemeClr val="bg1">
                    <a:lumMod val="50000"/>
                  </a:scheme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35" name="Group 96"/>
            <p:cNvGrpSpPr/>
            <p:nvPr/>
          </p:nvGrpSpPr>
          <p:grpSpPr bwMode="auto">
            <a:xfrm>
              <a:off x="2426" y="1169"/>
              <a:ext cx="908" cy="296"/>
              <a:chOff x="1431" y="1843"/>
              <a:chExt cx="907" cy="295"/>
            </a:xfrm>
          </p:grpSpPr>
          <p:sp>
            <p:nvSpPr>
              <p:cNvPr id="36" name="Freeform 97"/>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7" name="Oval 98"/>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grpSp>
        <p:nvGrpSpPr>
          <p:cNvPr id="30" name="Group 99"/>
          <p:cNvGrpSpPr/>
          <p:nvPr/>
        </p:nvGrpSpPr>
        <p:grpSpPr bwMode="auto">
          <a:xfrm>
            <a:off x="5976939" y="3425032"/>
            <a:ext cx="392113" cy="539750"/>
            <a:chOff x="3765" y="1911"/>
            <a:chExt cx="247" cy="340"/>
          </a:xfrm>
        </p:grpSpPr>
        <p:sp>
          <p:nvSpPr>
            <p:cNvPr id="31" name="Freeform 100"/>
            <p:cNvSpPr/>
            <p:nvPr/>
          </p:nvSpPr>
          <p:spPr bwMode="auto">
            <a:xfrm>
              <a:off x="3765" y="1911"/>
              <a:ext cx="247" cy="340"/>
            </a:xfrm>
            <a:custGeom>
              <a:avLst/>
              <a:gdLst>
                <a:gd name="T0" fmla="*/ 1492 w 1492"/>
                <a:gd name="T1" fmla="*/ 373 h 2052"/>
                <a:gd name="T2" fmla="*/ 1488 w 1492"/>
                <a:gd name="T3" fmla="*/ 336 h 2052"/>
                <a:gd name="T4" fmla="*/ 1476 w 1492"/>
                <a:gd name="T5" fmla="*/ 298 h 2052"/>
                <a:gd name="T6" fmla="*/ 1458 w 1492"/>
                <a:gd name="T7" fmla="*/ 262 h 2052"/>
                <a:gd name="T8" fmla="*/ 1434 w 1492"/>
                <a:gd name="T9" fmla="*/ 228 h 2052"/>
                <a:gd name="T10" fmla="*/ 1401 w 1492"/>
                <a:gd name="T11" fmla="*/ 196 h 2052"/>
                <a:gd name="T12" fmla="*/ 1365 w 1492"/>
                <a:gd name="T13" fmla="*/ 165 h 2052"/>
                <a:gd name="T14" fmla="*/ 1321 w 1492"/>
                <a:gd name="T15" fmla="*/ 136 h 2052"/>
                <a:gd name="T16" fmla="*/ 1273 w 1492"/>
                <a:gd name="T17" fmla="*/ 109 h 2052"/>
                <a:gd name="T18" fmla="*/ 1220 w 1492"/>
                <a:gd name="T19" fmla="*/ 86 h 2052"/>
                <a:gd name="T20" fmla="*/ 1163 w 1492"/>
                <a:gd name="T21" fmla="*/ 63 h 2052"/>
                <a:gd name="T22" fmla="*/ 1102 w 1492"/>
                <a:gd name="T23" fmla="*/ 45 h 2052"/>
                <a:gd name="T24" fmla="*/ 1036 w 1492"/>
                <a:gd name="T25" fmla="*/ 30 h 2052"/>
                <a:gd name="T26" fmla="*/ 967 w 1492"/>
                <a:gd name="T27" fmla="*/ 17 h 2052"/>
                <a:gd name="T28" fmla="*/ 896 w 1492"/>
                <a:gd name="T29" fmla="*/ 8 h 2052"/>
                <a:gd name="T30" fmla="*/ 822 w 1492"/>
                <a:gd name="T31" fmla="*/ 1 h 2052"/>
                <a:gd name="T32" fmla="*/ 746 w 1492"/>
                <a:gd name="T33" fmla="*/ 0 h 2052"/>
                <a:gd name="T34" fmla="*/ 707 w 1492"/>
                <a:gd name="T35" fmla="*/ 0 h 2052"/>
                <a:gd name="T36" fmla="*/ 632 w 1492"/>
                <a:gd name="T37" fmla="*/ 4 h 2052"/>
                <a:gd name="T38" fmla="*/ 560 w 1492"/>
                <a:gd name="T39" fmla="*/ 12 h 2052"/>
                <a:gd name="T40" fmla="*/ 490 w 1492"/>
                <a:gd name="T41" fmla="*/ 22 h 2052"/>
                <a:gd name="T42" fmla="*/ 422 w 1492"/>
                <a:gd name="T43" fmla="*/ 36 h 2052"/>
                <a:gd name="T44" fmla="*/ 359 w 1492"/>
                <a:gd name="T45" fmla="*/ 54 h 2052"/>
                <a:gd name="T46" fmla="*/ 299 w 1492"/>
                <a:gd name="T47" fmla="*/ 74 h 2052"/>
                <a:gd name="T48" fmla="*/ 245 w 1492"/>
                <a:gd name="T49" fmla="*/ 97 h 2052"/>
                <a:gd name="T50" fmla="*/ 194 w 1492"/>
                <a:gd name="T51" fmla="*/ 122 h 2052"/>
                <a:gd name="T52" fmla="*/ 148 w 1492"/>
                <a:gd name="T53" fmla="*/ 150 h 2052"/>
                <a:gd name="T54" fmla="*/ 107 w 1492"/>
                <a:gd name="T55" fmla="*/ 180 h 2052"/>
                <a:gd name="T56" fmla="*/ 74 w 1492"/>
                <a:gd name="T57" fmla="*/ 211 h 2052"/>
                <a:gd name="T58" fmla="*/ 45 w 1492"/>
                <a:gd name="T59" fmla="*/ 245 h 2052"/>
                <a:gd name="T60" fmla="*/ 23 w 1492"/>
                <a:gd name="T61" fmla="*/ 280 h 2052"/>
                <a:gd name="T62" fmla="*/ 9 w 1492"/>
                <a:gd name="T63" fmla="*/ 316 h 2052"/>
                <a:gd name="T64" fmla="*/ 1 w 1492"/>
                <a:gd name="T65" fmla="*/ 354 h 2052"/>
                <a:gd name="T66" fmla="*/ 0 w 1492"/>
                <a:gd name="T67" fmla="*/ 373 h 2052"/>
                <a:gd name="T68" fmla="*/ 6 w 1492"/>
                <a:gd name="T69" fmla="*/ 420 h 2052"/>
                <a:gd name="T70" fmla="*/ 376 w 1492"/>
                <a:gd name="T71" fmla="*/ 1889 h 2052"/>
                <a:gd name="T72" fmla="*/ 376 w 1492"/>
                <a:gd name="T73" fmla="*/ 1889 h 2052"/>
                <a:gd name="T74" fmla="*/ 391 w 1492"/>
                <a:gd name="T75" fmla="*/ 1922 h 2052"/>
                <a:gd name="T76" fmla="*/ 417 w 1492"/>
                <a:gd name="T77" fmla="*/ 1954 h 2052"/>
                <a:gd name="T78" fmla="*/ 453 w 1492"/>
                <a:gd name="T79" fmla="*/ 1981 h 2052"/>
                <a:gd name="T80" fmla="*/ 499 w 1492"/>
                <a:gd name="T81" fmla="*/ 2005 h 2052"/>
                <a:gd name="T82" fmla="*/ 552 w 1492"/>
                <a:gd name="T83" fmla="*/ 2025 h 2052"/>
                <a:gd name="T84" fmla="*/ 611 w 1492"/>
                <a:gd name="T85" fmla="*/ 2039 h 2052"/>
                <a:gd name="T86" fmla="*/ 676 w 1492"/>
                <a:gd name="T87" fmla="*/ 2048 h 2052"/>
                <a:gd name="T88" fmla="*/ 746 w 1492"/>
                <a:gd name="T89" fmla="*/ 2052 h 2052"/>
                <a:gd name="T90" fmla="*/ 781 w 1492"/>
                <a:gd name="T91" fmla="*/ 2051 h 2052"/>
                <a:gd name="T92" fmla="*/ 848 w 1492"/>
                <a:gd name="T93" fmla="*/ 2044 h 2052"/>
                <a:gd name="T94" fmla="*/ 912 w 1492"/>
                <a:gd name="T95" fmla="*/ 2033 h 2052"/>
                <a:gd name="T96" fmla="*/ 967 w 1492"/>
                <a:gd name="T97" fmla="*/ 2016 h 2052"/>
                <a:gd name="T98" fmla="*/ 1018 w 1492"/>
                <a:gd name="T99" fmla="*/ 1994 h 2052"/>
                <a:gd name="T100" fmla="*/ 1058 w 1492"/>
                <a:gd name="T101" fmla="*/ 1968 h 2052"/>
                <a:gd name="T102" fmla="*/ 1089 w 1492"/>
                <a:gd name="T103" fmla="*/ 1938 h 2052"/>
                <a:gd name="T104" fmla="*/ 1110 w 1492"/>
                <a:gd name="T105" fmla="*/ 1906 h 2052"/>
                <a:gd name="T106" fmla="*/ 1116 w 1492"/>
                <a:gd name="T107" fmla="*/ 1889 h 2052"/>
                <a:gd name="T108" fmla="*/ 1486 w 1492"/>
                <a:gd name="T109" fmla="*/ 420 h 2052"/>
                <a:gd name="T110" fmla="*/ 1491 w 1492"/>
                <a:gd name="T111" fmla="*/ 396 h 2052"/>
                <a:gd name="T112" fmla="*/ 1492 w 1492"/>
                <a:gd name="T113" fmla="*/ 373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92" h="2052">
                  <a:moveTo>
                    <a:pt x="1492" y="373"/>
                  </a:moveTo>
                  <a:lnTo>
                    <a:pt x="1492" y="373"/>
                  </a:lnTo>
                  <a:lnTo>
                    <a:pt x="1491" y="354"/>
                  </a:lnTo>
                  <a:lnTo>
                    <a:pt x="1488" y="336"/>
                  </a:lnTo>
                  <a:lnTo>
                    <a:pt x="1483" y="316"/>
                  </a:lnTo>
                  <a:lnTo>
                    <a:pt x="1476" y="298"/>
                  </a:lnTo>
                  <a:lnTo>
                    <a:pt x="1469" y="280"/>
                  </a:lnTo>
                  <a:lnTo>
                    <a:pt x="1458" y="262"/>
                  </a:lnTo>
                  <a:lnTo>
                    <a:pt x="1447" y="245"/>
                  </a:lnTo>
                  <a:lnTo>
                    <a:pt x="1434" y="228"/>
                  </a:lnTo>
                  <a:lnTo>
                    <a:pt x="1418" y="211"/>
                  </a:lnTo>
                  <a:lnTo>
                    <a:pt x="1401" y="196"/>
                  </a:lnTo>
                  <a:lnTo>
                    <a:pt x="1385" y="180"/>
                  </a:lnTo>
                  <a:lnTo>
                    <a:pt x="1365" y="165"/>
                  </a:lnTo>
                  <a:lnTo>
                    <a:pt x="1344" y="150"/>
                  </a:lnTo>
                  <a:lnTo>
                    <a:pt x="1321" y="136"/>
                  </a:lnTo>
                  <a:lnTo>
                    <a:pt x="1298" y="122"/>
                  </a:lnTo>
                  <a:lnTo>
                    <a:pt x="1273" y="109"/>
                  </a:lnTo>
                  <a:lnTo>
                    <a:pt x="1247" y="97"/>
                  </a:lnTo>
                  <a:lnTo>
                    <a:pt x="1220" y="86"/>
                  </a:lnTo>
                  <a:lnTo>
                    <a:pt x="1193" y="74"/>
                  </a:lnTo>
                  <a:lnTo>
                    <a:pt x="1163" y="63"/>
                  </a:lnTo>
                  <a:lnTo>
                    <a:pt x="1133" y="54"/>
                  </a:lnTo>
                  <a:lnTo>
                    <a:pt x="1102" y="45"/>
                  </a:lnTo>
                  <a:lnTo>
                    <a:pt x="1070" y="36"/>
                  </a:lnTo>
                  <a:lnTo>
                    <a:pt x="1036" y="30"/>
                  </a:lnTo>
                  <a:lnTo>
                    <a:pt x="1002" y="22"/>
                  </a:lnTo>
                  <a:lnTo>
                    <a:pt x="967" y="17"/>
                  </a:lnTo>
                  <a:lnTo>
                    <a:pt x="933" y="12"/>
                  </a:lnTo>
                  <a:lnTo>
                    <a:pt x="896" y="8"/>
                  </a:lnTo>
                  <a:lnTo>
                    <a:pt x="860" y="4"/>
                  </a:lnTo>
                  <a:lnTo>
                    <a:pt x="822" y="1"/>
                  </a:lnTo>
                  <a:lnTo>
                    <a:pt x="785" y="0"/>
                  </a:lnTo>
                  <a:lnTo>
                    <a:pt x="746" y="0"/>
                  </a:lnTo>
                  <a:lnTo>
                    <a:pt x="746" y="0"/>
                  </a:lnTo>
                  <a:lnTo>
                    <a:pt x="707" y="0"/>
                  </a:lnTo>
                  <a:lnTo>
                    <a:pt x="670" y="1"/>
                  </a:lnTo>
                  <a:lnTo>
                    <a:pt x="632" y="4"/>
                  </a:lnTo>
                  <a:lnTo>
                    <a:pt x="596" y="8"/>
                  </a:lnTo>
                  <a:lnTo>
                    <a:pt x="560" y="12"/>
                  </a:lnTo>
                  <a:lnTo>
                    <a:pt x="525" y="17"/>
                  </a:lnTo>
                  <a:lnTo>
                    <a:pt x="490" y="22"/>
                  </a:lnTo>
                  <a:lnTo>
                    <a:pt x="456" y="30"/>
                  </a:lnTo>
                  <a:lnTo>
                    <a:pt x="422" y="36"/>
                  </a:lnTo>
                  <a:lnTo>
                    <a:pt x="390" y="45"/>
                  </a:lnTo>
                  <a:lnTo>
                    <a:pt x="359" y="54"/>
                  </a:lnTo>
                  <a:lnTo>
                    <a:pt x="329" y="63"/>
                  </a:lnTo>
                  <a:lnTo>
                    <a:pt x="299" y="74"/>
                  </a:lnTo>
                  <a:lnTo>
                    <a:pt x="272" y="86"/>
                  </a:lnTo>
                  <a:lnTo>
                    <a:pt x="245" y="97"/>
                  </a:lnTo>
                  <a:lnTo>
                    <a:pt x="219" y="109"/>
                  </a:lnTo>
                  <a:lnTo>
                    <a:pt x="194" y="122"/>
                  </a:lnTo>
                  <a:lnTo>
                    <a:pt x="171" y="136"/>
                  </a:lnTo>
                  <a:lnTo>
                    <a:pt x="148" y="150"/>
                  </a:lnTo>
                  <a:lnTo>
                    <a:pt x="127" y="165"/>
                  </a:lnTo>
                  <a:lnTo>
                    <a:pt x="107" y="180"/>
                  </a:lnTo>
                  <a:lnTo>
                    <a:pt x="91" y="196"/>
                  </a:lnTo>
                  <a:lnTo>
                    <a:pt x="74" y="211"/>
                  </a:lnTo>
                  <a:lnTo>
                    <a:pt x="58" y="228"/>
                  </a:lnTo>
                  <a:lnTo>
                    <a:pt x="45" y="245"/>
                  </a:lnTo>
                  <a:lnTo>
                    <a:pt x="34" y="262"/>
                  </a:lnTo>
                  <a:lnTo>
                    <a:pt x="23" y="280"/>
                  </a:lnTo>
                  <a:lnTo>
                    <a:pt x="16" y="298"/>
                  </a:lnTo>
                  <a:lnTo>
                    <a:pt x="9" y="316"/>
                  </a:lnTo>
                  <a:lnTo>
                    <a:pt x="4" y="336"/>
                  </a:lnTo>
                  <a:lnTo>
                    <a:pt x="1" y="354"/>
                  </a:lnTo>
                  <a:lnTo>
                    <a:pt x="0" y="373"/>
                  </a:lnTo>
                  <a:lnTo>
                    <a:pt x="0" y="373"/>
                  </a:lnTo>
                  <a:lnTo>
                    <a:pt x="1" y="396"/>
                  </a:lnTo>
                  <a:lnTo>
                    <a:pt x="6" y="420"/>
                  </a:lnTo>
                  <a:lnTo>
                    <a:pt x="5" y="420"/>
                  </a:lnTo>
                  <a:lnTo>
                    <a:pt x="376" y="1889"/>
                  </a:lnTo>
                  <a:lnTo>
                    <a:pt x="376" y="1889"/>
                  </a:lnTo>
                  <a:lnTo>
                    <a:pt x="376" y="1889"/>
                  </a:lnTo>
                  <a:lnTo>
                    <a:pt x="382" y="1906"/>
                  </a:lnTo>
                  <a:lnTo>
                    <a:pt x="391" y="1922"/>
                  </a:lnTo>
                  <a:lnTo>
                    <a:pt x="403" y="1938"/>
                  </a:lnTo>
                  <a:lnTo>
                    <a:pt x="417" y="1954"/>
                  </a:lnTo>
                  <a:lnTo>
                    <a:pt x="434" y="1968"/>
                  </a:lnTo>
                  <a:lnTo>
                    <a:pt x="453" y="1981"/>
                  </a:lnTo>
                  <a:lnTo>
                    <a:pt x="474" y="1994"/>
                  </a:lnTo>
                  <a:lnTo>
                    <a:pt x="499" y="2005"/>
                  </a:lnTo>
                  <a:lnTo>
                    <a:pt x="525" y="2016"/>
                  </a:lnTo>
                  <a:lnTo>
                    <a:pt x="552" y="2025"/>
                  </a:lnTo>
                  <a:lnTo>
                    <a:pt x="580" y="2033"/>
                  </a:lnTo>
                  <a:lnTo>
                    <a:pt x="611" y="2039"/>
                  </a:lnTo>
                  <a:lnTo>
                    <a:pt x="644" y="2044"/>
                  </a:lnTo>
                  <a:lnTo>
                    <a:pt x="676" y="2048"/>
                  </a:lnTo>
                  <a:lnTo>
                    <a:pt x="711" y="2051"/>
                  </a:lnTo>
                  <a:lnTo>
                    <a:pt x="746" y="2052"/>
                  </a:lnTo>
                  <a:lnTo>
                    <a:pt x="746" y="2052"/>
                  </a:lnTo>
                  <a:lnTo>
                    <a:pt x="781" y="2051"/>
                  </a:lnTo>
                  <a:lnTo>
                    <a:pt x="816" y="2048"/>
                  </a:lnTo>
                  <a:lnTo>
                    <a:pt x="848" y="2044"/>
                  </a:lnTo>
                  <a:lnTo>
                    <a:pt x="881" y="2039"/>
                  </a:lnTo>
                  <a:lnTo>
                    <a:pt x="912" y="2033"/>
                  </a:lnTo>
                  <a:lnTo>
                    <a:pt x="940" y="2025"/>
                  </a:lnTo>
                  <a:lnTo>
                    <a:pt x="967" y="2016"/>
                  </a:lnTo>
                  <a:lnTo>
                    <a:pt x="993" y="2005"/>
                  </a:lnTo>
                  <a:lnTo>
                    <a:pt x="1018" y="1994"/>
                  </a:lnTo>
                  <a:lnTo>
                    <a:pt x="1039" y="1981"/>
                  </a:lnTo>
                  <a:lnTo>
                    <a:pt x="1058" y="1968"/>
                  </a:lnTo>
                  <a:lnTo>
                    <a:pt x="1075" y="1954"/>
                  </a:lnTo>
                  <a:lnTo>
                    <a:pt x="1089" y="1938"/>
                  </a:lnTo>
                  <a:lnTo>
                    <a:pt x="1101" y="1922"/>
                  </a:lnTo>
                  <a:lnTo>
                    <a:pt x="1110" y="1906"/>
                  </a:lnTo>
                  <a:lnTo>
                    <a:pt x="1116" y="1889"/>
                  </a:lnTo>
                  <a:lnTo>
                    <a:pt x="1116" y="1889"/>
                  </a:lnTo>
                  <a:lnTo>
                    <a:pt x="1487" y="420"/>
                  </a:lnTo>
                  <a:lnTo>
                    <a:pt x="1486" y="420"/>
                  </a:lnTo>
                  <a:lnTo>
                    <a:pt x="1486" y="420"/>
                  </a:lnTo>
                  <a:lnTo>
                    <a:pt x="1491" y="396"/>
                  </a:lnTo>
                  <a:lnTo>
                    <a:pt x="1492" y="373"/>
                  </a:lnTo>
                  <a:lnTo>
                    <a:pt x="1492" y="373"/>
                  </a:lnTo>
                  <a:close/>
                </a:path>
              </a:pathLst>
            </a:custGeom>
            <a:gradFill rotWithShape="1">
              <a:gsLst>
                <a:gs pos="0">
                  <a:srgbClr val="969696"/>
                </a:gs>
                <a:gs pos="50000">
                  <a:srgbClr val="969696">
                    <a:gamma/>
                    <a:tint val="0"/>
                    <a:invGamma/>
                  </a:srgbClr>
                </a:gs>
                <a:gs pos="100000">
                  <a:srgbClr val="969696"/>
                </a:gs>
              </a:gsLst>
              <a:lin ang="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32" name="Freeform 101"/>
            <p:cNvSpPr>
              <a:spLocks noEditPoints="1"/>
            </p:cNvSpPr>
            <p:nvPr/>
          </p:nvSpPr>
          <p:spPr bwMode="auto">
            <a:xfrm>
              <a:off x="3765" y="1911"/>
              <a:ext cx="247" cy="124"/>
            </a:xfrm>
            <a:custGeom>
              <a:avLst/>
              <a:gdLst>
                <a:gd name="T0" fmla="*/ 632 w 1492"/>
                <a:gd name="T1" fmla="*/ 4 h 746"/>
                <a:gd name="T2" fmla="*/ 456 w 1492"/>
                <a:gd name="T3" fmla="*/ 30 h 746"/>
                <a:gd name="T4" fmla="*/ 299 w 1492"/>
                <a:gd name="T5" fmla="*/ 74 h 746"/>
                <a:gd name="T6" fmla="*/ 171 w 1492"/>
                <a:gd name="T7" fmla="*/ 136 h 746"/>
                <a:gd name="T8" fmla="*/ 74 w 1492"/>
                <a:gd name="T9" fmla="*/ 211 h 746"/>
                <a:gd name="T10" fmla="*/ 16 w 1492"/>
                <a:gd name="T11" fmla="*/ 298 h 746"/>
                <a:gd name="T12" fmla="*/ 0 w 1492"/>
                <a:gd name="T13" fmla="*/ 373 h 746"/>
                <a:gd name="T14" fmla="*/ 23 w 1492"/>
                <a:gd name="T15" fmla="*/ 466 h 746"/>
                <a:gd name="T16" fmla="*/ 91 w 1492"/>
                <a:gd name="T17" fmla="*/ 551 h 746"/>
                <a:gd name="T18" fmla="*/ 194 w 1492"/>
                <a:gd name="T19" fmla="*/ 624 h 746"/>
                <a:gd name="T20" fmla="*/ 329 w 1492"/>
                <a:gd name="T21" fmla="*/ 683 h 746"/>
                <a:gd name="T22" fmla="*/ 490 w 1492"/>
                <a:gd name="T23" fmla="*/ 724 h 746"/>
                <a:gd name="T24" fmla="*/ 670 w 1492"/>
                <a:gd name="T25" fmla="*/ 745 h 746"/>
                <a:gd name="T26" fmla="*/ 822 w 1492"/>
                <a:gd name="T27" fmla="*/ 745 h 746"/>
                <a:gd name="T28" fmla="*/ 1002 w 1492"/>
                <a:gd name="T29" fmla="*/ 724 h 746"/>
                <a:gd name="T30" fmla="*/ 1163 w 1492"/>
                <a:gd name="T31" fmla="*/ 683 h 746"/>
                <a:gd name="T32" fmla="*/ 1298 w 1492"/>
                <a:gd name="T33" fmla="*/ 624 h 746"/>
                <a:gd name="T34" fmla="*/ 1401 w 1492"/>
                <a:gd name="T35" fmla="*/ 551 h 746"/>
                <a:gd name="T36" fmla="*/ 1469 w 1492"/>
                <a:gd name="T37" fmla="*/ 466 h 746"/>
                <a:gd name="T38" fmla="*/ 1492 w 1492"/>
                <a:gd name="T39" fmla="*/ 373 h 746"/>
                <a:gd name="T40" fmla="*/ 1476 w 1492"/>
                <a:gd name="T41" fmla="*/ 298 h 746"/>
                <a:gd name="T42" fmla="*/ 1418 w 1492"/>
                <a:gd name="T43" fmla="*/ 211 h 746"/>
                <a:gd name="T44" fmla="*/ 1321 w 1492"/>
                <a:gd name="T45" fmla="*/ 136 h 746"/>
                <a:gd name="T46" fmla="*/ 1193 w 1492"/>
                <a:gd name="T47" fmla="*/ 74 h 746"/>
                <a:gd name="T48" fmla="*/ 1036 w 1492"/>
                <a:gd name="T49" fmla="*/ 30 h 746"/>
                <a:gd name="T50" fmla="*/ 860 w 1492"/>
                <a:gd name="T51" fmla="*/ 4 h 746"/>
                <a:gd name="T52" fmla="*/ 746 w 1492"/>
                <a:gd name="T53" fmla="*/ 723 h 746"/>
                <a:gd name="T54" fmla="*/ 605 w 1492"/>
                <a:gd name="T55" fmla="*/ 716 h 746"/>
                <a:gd name="T56" fmla="*/ 443 w 1492"/>
                <a:gd name="T57" fmla="*/ 689 h 746"/>
                <a:gd name="T58" fmla="*/ 302 w 1492"/>
                <a:gd name="T59" fmla="*/ 644 h 746"/>
                <a:gd name="T60" fmla="*/ 185 w 1492"/>
                <a:gd name="T61" fmla="*/ 583 h 746"/>
                <a:gd name="T62" fmla="*/ 101 w 1492"/>
                <a:gd name="T63" fmla="*/ 509 h 746"/>
                <a:gd name="T64" fmla="*/ 54 w 1492"/>
                <a:gd name="T65" fmla="*/ 426 h 746"/>
                <a:gd name="T66" fmla="*/ 48 w 1492"/>
                <a:gd name="T67" fmla="*/ 355 h 746"/>
                <a:gd name="T68" fmla="*/ 78 w 1492"/>
                <a:gd name="T69" fmla="*/ 269 h 746"/>
                <a:gd name="T70" fmla="*/ 148 w 1492"/>
                <a:gd name="T71" fmla="*/ 192 h 746"/>
                <a:gd name="T72" fmla="*/ 251 w 1492"/>
                <a:gd name="T73" fmla="*/ 126 h 746"/>
                <a:gd name="T74" fmla="*/ 383 w 1492"/>
                <a:gd name="T75" fmla="*/ 74 h 746"/>
                <a:gd name="T76" fmla="*/ 537 w 1492"/>
                <a:gd name="T77" fmla="*/ 39 h 746"/>
                <a:gd name="T78" fmla="*/ 710 w 1492"/>
                <a:gd name="T79" fmla="*/ 23 h 746"/>
                <a:gd name="T80" fmla="*/ 852 w 1492"/>
                <a:gd name="T81" fmla="*/ 27 h 746"/>
                <a:gd name="T82" fmla="*/ 1018 w 1492"/>
                <a:gd name="T83" fmla="*/ 51 h 746"/>
                <a:gd name="T84" fmla="*/ 1164 w 1492"/>
                <a:gd name="T85" fmla="*/ 92 h 746"/>
                <a:gd name="T86" fmla="*/ 1286 w 1492"/>
                <a:gd name="T87" fmla="*/ 150 h 746"/>
                <a:gd name="T88" fmla="*/ 1377 w 1492"/>
                <a:gd name="T89" fmla="*/ 222 h 746"/>
                <a:gd name="T90" fmla="*/ 1431 w 1492"/>
                <a:gd name="T91" fmla="*/ 302 h 746"/>
                <a:gd name="T92" fmla="*/ 1445 w 1492"/>
                <a:gd name="T93" fmla="*/ 373 h 746"/>
                <a:gd name="T94" fmla="*/ 1423 w 1492"/>
                <a:gd name="T95" fmla="*/ 461 h 746"/>
                <a:gd name="T96" fmla="*/ 1361 w 1492"/>
                <a:gd name="T97" fmla="*/ 540 h 746"/>
                <a:gd name="T98" fmla="*/ 1264 w 1492"/>
                <a:gd name="T99" fmla="*/ 609 h 746"/>
                <a:gd name="T100" fmla="*/ 1137 w 1492"/>
                <a:gd name="T101" fmla="*/ 663 h 746"/>
                <a:gd name="T102" fmla="*/ 987 w 1492"/>
                <a:gd name="T103" fmla="*/ 702 h 746"/>
                <a:gd name="T104" fmla="*/ 817 w 1492"/>
                <a:gd name="T105" fmla="*/ 72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2" h="746">
                  <a:moveTo>
                    <a:pt x="746" y="0"/>
                  </a:moveTo>
                  <a:lnTo>
                    <a:pt x="746" y="0"/>
                  </a:lnTo>
                  <a:lnTo>
                    <a:pt x="707" y="0"/>
                  </a:lnTo>
                  <a:lnTo>
                    <a:pt x="670" y="1"/>
                  </a:lnTo>
                  <a:lnTo>
                    <a:pt x="632" y="4"/>
                  </a:lnTo>
                  <a:lnTo>
                    <a:pt x="596" y="8"/>
                  </a:lnTo>
                  <a:lnTo>
                    <a:pt x="560" y="12"/>
                  </a:lnTo>
                  <a:lnTo>
                    <a:pt x="525" y="17"/>
                  </a:lnTo>
                  <a:lnTo>
                    <a:pt x="490" y="22"/>
                  </a:lnTo>
                  <a:lnTo>
                    <a:pt x="456" y="30"/>
                  </a:lnTo>
                  <a:lnTo>
                    <a:pt x="422" y="36"/>
                  </a:lnTo>
                  <a:lnTo>
                    <a:pt x="390" y="45"/>
                  </a:lnTo>
                  <a:lnTo>
                    <a:pt x="359" y="54"/>
                  </a:lnTo>
                  <a:lnTo>
                    <a:pt x="329" y="63"/>
                  </a:lnTo>
                  <a:lnTo>
                    <a:pt x="299" y="74"/>
                  </a:lnTo>
                  <a:lnTo>
                    <a:pt x="272" y="86"/>
                  </a:lnTo>
                  <a:lnTo>
                    <a:pt x="245" y="97"/>
                  </a:lnTo>
                  <a:lnTo>
                    <a:pt x="219" y="109"/>
                  </a:lnTo>
                  <a:lnTo>
                    <a:pt x="194" y="122"/>
                  </a:lnTo>
                  <a:lnTo>
                    <a:pt x="171" y="136"/>
                  </a:lnTo>
                  <a:lnTo>
                    <a:pt x="148" y="150"/>
                  </a:lnTo>
                  <a:lnTo>
                    <a:pt x="127" y="165"/>
                  </a:lnTo>
                  <a:lnTo>
                    <a:pt x="107" y="180"/>
                  </a:lnTo>
                  <a:lnTo>
                    <a:pt x="91" y="196"/>
                  </a:lnTo>
                  <a:lnTo>
                    <a:pt x="74" y="211"/>
                  </a:lnTo>
                  <a:lnTo>
                    <a:pt x="58" y="228"/>
                  </a:lnTo>
                  <a:lnTo>
                    <a:pt x="45" y="245"/>
                  </a:lnTo>
                  <a:lnTo>
                    <a:pt x="34" y="262"/>
                  </a:lnTo>
                  <a:lnTo>
                    <a:pt x="23" y="280"/>
                  </a:lnTo>
                  <a:lnTo>
                    <a:pt x="16" y="298"/>
                  </a:lnTo>
                  <a:lnTo>
                    <a:pt x="9" y="316"/>
                  </a:lnTo>
                  <a:lnTo>
                    <a:pt x="4" y="336"/>
                  </a:lnTo>
                  <a:lnTo>
                    <a:pt x="1" y="354"/>
                  </a:lnTo>
                  <a:lnTo>
                    <a:pt x="0" y="373"/>
                  </a:lnTo>
                  <a:lnTo>
                    <a:pt x="0" y="373"/>
                  </a:lnTo>
                  <a:lnTo>
                    <a:pt x="1" y="393"/>
                  </a:lnTo>
                  <a:lnTo>
                    <a:pt x="4" y="411"/>
                  </a:lnTo>
                  <a:lnTo>
                    <a:pt x="9" y="430"/>
                  </a:lnTo>
                  <a:lnTo>
                    <a:pt x="16" y="448"/>
                  </a:lnTo>
                  <a:lnTo>
                    <a:pt x="23" y="466"/>
                  </a:lnTo>
                  <a:lnTo>
                    <a:pt x="34" y="485"/>
                  </a:lnTo>
                  <a:lnTo>
                    <a:pt x="45" y="501"/>
                  </a:lnTo>
                  <a:lnTo>
                    <a:pt x="58" y="518"/>
                  </a:lnTo>
                  <a:lnTo>
                    <a:pt x="74" y="535"/>
                  </a:lnTo>
                  <a:lnTo>
                    <a:pt x="91" y="551"/>
                  </a:lnTo>
                  <a:lnTo>
                    <a:pt x="107" y="566"/>
                  </a:lnTo>
                  <a:lnTo>
                    <a:pt x="127" y="582"/>
                  </a:lnTo>
                  <a:lnTo>
                    <a:pt x="148" y="596"/>
                  </a:lnTo>
                  <a:lnTo>
                    <a:pt x="171" y="610"/>
                  </a:lnTo>
                  <a:lnTo>
                    <a:pt x="194" y="624"/>
                  </a:lnTo>
                  <a:lnTo>
                    <a:pt x="219" y="637"/>
                  </a:lnTo>
                  <a:lnTo>
                    <a:pt x="245" y="649"/>
                  </a:lnTo>
                  <a:lnTo>
                    <a:pt x="272" y="661"/>
                  </a:lnTo>
                  <a:lnTo>
                    <a:pt x="299" y="672"/>
                  </a:lnTo>
                  <a:lnTo>
                    <a:pt x="329" y="683"/>
                  </a:lnTo>
                  <a:lnTo>
                    <a:pt x="359" y="692"/>
                  </a:lnTo>
                  <a:lnTo>
                    <a:pt x="390" y="701"/>
                  </a:lnTo>
                  <a:lnTo>
                    <a:pt x="422" y="710"/>
                  </a:lnTo>
                  <a:lnTo>
                    <a:pt x="456" y="716"/>
                  </a:lnTo>
                  <a:lnTo>
                    <a:pt x="490" y="724"/>
                  </a:lnTo>
                  <a:lnTo>
                    <a:pt x="525" y="729"/>
                  </a:lnTo>
                  <a:lnTo>
                    <a:pt x="560" y="735"/>
                  </a:lnTo>
                  <a:lnTo>
                    <a:pt x="596" y="738"/>
                  </a:lnTo>
                  <a:lnTo>
                    <a:pt x="632" y="742"/>
                  </a:lnTo>
                  <a:lnTo>
                    <a:pt x="670" y="745"/>
                  </a:lnTo>
                  <a:lnTo>
                    <a:pt x="707" y="746"/>
                  </a:lnTo>
                  <a:lnTo>
                    <a:pt x="746" y="746"/>
                  </a:lnTo>
                  <a:lnTo>
                    <a:pt x="746" y="746"/>
                  </a:lnTo>
                  <a:lnTo>
                    <a:pt x="785" y="746"/>
                  </a:lnTo>
                  <a:lnTo>
                    <a:pt x="822" y="745"/>
                  </a:lnTo>
                  <a:lnTo>
                    <a:pt x="860" y="742"/>
                  </a:lnTo>
                  <a:lnTo>
                    <a:pt x="896" y="738"/>
                  </a:lnTo>
                  <a:lnTo>
                    <a:pt x="933" y="735"/>
                  </a:lnTo>
                  <a:lnTo>
                    <a:pt x="967" y="729"/>
                  </a:lnTo>
                  <a:lnTo>
                    <a:pt x="1002" y="724"/>
                  </a:lnTo>
                  <a:lnTo>
                    <a:pt x="1036" y="716"/>
                  </a:lnTo>
                  <a:lnTo>
                    <a:pt x="1070" y="710"/>
                  </a:lnTo>
                  <a:lnTo>
                    <a:pt x="1102" y="701"/>
                  </a:lnTo>
                  <a:lnTo>
                    <a:pt x="1133" y="692"/>
                  </a:lnTo>
                  <a:lnTo>
                    <a:pt x="1163" y="683"/>
                  </a:lnTo>
                  <a:lnTo>
                    <a:pt x="1193" y="672"/>
                  </a:lnTo>
                  <a:lnTo>
                    <a:pt x="1220" y="661"/>
                  </a:lnTo>
                  <a:lnTo>
                    <a:pt x="1247" y="649"/>
                  </a:lnTo>
                  <a:lnTo>
                    <a:pt x="1273" y="637"/>
                  </a:lnTo>
                  <a:lnTo>
                    <a:pt x="1298" y="624"/>
                  </a:lnTo>
                  <a:lnTo>
                    <a:pt x="1321" y="610"/>
                  </a:lnTo>
                  <a:lnTo>
                    <a:pt x="1344" y="596"/>
                  </a:lnTo>
                  <a:lnTo>
                    <a:pt x="1365" y="582"/>
                  </a:lnTo>
                  <a:lnTo>
                    <a:pt x="1385" y="566"/>
                  </a:lnTo>
                  <a:lnTo>
                    <a:pt x="1401" y="551"/>
                  </a:lnTo>
                  <a:lnTo>
                    <a:pt x="1418" y="535"/>
                  </a:lnTo>
                  <a:lnTo>
                    <a:pt x="1434" y="518"/>
                  </a:lnTo>
                  <a:lnTo>
                    <a:pt x="1447" y="501"/>
                  </a:lnTo>
                  <a:lnTo>
                    <a:pt x="1458" y="485"/>
                  </a:lnTo>
                  <a:lnTo>
                    <a:pt x="1469" y="466"/>
                  </a:lnTo>
                  <a:lnTo>
                    <a:pt x="1476" y="448"/>
                  </a:lnTo>
                  <a:lnTo>
                    <a:pt x="1483" y="430"/>
                  </a:lnTo>
                  <a:lnTo>
                    <a:pt x="1488" y="411"/>
                  </a:lnTo>
                  <a:lnTo>
                    <a:pt x="1491" y="393"/>
                  </a:lnTo>
                  <a:lnTo>
                    <a:pt x="1492" y="373"/>
                  </a:lnTo>
                  <a:lnTo>
                    <a:pt x="1492" y="373"/>
                  </a:lnTo>
                  <a:lnTo>
                    <a:pt x="1491" y="354"/>
                  </a:lnTo>
                  <a:lnTo>
                    <a:pt x="1488" y="336"/>
                  </a:lnTo>
                  <a:lnTo>
                    <a:pt x="1483" y="316"/>
                  </a:lnTo>
                  <a:lnTo>
                    <a:pt x="1476" y="298"/>
                  </a:lnTo>
                  <a:lnTo>
                    <a:pt x="1469" y="280"/>
                  </a:lnTo>
                  <a:lnTo>
                    <a:pt x="1458" y="262"/>
                  </a:lnTo>
                  <a:lnTo>
                    <a:pt x="1447" y="245"/>
                  </a:lnTo>
                  <a:lnTo>
                    <a:pt x="1434" y="228"/>
                  </a:lnTo>
                  <a:lnTo>
                    <a:pt x="1418" y="211"/>
                  </a:lnTo>
                  <a:lnTo>
                    <a:pt x="1401" y="196"/>
                  </a:lnTo>
                  <a:lnTo>
                    <a:pt x="1385" y="180"/>
                  </a:lnTo>
                  <a:lnTo>
                    <a:pt x="1365" y="165"/>
                  </a:lnTo>
                  <a:lnTo>
                    <a:pt x="1344" y="150"/>
                  </a:lnTo>
                  <a:lnTo>
                    <a:pt x="1321" y="136"/>
                  </a:lnTo>
                  <a:lnTo>
                    <a:pt x="1298" y="122"/>
                  </a:lnTo>
                  <a:lnTo>
                    <a:pt x="1273" y="109"/>
                  </a:lnTo>
                  <a:lnTo>
                    <a:pt x="1247" y="97"/>
                  </a:lnTo>
                  <a:lnTo>
                    <a:pt x="1220" y="86"/>
                  </a:lnTo>
                  <a:lnTo>
                    <a:pt x="1193" y="74"/>
                  </a:lnTo>
                  <a:lnTo>
                    <a:pt x="1163" y="63"/>
                  </a:lnTo>
                  <a:lnTo>
                    <a:pt x="1133" y="54"/>
                  </a:lnTo>
                  <a:lnTo>
                    <a:pt x="1102" y="45"/>
                  </a:lnTo>
                  <a:lnTo>
                    <a:pt x="1070" y="36"/>
                  </a:lnTo>
                  <a:lnTo>
                    <a:pt x="1036" y="30"/>
                  </a:lnTo>
                  <a:lnTo>
                    <a:pt x="1002" y="22"/>
                  </a:lnTo>
                  <a:lnTo>
                    <a:pt x="967" y="17"/>
                  </a:lnTo>
                  <a:lnTo>
                    <a:pt x="933" y="12"/>
                  </a:lnTo>
                  <a:lnTo>
                    <a:pt x="896" y="8"/>
                  </a:lnTo>
                  <a:lnTo>
                    <a:pt x="860" y="4"/>
                  </a:lnTo>
                  <a:lnTo>
                    <a:pt x="822" y="1"/>
                  </a:lnTo>
                  <a:lnTo>
                    <a:pt x="785" y="0"/>
                  </a:lnTo>
                  <a:lnTo>
                    <a:pt x="746" y="0"/>
                  </a:lnTo>
                  <a:lnTo>
                    <a:pt x="746" y="0"/>
                  </a:lnTo>
                  <a:close/>
                  <a:moveTo>
                    <a:pt x="746" y="723"/>
                  </a:moveTo>
                  <a:lnTo>
                    <a:pt x="746" y="723"/>
                  </a:lnTo>
                  <a:lnTo>
                    <a:pt x="710" y="723"/>
                  </a:lnTo>
                  <a:lnTo>
                    <a:pt x="675" y="722"/>
                  </a:lnTo>
                  <a:lnTo>
                    <a:pt x="640" y="719"/>
                  </a:lnTo>
                  <a:lnTo>
                    <a:pt x="605" y="716"/>
                  </a:lnTo>
                  <a:lnTo>
                    <a:pt x="571" y="713"/>
                  </a:lnTo>
                  <a:lnTo>
                    <a:pt x="537" y="707"/>
                  </a:lnTo>
                  <a:lnTo>
                    <a:pt x="505" y="702"/>
                  </a:lnTo>
                  <a:lnTo>
                    <a:pt x="474" y="696"/>
                  </a:lnTo>
                  <a:lnTo>
                    <a:pt x="443" y="689"/>
                  </a:lnTo>
                  <a:lnTo>
                    <a:pt x="413" y="681"/>
                  </a:lnTo>
                  <a:lnTo>
                    <a:pt x="383" y="672"/>
                  </a:lnTo>
                  <a:lnTo>
                    <a:pt x="355" y="663"/>
                  </a:lnTo>
                  <a:lnTo>
                    <a:pt x="328" y="654"/>
                  </a:lnTo>
                  <a:lnTo>
                    <a:pt x="302" y="644"/>
                  </a:lnTo>
                  <a:lnTo>
                    <a:pt x="276" y="632"/>
                  </a:lnTo>
                  <a:lnTo>
                    <a:pt x="251" y="621"/>
                  </a:lnTo>
                  <a:lnTo>
                    <a:pt x="228" y="609"/>
                  </a:lnTo>
                  <a:lnTo>
                    <a:pt x="206" y="596"/>
                  </a:lnTo>
                  <a:lnTo>
                    <a:pt x="185" y="583"/>
                  </a:lnTo>
                  <a:lnTo>
                    <a:pt x="166" y="569"/>
                  </a:lnTo>
                  <a:lnTo>
                    <a:pt x="148" y="554"/>
                  </a:lnTo>
                  <a:lnTo>
                    <a:pt x="131" y="540"/>
                  </a:lnTo>
                  <a:lnTo>
                    <a:pt x="115" y="525"/>
                  </a:lnTo>
                  <a:lnTo>
                    <a:pt x="101" y="509"/>
                  </a:lnTo>
                  <a:lnTo>
                    <a:pt x="89" y="494"/>
                  </a:lnTo>
                  <a:lnTo>
                    <a:pt x="78" y="477"/>
                  </a:lnTo>
                  <a:lnTo>
                    <a:pt x="69" y="461"/>
                  </a:lnTo>
                  <a:lnTo>
                    <a:pt x="61" y="444"/>
                  </a:lnTo>
                  <a:lnTo>
                    <a:pt x="54" y="426"/>
                  </a:lnTo>
                  <a:lnTo>
                    <a:pt x="51" y="409"/>
                  </a:lnTo>
                  <a:lnTo>
                    <a:pt x="48" y="391"/>
                  </a:lnTo>
                  <a:lnTo>
                    <a:pt x="47" y="373"/>
                  </a:lnTo>
                  <a:lnTo>
                    <a:pt x="47" y="373"/>
                  </a:lnTo>
                  <a:lnTo>
                    <a:pt x="48" y="355"/>
                  </a:lnTo>
                  <a:lnTo>
                    <a:pt x="51" y="337"/>
                  </a:lnTo>
                  <a:lnTo>
                    <a:pt x="54" y="320"/>
                  </a:lnTo>
                  <a:lnTo>
                    <a:pt x="61" y="302"/>
                  </a:lnTo>
                  <a:lnTo>
                    <a:pt x="69" y="285"/>
                  </a:lnTo>
                  <a:lnTo>
                    <a:pt x="78" y="269"/>
                  </a:lnTo>
                  <a:lnTo>
                    <a:pt x="89" y="253"/>
                  </a:lnTo>
                  <a:lnTo>
                    <a:pt x="101" y="237"/>
                  </a:lnTo>
                  <a:lnTo>
                    <a:pt x="115" y="222"/>
                  </a:lnTo>
                  <a:lnTo>
                    <a:pt x="131" y="206"/>
                  </a:lnTo>
                  <a:lnTo>
                    <a:pt x="148" y="192"/>
                  </a:lnTo>
                  <a:lnTo>
                    <a:pt x="166" y="177"/>
                  </a:lnTo>
                  <a:lnTo>
                    <a:pt x="185" y="163"/>
                  </a:lnTo>
                  <a:lnTo>
                    <a:pt x="206" y="150"/>
                  </a:lnTo>
                  <a:lnTo>
                    <a:pt x="228" y="137"/>
                  </a:lnTo>
                  <a:lnTo>
                    <a:pt x="251" y="126"/>
                  </a:lnTo>
                  <a:lnTo>
                    <a:pt x="276" y="114"/>
                  </a:lnTo>
                  <a:lnTo>
                    <a:pt x="302" y="102"/>
                  </a:lnTo>
                  <a:lnTo>
                    <a:pt x="328" y="92"/>
                  </a:lnTo>
                  <a:lnTo>
                    <a:pt x="355" y="83"/>
                  </a:lnTo>
                  <a:lnTo>
                    <a:pt x="383" y="74"/>
                  </a:lnTo>
                  <a:lnTo>
                    <a:pt x="413" y="65"/>
                  </a:lnTo>
                  <a:lnTo>
                    <a:pt x="443" y="57"/>
                  </a:lnTo>
                  <a:lnTo>
                    <a:pt x="474" y="51"/>
                  </a:lnTo>
                  <a:lnTo>
                    <a:pt x="505" y="44"/>
                  </a:lnTo>
                  <a:lnTo>
                    <a:pt x="537" y="39"/>
                  </a:lnTo>
                  <a:lnTo>
                    <a:pt x="571" y="34"/>
                  </a:lnTo>
                  <a:lnTo>
                    <a:pt x="605" y="30"/>
                  </a:lnTo>
                  <a:lnTo>
                    <a:pt x="640" y="27"/>
                  </a:lnTo>
                  <a:lnTo>
                    <a:pt x="675" y="25"/>
                  </a:lnTo>
                  <a:lnTo>
                    <a:pt x="710" y="23"/>
                  </a:lnTo>
                  <a:lnTo>
                    <a:pt x="746" y="23"/>
                  </a:lnTo>
                  <a:lnTo>
                    <a:pt x="746" y="23"/>
                  </a:lnTo>
                  <a:lnTo>
                    <a:pt x="782" y="23"/>
                  </a:lnTo>
                  <a:lnTo>
                    <a:pt x="817" y="25"/>
                  </a:lnTo>
                  <a:lnTo>
                    <a:pt x="852" y="27"/>
                  </a:lnTo>
                  <a:lnTo>
                    <a:pt x="887" y="30"/>
                  </a:lnTo>
                  <a:lnTo>
                    <a:pt x="921" y="34"/>
                  </a:lnTo>
                  <a:lnTo>
                    <a:pt x="955" y="39"/>
                  </a:lnTo>
                  <a:lnTo>
                    <a:pt x="987" y="44"/>
                  </a:lnTo>
                  <a:lnTo>
                    <a:pt x="1018" y="51"/>
                  </a:lnTo>
                  <a:lnTo>
                    <a:pt x="1049" y="57"/>
                  </a:lnTo>
                  <a:lnTo>
                    <a:pt x="1079" y="65"/>
                  </a:lnTo>
                  <a:lnTo>
                    <a:pt x="1109" y="74"/>
                  </a:lnTo>
                  <a:lnTo>
                    <a:pt x="1137" y="83"/>
                  </a:lnTo>
                  <a:lnTo>
                    <a:pt x="1164" y="92"/>
                  </a:lnTo>
                  <a:lnTo>
                    <a:pt x="1190" y="102"/>
                  </a:lnTo>
                  <a:lnTo>
                    <a:pt x="1216" y="114"/>
                  </a:lnTo>
                  <a:lnTo>
                    <a:pt x="1241" y="126"/>
                  </a:lnTo>
                  <a:lnTo>
                    <a:pt x="1264" y="137"/>
                  </a:lnTo>
                  <a:lnTo>
                    <a:pt x="1286" y="150"/>
                  </a:lnTo>
                  <a:lnTo>
                    <a:pt x="1307" y="163"/>
                  </a:lnTo>
                  <a:lnTo>
                    <a:pt x="1326" y="177"/>
                  </a:lnTo>
                  <a:lnTo>
                    <a:pt x="1344" y="192"/>
                  </a:lnTo>
                  <a:lnTo>
                    <a:pt x="1361" y="206"/>
                  </a:lnTo>
                  <a:lnTo>
                    <a:pt x="1377" y="222"/>
                  </a:lnTo>
                  <a:lnTo>
                    <a:pt x="1391" y="237"/>
                  </a:lnTo>
                  <a:lnTo>
                    <a:pt x="1403" y="253"/>
                  </a:lnTo>
                  <a:lnTo>
                    <a:pt x="1414" y="269"/>
                  </a:lnTo>
                  <a:lnTo>
                    <a:pt x="1423" y="285"/>
                  </a:lnTo>
                  <a:lnTo>
                    <a:pt x="1431" y="302"/>
                  </a:lnTo>
                  <a:lnTo>
                    <a:pt x="1438" y="320"/>
                  </a:lnTo>
                  <a:lnTo>
                    <a:pt x="1441" y="337"/>
                  </a:lnTo>
                  <a:lnTo>
                    <a:pt x="1444" y="355"/>
                  </a:lnTo>
                  <a:lnTo>
                    <a:pt x="1445" y="373"/>
                  </a:lnTo>
                  <a:lnTo>
                    <a:pt x="1445" y="373"/>
                  </a:lnTo>
                  <a:lnTo>
                    <a:pt x="1444" y="391"/>
                  </a:lnTo>
                  <a:lnTo>
                    <a:pt x="1441" y="409"/>
                  </a:lnTo>
                  <a:lnTo>
                    <a:pt x="1438" y="426"/>
                  </a:lnTo>
                  <a:lnTo>
                    <a:pt x="1431" y="444"/>
                  </a:lnTo>
                  <a:lnTo>
                    <a:pt x="1423" y="461"/>
                  </a:lnTo>
                  <a:lnTo>
                    <a:pt x="1414" y="477"/>
                  </a:lnTo>
                  <a:lnTo>
                    <a:pt x="1403" y="494"/>
                  </a:lnTo>
                  <a:lnTo>
                    <a:pt x="1391" y="509"/>
                  </a:lnTo>
                  <a:lnTo>
                    <a:pt x="1377" y="525"/>
                  </a:lnTo>
                  <a:lnTo>
                    <a:pt x="1361" y="540"/>
                  </a:lnTo>
                  <a:lnTo>
                    <a:pt x="1344" y="554"/>
                  </a:lnTo>
                  <a:lnTo>
                    <a:pt x="1326" y="569"/>
                  </a:lnTo>
                  <a:lnTo>
                    <a:pt x="1307" y="583"/>
                  </a:lnTo>
                  <a:lnTo>
                    <a:pt x="1286" y="596"/>
                  </a:lnTo>
                  <a:lnTo>
                    <a:pt x="1264" y="609"/>
                  </a:lnTo>
                  <a:lnTo>
                    <a:pt x="1241" y="621"/>
                  </a:lnTo>
                  <a:lnTo>
                    <a:pt x="1216" y="632"/>
                  </a:lnTo>
                  <a:lnTo>
                    <a:pt x="1190" y="644"/>
                  </a:lnTo>
                  <a:lnTo>
                    <a:pt x="1164" y="654"/>
                  </a:lnTo>
                  <a:lnTo>
                    <a:pt x="1137" y="663"/>
                  </a:lnTo>
                  <a:lnTo>
                    <a:pt x="1109" y="672"/>
                  </a:lnTo>
                  <a:lnTo>
                    <a:pt x="1079" y="681"/>
                  </a:lnTo>
                  <a:lnTo>
                    <a:pt x="1049" y="689"/>
                  </a:lnTo>
                  <a:lnTo>
                    <a:pt x="1018" y="696"/>
                  </a:lnTo>
                  <a:lnTo>
                    <a:pt x="987" y="702"/>
                  </a:lnTo>
                  <a:lnTo>
                    <a:pt x="955" y="707"/>
                  </a:lnTo>
                  <a:lnTo>
                    <a:pt x="921" y="713"/>
                  </a:lnTo>
                  <a:lnTo>
                    <a:pt x="887" y="716"/>
                  </a:lnTo>
                  <a:lnTo>
                    <a:pt x="852" y="719"/>
                  </a:lnTo>
                  <a:lnTo>
                    <a:pt x="817" y="722"/>
                  </a:lnTo>
                  <a:lnTo>
                    <a:pt x="782" y="723"/>
                  </a:lnTo>
                  <a:lnTo>
                    <a:pt x="746" y="723"/>
                  </a:lnTo>
                  <a:lnTo>
                    <a:pt x="746" y="723"/>
                  </a:lnTo>
                  <a:close/>
                </a:path>
              </a:pathLst>
            </a:custGeom>
            <a:solidFill>
              <a:srgbClr val="EAEAEA"/>
            </a:soli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33" name="Freeform 102"/>
            <p:cNvSpPr/>
            <p:nvPr/>
          </p:nvSpPr>
          <p:spPr bwMode="auto">
            <a:xfrm>
              <a:off x="3773" y="1915"/>
              <a:ext cx="231" cy="116"/>
            </a:xfrm>
            <a:custGeom>
              <a:avLst/>
              <a:gdLst>
                <a:gd name="T0" fmla="*/ 1397 w 1398"/>
                <a:gd name="T1" fmla="*/ 368 h 700"/>
                <a:gd name="T2" fmla="*/ 1384 w 1398"/>
                <a:gd name="T3" fmla="*/ 421 h 700"/>
                <a:gd name="T4" fmla="*/ 1356 w 1398"/>
                <a:gd name="T5" fmla="*/ 471 h 700"/>
                <a:gd name="T6" fmla="*/ 1314 w 1398"/>
                <a:gd name="T7" fmla="*/ 517 h 700"/>
                <a:gd name="T8" fmla="*/ 1260 w 1398"/>
                <a:gd name="T9" fmla="*/ 560 h 700"/>
                <a:gd name="T10" fmla="*/ 1194 w 1398"/>
                <a:gd name="T11" fmla="*/ 598 h 700"/>
                <a:gd name="T12" fmla="*/ 1117 w 1398"/>
                <a:gd name="T13" fmla="*/ 631 h 700"/>
                <a:gd name="T14" fmla="*/ 1032 w 1398"/>
                <a:gd name="T15" fmla="*/ 658 h 700"/>
                <a:gd name="T16" fmla="*/ 940 w 1398"/>
                <a:gd name="T17" fmla="*/ 679 h 700"/>
                <a:gd name="T18" fmla="*/ 840 w 1398"/>
                <a:gd name="T19" fmla="*/ 693 h 700"/>
                <a:gd name="T20" fmla="*/ 735 w 1398"/>
                <a:gd name="T21" fmla="*/ 700 h 700"/>
                <a:gd name="T22" fmla="*/ 663 w 1398"/>
                <a:gd name="T23" fmla="*/ 700 h 700"/>
                <a:gd name="T24" fmla="*/ 558 w 1398"/>
                <a:gd name="T25" fmla="*/ 693 h 700"/>
                <a:gd name="T26" fmla="*/ 458 w 1398"/>
                <a:gd name="T27" fmla="*/ 679 h 700"/>
                <a:gd name="T28" fmla="*/ 366 w 1398"/>
                <a:gd name="T29" fmla="*/ 658 h 700"/>
                <a:gd name="T30" fmla="*/ 281 w 1398"/>
                <a:gd name="T31" fmla="*/ 631 h 700"/>
                <a:gd name="T32" fmla="*/ 204 w 1398"/>
                <a:gd name="T33" fmla="*/ 598 h 700"/>
                <a:gd name="T34" fmla="*/ 138 w 1398"/>
                <a:gd name="T35" fmla="*/ 560 h 700"/>
                <a:gd name="T36" fmla="*/ 84 w 1398"/>
                <a:gd name="T37" fmla="*/ 517 h 700"/>
                <a:gd name="T38" fmla="*/ 42 w 1398"/>
                <a:gd name="T39" fmla="*/ 471 h 700"/>
                <a:gd name="T40" fmla="*/ 14 w 1398"/>
                <a:gd name="T41" fmla="*/ 421 h 700"/>
                <a:gd name="T42" fmla="*/ 1 w 1398"/>
                <a:gd name="T43" fmla="*/ 368 h 700"/>
                <a:gd name="T44" fmla="*/ 1 w 1398"/>
                <a:gd name="T45" fmla="*/ 332 h 700"/>
                <a:gd name="T46" fmla="*/ 14 w 1398"/>
                <a:gd name="T47" fmla="*/ 279 h 700"/>
                <a:gd name="T48" fmla="*/ 42 w 1398"/>
                <a:gd name="T49" fmla="*/ 230 h 700"/>
                <a:gd name="T50" fmla="*/ 84 w 1398"/>
                <a:gd name="T51" fmla="*/ 183 h 700"/>
                <a:gd name="T52" fmla="*/ 138 w 1398"/>
                <a:gd name="T53" fmla="*/ 140 h 700"/>
                <a:gd name="T54" fmla="*/ 204 w 1398"/>
                <a:gd name="T55" fmla="*/ 103 h 700"/>
                <a:gd name="T56" fmla="*/ 281 w 1398"/>
                <a:gd name="T57" fmla="*/ 69 h 700"/>
                <a:gd name="T58" fmla="*/ 366 w 1398"/>
                <a:gd name="T59" fmla="*/ 42 h 700"/>
                <a:gd name="T60" fmla="*/ 458 w 1398"/>
                <a:gd name="T61" fmla="*/ 21 h 700"/>
                <a:gd name="T62" fmla="*/ 558 w 1398"/>
                <a:gd name="T63" fmla="*/ 7 h 700"/>
                <a:gd name="T64" fmla="*/ 663 w 1398"/>
                <a:gd name="T65" fmla="*/ 0 h 700"/>
                <a:gd name="T66" fmla="*/ 735 w 1398"/>
                <a:gd name="T67" fmla="*/ 0 h 700"/>
                <a:gd name="T68" fmla="*/ 840 w 1398"/>
                <a:gd name="T69" fmla="*/ 7 h 700"/>
                <a:gd name="T70" fmla="*/ 940 w 1398"/>
                <a:gd name="T71" fmla="*/ 21 h 700"/>
                <a:gd name="T72" fmla="*/ 1032 w 1398"/>
                <a:gd name="T73" fmla="*/ 42 h 700"/>
                <a:gd name="T74" fmla="*/ 1117 w 1398"/>
                <a:gd name="T75" fmla="*/ 69 h 700"/>
                <a:gd name="T76" fmla="*/ 1194 w 1398"/>
                <a:gd name="T77" fmla="*/ 103 h 700"/>
                <a:gd name="T78" fmla="*/ 1260 w 1398"/>
                <a:gd name="T79" fmla="*/ 140 h 700"/>
                <a:gd name="T80" fmla="*/ 1314 w 1398"/>
                <a:gd name="T81" fmla="*/ 183 h 700"/>
                <a:gd name="T82" fmla="*/ 1356 w 1398"/>
                <a:gd name="T83" fmla="*/ 230 h 700"/>
                <a:gd name="T84" fmla="*/ 1384 w 1398"/>
                <a:gd name="T85" fmla="*/ 279 h 700"/>
                <a:gd name="T86" fmla="*/ 1397 w 1398"/>
                <a:gd name="T87" fmla="*/ 332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98" h="700">
                  <a:moveTo>
                    <a:pt x="1398" y="350"/>
                  </a:moveTo>
                  <a:lnTo>
                    <a:pt x="1398" y="350"/>
                  </a:lnTo>
                  <a:lnTo>
                    <a:pt x="1397" y="368"/>
                  </a:lnTo>
                  <a:lnTo>
                    <a:pt x="1394" y="386"/>
                  </a:lnTo>
                  <a:lnTo>
                    <a:pt x="1391" y="403"/>
                  </a:lnTo>
                  <a:lnTo>
                    <a:pt x="1384" y="421"/>
                  </a:lnTo>
                  <a:lnTo>
                    <a:pt x="1376" y="438"/>
                  </a:lnTo>
                  <a:lnTo>
                    <a:pt x="1367" y="454"/>
                  </a:lnTo>
                  <a:lnTo>
                    <a:pt x="1356" y="471"/>
                  </a:lnTo>
                  <a:lnTo>
                    <a:pt x="1344" y="486"/>
                  </a:lnTo>
                  <a:lnTo>
                    <a:pt x="1330" y="502"/>
                  </a:lnTo>
                  <a:lnTo>
                    <a:pt x="1314" y="517"/>
                  </a:lnTo>
                  <a:lnTo>
                    <a:pt x="1297" y="531"/>
                  </a:lnTo>
                  <a:lnTo>
                    <a:pt x="1279" y="546"/>
                  </a:lnTo>
                  <a:lnTo>
                    <a:pt x="1260" y="560"/>
                  </a:lnTo>
                  <a:lnTo>
                    <a:pt x="1239" y="573"/>
                  </a:lnTo>
                  <a:lnTo>
                    <a:pt x="1217" y="586"/>
                  </a:lnTo>
                  <a:lnTo>
                    <a:pt x="1194" y="598"/>
                  </a:lnTo>
                  <a:lnTo>
                    <a:pt x="1169" y="609"/>
                  </a:lnTo>
                  <a:lnTo>
                    <a:pt x="1143" y="621"/>
                  </a:lnTo>
                  <a:lnTo>
                    <a:pt x="1117" y="631"/>
                  </a:lnTo>
                  <a:lnTo>
                    <a:pt x="1090" y="640"/>
                  </a:lnTo>
                  <a:lnTo>
                    <a:pt x="1062" y="649"/>
                  </a:lnTo>
                  <a:lnTo>
                    <a:pt x="1032" y="658"/>
                  </a:lnTo>
                  <a:lnTo>
                    <a:pt x="1002" y="666"/>
                  </a:lnTo>
                  <a:lnTo>
                    <a:pt x="971" y="673"/>
                  </a:lnTo>
                  <a:lnTo>
                    <a:pt x="940" y="679"/>
                  </a:lnTo>
                  <a:lnTo>
                    <a:pt x="908" y="684"/>
                  </a:lnTo>
                  <a:lnTo>
                    <a:pt x="874" y="690"/>
                  </a:lnTo>
                  <a:lnTo>
                    <a:pt x="840" y="693"/>
                  </a:lnTo>
                  <a:lnTo>
                    <a:pt x="805" y="696"/>
                  </a:lnTo>
                  <a:lnTo>
                    <a:pt x="770" y="699"/>
                  </a:lnTo>
                  <a:lnTo>
                    <a:pt x="735" y="700"/>
                  </a:lnTo>
                  <a:lnTo>
                    <a:pt x="699" y="700"/>
                  </a:lnTo>
                  <a:lnTo>
                    <a:pt x="699" y="700"/>
                  </a:lnTo>
                  <a:lnTo>
                    <a:pt x="663" y="700"/>
                  </a:lnTo>
                  <a:lnTo>
                    <a:pt x="628" y="699"/>
                  </a:lnTo>
                  <a:lnTo>
                    <a:pt x="593" y="696"/>
                  </a:lnTo>
                  <a:lnTo>
                    <a:pt x="558" y="693"/>
                  </a:lnTo>
                  <a:lnTo>
                    <a:pt x="524" y="690"/>
                  </a:lnTo>
                  <a:lnTo>
                    <a:pt x="490" y="684"/>
                  </a:lnTo>
                  <a:lnTo>
                    <a:pt x="458" y="679"/>
                  </a:lnTo>
                  <a:lnTo>
                    <a:pt x="427" y="673"/>
                  </a:lnTo>
                  <a:lnTo>
                    <a:pt x="396" y="666"/>
                  </a:lnTo>
                  <a:lnTo>
                    <a:pt x="366" y="658"/>
                  </a:lnTo>
                  <a:lnTo>
                    <a:pt x="336" y="649"/>
                  </a:lnTo>
                  <a:lnTo>
                    <a:pt x="308" y="640"/>
                  </a:lnTo>
                  <a:lnTo>
                    <a:pt x="281" y="631"/>
                  </a:lnTo>
                  <a:lnTo>
                    <a:pt x="255" y="621"/>
                  </a:lnTo>
                  <a:lnTo>
                    <a:pt x="229" y="609"/>
                  </a:lnTo>
                  <a:lnTo>
                    <a:pt x="204" y="598"/>
                  </a:lnTo>
                  <a:lnTo>
                    <a:pt x="181" y="586"/>
                  </a:lnTo>
                  <a:lnTo>
                    <a:pt x="159" y="573"/>
                  </a:lnTo>
                  <a:lnTo>
                    <a:pt x="138" y="560"/>
                  </a:lnTo>
                  <a:lnTo>
                    <a:pt x="119" y="546"/>
                  </a:lnTo>
                  <a:lnTo>
                    <a:pt x="101" y="531"/>
                  </a:lnTo>
                  <a:lnTo>
                    <a:pt x="84" y="517"/>
                  </a:lnTo>
                  <a:lnTo>
                    <a:pt x="68" y="502"/>
                  </a:lnTo>
                  <a:lnTo>
                    <a:pt x="54" y="486"/>
                  </a:lnTo>
                  <a:lnTo>
                    <a:pt x="42" y="471"/>
                  </a:lnTo>
                  <a:lnTo>
                    <a:pt x="31" y="454"/>
                  </a:lnTo>
                  <a:lnTo>
                    <a:pt x="22" y="438"/>
                  </a:lnTo>
                  <a:lnTo>
                    <a:pt x="14" y="421"/>
                  </a:lnTo>
                  <a:lnTo>
                    <a:pt x="7" y="403"/>
                  </a:lnTo>
                  <a:lnTo>
                    <a:pt x="4" y="386"/>
                  </a:lnTo>
                  <a:lnTo>
                    <a:pt x="1" y="368"/>
                  </a:lnTo>
                  <a:lnTo>
                    <a:pt x="0" y="350"/>
                  </a:lnTo>
                  <a:lnTo>
                    <a:pt x="0" y="350"/>
                  </a:lnTo>
                  <a:lnTo>
                    <a:pt x="1" y="332"/>
                  </a:lnTo>
                  <a:lnTo>
                    <a:pt x="4" y="314"/>
                  </a:lnTo>
                  <a:lnTo>
                    <a:pt x="7" y="297"/>
                  </a:lnTo>
                  <a:lnTo>
                    <a:pt x="14" y="279"/>
                  </a:lnTo>
                  <a:lnTo>
                    <a:pt x="22" y="262"/>
                  </a:lnTo>
                  <a:lnTo>
                    <a:pt x="31" y="246"/>
                  </a:lnTo>
                  <a:lnTo>
                    <a:pt x="42" y="230"/>
                  </a:lnTo>
                  <a:lnTo>
                    <a:pt x="54" y="214"/>
                  </a:lnTo>
                  <a:lnTo>
                    <a:pt x="68" y="199"/>
                  </a:lnTo>
                  <a:lnTo>
                    <a:pt x="84" y="183"/>
                  </a:lnTo>
                  <a:lnTo>
                    <a:pt x="101" y="169"/>
                  </a:lnTo>
                  <a:lnTo>
                    <a:pt x="119" y="154"/>
                  </a:lnTo>
                  <a:lnTo>
                    <a:pt x="138" y="140"/>
                  </a:lnTo>
                  <a:lnTo>
                    <a:pt x="159" y="127"/>
                  </a:lnTo>
                  <a:lnTo>
                    <a:pt x="181" y="114"/>
                  </a:lnTo>
                  <a:lnTo>
                    <a:pt x="204" y="103"/>
                  </a:lnTo>
                  <a:lnTo>
                    <a:pt x="229" y="91"/>
                  </a:lnTo>
                  <a:lnTo>
                    <a:pt x="255" y="79"/>
                  </a:lnTo>
                  <a:lnTo>
                    <a:pt x="281" y="69"/>
                  </a:lnTo>
                  <a:lnTo>
                    <a:pt x="308" y="60"/>
                  </a:lnTo>
                  <a:lnTo>
                    <a:pt x="336" y="51"/>
                  </a:lnTo>
                  <a:lnTo>
                    <a:pt x="366" y="42"/>
                  </a:lnTo>
                  <a:lnTo>
                    <a:pt x="396" y="34"/>
                  </a:lnTo>
                  <a:lnTo>
                    <a:pt x="427" y="28"/>
                  </a:lnTo>
                  <a:lnTo>
                    <a:pt x="458" y="21"/>
                  </a:lnTo>
                  <a:lnTo>
                    <a:pt x="490" y="16"/>
                  </a:lnTo>
                  <a:lnTo>
                    <a:pt x="524" y="11"/>
                  </a:lnTo>
                  <a:lnTo>
                    <a:pt x="558" y="7"/>
                  </a:lnTo>
                  <a:lnTo>
                    <a:pt x="593" y="4"/>
                  </a:lnTo>
                  <a:lnTo>
                    <a:pt x="628" y="2"/>
                  </a:lnTo>
                  <a:lnTo>
                    <a:pt x="663" y="0"/>
                  </a:lnTo>
                  <a:lnTo>
                    <a:pt x="699" y="0"/>
                  </a:lnTo>
                  <a:lnTo>
                    <a:pt x="699" y="0"/>
                  </a:lnTo>
                  <a:lnTo>
                    <a:pt x="735" y="0"/>
                  </a:lnTo>
                  <a:lnTo>
                    <a:pt x="770" y="2"/>
                  </a:lnTo>
                  <a:lnTo>
                    <a:pt x="805" y="4"/>
                  </a:lnTo>
                  <a:lnTo>
                    <a:pt x="840" y="7"/>
                  </a:lnTo>
                  <a:lnTo>
                    <a:pt x="874" y="11"/>
                  </a:lnTo>
                  <a:lnTo>
                    <a:pt x="908" y="16"/>
                  </a:lnTo>
                  <a:lnTo>
                    <a:pt x="940" y="21"/>
                  </a:lnTo>
                  <a:lnTo>
                    <a:pt x="971" y="28"/>
                  </a:lnTo>
                  <a:lnTo>
                    <a:pt x="1002" y="34"/>
                  </a:lnTo>
                  <a:lnTo>
                    <a:pt x="1032" y="42"/>
                  </a:lnTo>
                  <a:lnTo>
                    <a:pt x="1062" y="51"/>
                  </a:lnTo>
                  <a:lnTo>
                    <a:pt x="1090" y="60"/>
                  </a:lnTo>
                  <a:lnTo>
                    <a:pt x="1117" y="69"/>
                  </a:lnTo>
                  <a:lnTo>
                    <a:pt x="1143" y="79"/>
                  </a:lnTo>
                  <a:lnTo>
                    <a:pt x="1169" y="91"/>
                  </a:lnTo>
                  <a:lnTo>
                    <a:pt x="1194" y="103"/>
                  </a:lnTo>
                  <a:lnTo>
                    <a:pt x="1217" y="114"/>
                  </a:lnTo>
                  <a:lnTo>
                    <a:pt x="1239" y="127"/>
                  </a:lnTo>
                  <a:lnTo>
                    <a:pt x="1260" y="140"/>
                  </a:lnTo>
                  <a:lnTo>
                    <a:pt x="1279" y="154"/>
                  </a:lnTo>
                  <a:lnTo>
                    <a:pt x="1297" y="169"/>
                  </a:lnTo>
                  <a:lnTo>
                    <a:pt x="1314" y="183"/>
                  </a:lnTo>
                  <a:lnTo>
                    <a:pt x="1330" y="199"/>
                  </a:lnTo>
                  <a:lnTo>
                    <a:pt x="1344" y="214"/>
                  </a:lnTo>
                  <a:lnTo>
                    <a:pt x="1356" y="230"/>
                  </a:lnTo>
                  <a:lnTo>
                    <a:pt x="1367" y="246"/>
                  </a:lnTo>
                  <a:lnTo>
                    <a:pt x="1376" y="262"/>
                  </a:lnTo>
                  <a:lnTo>
                    <a:pt x="1384" y="279"/>
                  </a:lnTo>
                  <a:lnTo>
                    <a:pt x="1391" y="297"/>
                  </a:lnTo>
                  <a:lnTo>
                    <a:pt x="1394" y="314"/>
                  </a:lnTo>
                  <a:lnTo>
                    <a:pt x="1397" y="332"/>
                  </a:lnTo>
                  <a:lnTo>
                    <a:pt x="1398" y="350"/>
                  </a:lnTo>
                  <a:lnTo>
                    <a:pt x="1398" y="350"/>
                  </a:lnTo>
                  <a:close/>
                </a:path>
              </a:pathLst>
            </a:custGeom>
            <a:gradFill rotWithShape="1">
              <a:gsLst>
                <a:gs pos="0">
                  <a:srgbClr val="3F3F3F"/>
                </a:gs>
                <a:gs pos="100000">
                  <a:srgbClr val="3F3F3F">
                    <a:gamma/>
                    <a:shade val="0"/>
                    <a:invGamma/>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
        <p:nvSpPr>
          <p:cNvPr id="103" name="Text Box 45"/>
          <p:cNvSpPr txBox="1">
            <a:spLocks noChangeArrowheads="1"/>
          </p:cNvSpPr>
          <p:nvPr/>
        </p:nvSpPr>
        <p:spPr bwMode="auto">
          <a:xfrm>
            <a:off x="6447015" y="989315"/>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1">
                  <a:lumMod val="50000"/>
                </a:schemeClr>
              </a:solidFill>
              <a:latin typeface="微软雅黑" panose="020B0503020204020204" pitchFamily="34" charset="-122"/>
              <a:ea typeface="微软雅黑" panose="020B0503020204020204" pitchFamily="34" charset="-122"/>
            </a:endParaRPr>
          </a:p>
        </p:txBody>
      </p:sp>
      <p:sp>
        <p:nvSpPr>
          <p:cNvPr id="104" name="Text Box 45"/>
          <p:cNvSpPr txBox="1">
            <a:spLocks noChangeArrowheads="1"/>
          </p:cNvSpPr>
          <p:nvPr/>
        </p:nvSpPr>
        <p:spPr bwMode="auto">
          <a:xfrm>
            <a:off x="6444208" y="2141443"/>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6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p:txBody>
      </p:sp>
      <p:sp>
        <p:nvSpPr>
          <p:cNvPr id="105" name="Text Box 45"/>
          <p:cNvSpPr txBox="1">
            <a:spLocks noChangeArrowheads="1"/>
          </p:cNvSpPr>
          <p:nvPr/>
        </p:nvSpPr>
        <p:spPr bwMode="auto">
          <a:xfrm>
            <a:off x="6447015" y="3437587"/>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6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750"/>
                                        <p:tgtEl>
                                          <p:spTgt spid="101"/>
                                        </p:tgtEl>
                                      </p:cBhvr>
                                    </p:animEffect>
                                    <p:anim calcmode="lin" valueType="num">
                                      <p:cBhvr>
                                        <p:cTn id="8" dur="750" fill="hold"/>
                                        <p:tgtEl>
                                          <p:spTgt spid="101"/>
                                        </p:tgtEl>
                                        <p:attrNameLst>
                                          <p:attrName>ppt_x</p:attrName>
                                        </p:attrNameLst>
                                      </p:cBhvr>
                                      <p:tavLst>
                                        <p:tav tm="0">
                                          <p:val>
                                            <p:strVal val="#ppt_x"/>
                                          </p:val>
                                        </p:tav>
                                        <p:tav tm="100000">
                                          <p:val>
                                            <p:strVal val="#ppt_x"/>
                                          </p:val>
                                        </p:tav>
                                      </p:tavLst>
                                    </p:anim>
                                    <p:anim calcmode="lin" valueType="num">
                                      <p:cBhvr>
                                        <p:cTn id="9" dur="750" fill="hold"/>
                                        <p:tgtEl>
                                          <p:spTgt spid="10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5"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1000" fill="hold"/>
                                        <p:tgtEl>
                                          <p:spTgt spid="6"/>
                                        </p:tgtEl>
                                        <p:attrNameLst>
                                          <p:attrName>ppt_w</p:attrName>
                                        </p:attrNameLst>
                                      </p:cBhvr>
                                      <p:tavLst>
                                        <p:tav tm="0">
                                          <p:val>
                                            <p:fltVal val="0"/>
                                          </p:val>
                                        </p:tav>
                                        <p:tav tm="100000">
                                          <p:val>
                                            <p:strVal val="#ppt_w"/>
                                          </p:val>
                                        </p:tav>
                                      </p:tavLst>
                                    </p:anim>
                                    <p:anim calcmode="lin" valueType="num">
                                      <p:cBhvr>
                                        <p:cTn id="14" dur="1000" fill="hold"/>
                                        <p:tgtEl>
                                          <p:spTgt spid="6"/>
                                        </p:tgtEl>
                                        <p:attrNameLst>
                                          <p:attrName>ppt_h</p:attrName>
                                        </p:attrNameLst>
                                      </p:cBhvr>
                                      <p:tavLst>
                                        <p:tav tm="0">
                                          <p:val>
                                            <p:fltVal val="0"/>
                                          </p:val>
                                        </p:tav>
                                        <p:tav tm="100000">
                                          <p:val>
                                            <p:strVal val="#ppt_h"/>
                                          </p:val>
                                        </p:tav>
                                      </p:tavLst>
                                    </p:anim>
                                    <p:anim calcmode="lin" valueType="num">
                                      <p:cBhvr>
                                        <p:cTn id="15" dur="1000" fill="hold"/>
                                        <p:tgtEl>
                                          <p:spTgt spid="6"/>
                                        </p:tgtEl>
                                        <p:attrNameLst>
                                          <p:attrName>ppt_x</p:attrName>
                                        </p:attrNameLst>
                                      </p:cBhvr>
                                      <p:tavLst>
                                        <p:tav tm="0" fmla="#ppt_x+(cos(-2*pi*(1-$))*-#ppt_x-sin(-2*pi*(1-$))*(1-#ppt_y))*(1-$)">
                                          <p:val>
                                            <p:fltVal val="0"/>
                                          </p:val>
                                        </p:tav>
                                        <p:tav tm="100000">
                                          <p:val>
                                            <p:fltVal val="1"/>
                                          </p:val>
                                        </p:tav>
                                      </p:tavLst>
                                    </p:anim>
                                    <p:anim calcmode="lin" valueType="num">
                                      <p:cBhvr>
                                        <p:cTn id="16" dur="1000" fill="hold"/>
                                        <p:tgtEl>
                                          <p:spTgt spid="6"/>
                                        </p:tgtEl>
                                        <p:attrNameLst>
                                          <p:attrName>ppt_y</p:attrName>
                                        </p:attrNameLst>
                                      </p:cBhvr>
                                      <p:tavLst>
                                        <p:tav tm="0" fmla="#ppt_y+(sin(-2*pi*(1-$))*-#ppt_x+cos(-2*pi*(1-$))*(1-#ppt_y))*(1-$)">
                                          <p:val>
                                            <p:fltVal val="0"/>
                                          </p:val>
                                        </p:tav>
                                        <p:tav tm="100000">
                                          <p:val>
                                            <p:fltVal val="1"/>
                                          </p:val>
                                        </p:tav>
                                      </p:tavLst>
                                    </p:anim>
                                  </p:childTnLst>
                                </p:cTn>
                              </p:par>
                            </p:childTnLst>
                          </p:cTn>
                        </p:par>
                        <p:par>
                          <p:cTn id="17" fill="hold">
                            <p:stCondLst>
                              <p:cond delay="2000"/>
                            </p:stCondLst>
                            <p:childTnLst>
                              <p:par>
                                <p:cTn id="18" presetID="49" presetClass="entr" presetSubtype="0" decel="10000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p:cTn id="20" dur="500" fill="hold"/>
                                        <p:tgtEl>
                                          <p:spTgt spid="21"/>
                                        </p:tgtEl>
                                        <p:attrNameLst>
                                          <p:attrName>ppt_w</p:attrName>
                                        </p:attrNameLst>
                                      </p:cBhvr>
                                      <p:tavLst>
                                        <p:tav tm="0">
                                          <p:val>
                                            <p:fltVal val="0"/>
                                          </p:val>
                                        </p:tav>
                                        <p:tav tm="100000">
                                          <p:val>
                                            <p:strVal val="#ppt_w"/>
                                          </p:val>
                                        </p:tav>
                                      </p:tavLst>
                                    </p:anim>
                                    <p:anim calcmode="lin" valueType="num">
                                      <p:cBhvr>
                                        <p:cTn id="21" dur="500" fill="hold"/>
                                        <p:tgtEl>
                                          <p:spTgt spid="21"/>
                                        </p:tgtEl>
                                        <p:attrNameLst>
                                          <p:attrName>ppt_h</p:attrName>
                                        </p:attrNameLst>
                                      </p:cBhvr>
                                      <p:tavLst>
                                        <p:tav tm="0">
                                          <p:val>
                                            <p:fltVal val="0"/>
                                          </p:val>
                                        </p:tav>
                                        <p:tav tm="100000">
                                          <p:val>
                                            <p:strVal val="#ppt_h"/>
                                          </p:val>
                                        </p:tav>
                                      </p:tavLst>
                                    </p:anim>
                                    <p:anim calcmode="lin" valueType="num">
                                      <p:cBhvr>
                                        <p:cTn id="22" dur="500" fill="hold"/>
                                        <p:tgtEl>
                                          <p:spTgt spid="21"/>
                                        </p:tgtEl>
                                        <p:attrNameLst>
                                          <p:attrName>style.rotation</p:attrName>
                                        </p:attrNameLst>
                                      </p:cBhvr>
                                      <p:tavLst>
                                        <p:tav tm="0">
                                          <p:val>
                                            <p:fltVal val="360"/>
                                          </p:val>
                                        </p:tav>
                                        <p:tav tm="100000">
                                          <p:val>
                                            <p:fltVal val="0"/>
                                          </p:val>
                                        </p:tav>
                                      </p:tavLst>
                                    </p:anim>
                                    <p:animEffect transition="in" filter="fade">
                                      <p:cBhvr>
                                        <p:cTn id="23" dur="5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2"/>
                                        </p:tgtEl>
                                        <p:attrNameLst>
                                          <p:attrName>style.visibility</p:attrName>
                                        </p:attrNameLst>
                                      </p:cBhvr>
                                      <p:to>
                                        <p:strVal val="visible"/>
                                      </p:to>
                                    </p:set>
                                    <p:animEffect transition="in" filter="fade">
                                      <p:cBhvr>
                                        <p:cTn id="28" dur="500"/>
                                        <p:tgtEl>
                                          <p:spTgt spid="102"/>
                                        </p:tgtEl>
                                      </p:cBhvr>
                                    </p:animEffect>
                                    <p:anim calcmode="lin" valueType="num">
                                      <p:cBhvr>
                                        <p:cTn id="29" dur="500" fill="hold"/>
                                        <p:tgtEl>
                                          <p:spTgt spid="102"/>
                                        </p:tgtEl>
                                        <p:attrNameLst>
                                          <p:attrName>ppt_x</p:attrName>
                                        </p:attrNameLst>
                                      </p:cBhvr>
                                      <p:tavLst>
                                        <p:tav tm="0">
                                          <p:val>
                                            <p:strVal val="#ppt_x"/>
                                          </p:val>
                                        </p:tav>
                                        <p:tav tm="100000">
                                          <p:val>
                                            <p:strVal val="#ppt_x"/>
                                          </p:val>
                                        </p:tav>
                                      </p:tavLst>
                                    </p:anim>
                                    <p:anim calcmode="lin" valueType="num">
                                      <p:cBhvr>
                                        <p:cTn id="30" dur="500" fill="hold"/>
                                        <p:tgtEl>
                                          <p:spTgt spid="10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par>
                          <p:cTn id="36" fill="hold">
                            <p:stCondLst>
                              <p:cond delay="500"/>
                            </p:stCondLst>
                            <p:childTnLst>
                              <p:par>
                                <p:cTn id="37" presetID="15" presetClass="entr" presetSubtype="0" fill="hold" nodeType="afterEffect">
                                  <p:stCondLst>
                                    <p:cond delay="0"/>
                                  </p:stCondLst>
                                  <p:childTnLst>
                                    <p:set>
                                      <p:cBhvr>
                                        <p:cTn id="38" dur="1" fill="hold">
                                          <p:stCondLst>
                                            <p:cond delay="0"/>
                                          </p:stCondLst>
                                        </p:cTn>
                                        <p:tgtEl>
                                          <p:spTgt spid="27"/>
                                        </p:tgtEl>
                                        <p:attrNameLst>
                                          <p:attrName>style.visibility</p:attrName>
                                        </p:attrNameLst>
                                      </p:cBhvr>
                                      <p:to>
                                        <p:strVal val="visible"/>
                                      </p:to>
                                    </p:set>
                                    <p:anim calcmode="lin" valueType="num">
                                      <p:cBhvr>
                                        <p:cTn id="39" dur="1000" fill="hold"/>
                                        <p:tgtEl>
                                          <p:spTgt spid="27"/>
                                        </p:tgtEl>
                                        <p:attrNameLst>
                                          <p:attrName>ppt_w</p:attrName>
                                        </p:attrNameLst>
                                      </p:cBhvr>
                                      <p:tavLst>
                                        <p:tav tm="0">
                                          <p:val>
                                            <p:fltVal val="0"/>
                                          </p:val>
                                        </p:tav>
                                        <p:tav tm="100000">
                                          <p:val>
                                            <p:strVal val="#ppt_w"/>
                                          </p:val>
                                        </p:tav>
                                      </p:tavLst>
                                    </p:anim>
                                    <p:anim calcmode="lin" valueType="num">
                                      <p:cBhvr>
                                        <p:cTn id="40" dur="1000" fill="hold"/>
                                        <p:tgtEl>
                                          <p:spTgt spid="27"/>
                                        </p:tgtEl>
                                        <p:attrNameLst>
                                          <p:attrName>ppt_h</p:attrName>
                                        </p:attrNameLst>
                                      </p:cBhvr>
                                      <p:tavLst>
                                        <p:tav tm="0">
                                          <p:val>
                                            <p:fltVal val="0"/>
                                          </p:val>
                                        </p:tav>
                                        <p:tav tm="100000">
                                          <p:val>
                                            <p:strVal val="#ppt_h"/>
                                          </p:val>
                                        </p:tav>
                                      </p:tavLst>
                                    </p:anim>
                                    <p:anim calcmode="lin" valueType="num">
                                      <p:cBhvr>
                                        <p:cTn id="41" dur="1000" fill="hold"/>
                                        <p:tgtEl>
                                          <p:spTgt spid="27"/>
                                        </p:tgtEl>
                                        <p:attrNameLst>
                                          <p:attrName>ppt_x</p:attrName>
                                        </p:attrNameLst>
                                      </p:cBhvr>
                                      <p:tavLst>
                                        <p:tav tm="0" fmla="#ppt_x+(cos(-2*pi*(1-$))*-#ppt_x-sin(-2*pi*(1-$))*(1-#ppt_y))*(1-$)">
                                          <p:val>
                                            <p:fltVal val="0"/>
                                          </p:val>
                                        </p:tav>
                                        <p:tav tm="100000">
                                          <p:val>
                                            <p:fltVal val="1"/>
                                          </p:val>
                                        </p:tav>
                                      </p:tavLst>
                                    </p:anim>
                                    <p:anim calcmode="lin" valueType="num">
                                      <p:cBhvr>
                                        <p:cTn id="42" dur="1000" fill="hold"/>
                                        <p:tgtEl>
                                          <p:spTgt spid="27"/>
                                        </p:tgtEl>
                                        <p:attrNameLst>
                                          <p:attrName>ppt_y</p:attrName>
                                        </p:attrNameLst>
                                      </p:cBhvr>
                                      <p:tavLst>
                                        <p:tav tm="0" fmla="#ppt_y+(sin(-2*pi*(1-$))*-#ppt_x+cos(-2*pi*(1-$))*(1-#ppt_y))*(1-$)">
                                          <p:val>
                                            <p:fltVal val="0"/>
                                          </p:val>
                                        </p:tav>
                                        <p:tav tm="100000">
                                          <p:val>
                                            <p:fltVal val="1"/>
                                          </p:val>
                                        </p:tav>
                                      </p:tavLst>
                                    </p:anim>
                                  </p:childTnLst>
                                </p:cTn>
                              </p:par>
                            </p:childTnLst>
                          </p:cTn>
                        </p:par>
                        <p:par>
                          <p:cTn id="43" fill="hold">
                            <p:stCondLst>
                              <p:cond delay="1500"/>
                            </p:stCondLst>
                            <p:childTnLst>
                              <p:par>
                                <p:cTn id="44" presetID="42" presetClass="entr" presetSubtype="0" fill="hold" grpId="0" nodeType="afterEffect">
                                  <p:stCondLst>
                                    <p:cond delay="0"/>
                                  </p:stCondLst>
                                  <p:childTnLst>
                                    <p:set>
                                      <p:cBhvr>
                                        <p:cTn id="45" dur="1" fill="hold">
                                          <p:stCondLst>
                                            <p:cond delay="0"/>
                                          </p:stCondLst>
                                        </p:cTn>
                                        <p:tgtEl>
                                          <p:spTgt spid="103"/>
                                        </p:tgtEl>
                                        <p:attrNameLst>
                                          <p:attrName>style.visibility</p:attrName>
                                        </p:attrNameLst>
                                      </p:cBhvr>
                                      <p:to>
                                        <p:strVal val="visible"/>
                                      </p:to>
                                    </p:set>
                                    <p:animEffect transition="in" filter="fade">
                                      <p:cBhvr>
                                        <p:cTn id="46" dur="750"/>
                                        <p:tgtEl>
                                          <p:spTgt spid="103"/>
                                        </p:tgtEl>
                                      </p:cBhvr>
                                    </p:animEffect>
                                    <p:anim calcmode="lin" valueType="num">
                                      <p:cBhvr>
                                        <p:cTn id="47" dur="750" fill="hold"/>
                                        <p:tgtEl>
                                          <p:spTgt spid="103"/>
                                        </p:tgtEl>
                                        <p:attrNameLst>
                                          <p:attrName>ppt_x</p:attrName>
                                        </p:attrNameLst>
                                      </p:cBhvr>
                                      <p:tavLst>
                                        <p:tav tm="0">
                                          <p:val>
                                            <p:strVal val="#ppt_x"/>
                                          </p:val>
                                        </p:tav>
                                        <p:tav tm="100000">
                                          <p:val>
                                            <p:strVal val="#ppt_x"/>
                                          </p:val>
                                        </p:tav>
                                      </p:tavLst>
                                    </p:anim>
                                    <p:anim calcmode="lin" valueType="num">
                                      <p:cBhvr>
                                        <p:cTn id="48" dur="750" fill="hold"/>
                                        <p:tgtEl>
                                          <p:spTgt spid="103"/>
                                        </p:tgtEl>
                                        <p:attrNameLst>
                                          <p:attrName>ppt_y</p:attrName>
                                        </p:attrNameLst>
                                      </p:cBhvr>
                                      <p:tavLst>
                                        <p:tav tm="0">
                                          <p:val>
                                            <p:strVal val="#ppt_y+.1"/>
                                          </p:val>
                                        </p:tav>
                                        <p:tav tm="100000">
                                          <p:val>
                                            <p:strVal val="#ppt_y"/>
                                          </p:val>
                                        </p:tav>
                                      </p:tavLst>
                                    </p:anim>
                                  </p:childTnLst>
                                </p:cTn>
                              </p:par>
                            </p:childTnLst>
                          </p:cTn>
                        </p:par>
                        <p:par>
                          <p:cTn id="49" fill="hold">
                            <p:stCondLst>
                              <p:cond delay="2500"/>
                            </p:stCondLst>
                            <p:childTnLst>
                              <p:par>
                                <p:cTn id="50" presetID="15" presetClass="entr" presetSubtype="0" fill="hold" nodeType="afterEffect">
                                  <p:stCondLst>
                                    <p:cond delay="0"/>
                                  </p:stCondLst>
                                  <p:childTnLst>
                                    <p:set>
                                      <p:cBhvr>
                                        <p:cTn id="51" dur="1" fill="hold">
                                          <p:stCondLst>
                                            <p:cond delay="0"/>
                                          </p:stCondLst>
                                        </p:cTn>
                                        <p:tgtEl>
                                          <p:spTgt spid="29"/>
                                        </p:tgtEl>
                                        <p:attrNameLst>
                                          <p:attrName>style.visibility</p:attrName>
                                        </p:attrNameLst>
                                      </p:cBhvr>
                                      <p:to>
                                        <p:strVal val="visible"/>
                                      </p:to>
                                    </p:set>
                                    <p:anim calcmode="lin" valueType="num">
                                      <p:cBhvr>
                                        <p:cTn id="52" dur="1000" fill="hold"/>
                                        <p:tgtEl>
                                          <p:spTgt spid="29"/>
                                        </p:tgtEl>
                                        <p:attrNameLst>
                                          <p:attrName>ppt_w</p:attrName>
                                        </p:attrNameLst>
                                      </p:cBhvr>
                                      <p:tavLst>
                                        <p:tav tm="0">
                                          <p:val>
                                            <p:fltVal val="0"/>
                                          </p:val>
                                        </p:tav>
                                        <p:tav tm="100000">
                                          <p:val>
                                            <p:strVal val="#ppt_w"/>
                                          </p:val>
                                        </p:tav>
                                      </p:tavLst>
                                    </p:anim>
                                    <p:anim calcmode="lin" valueType="num">
                                      <p:cBhvr>
                                        <p:cTn id="53" dur="1000" fill="hold"/>
                                        <p:tgtEl>
                                          <p:spTgt spid="29"/>
                                        </p:tgtEl>
                                        <p:attrNameLst>
                                          <p:attrName>ppt_h</p:attrName>
                                        </p:attrNameLst>
                                      </p:cBhvr>
                                      <p:tavLst>
                                        <p:tav tm="0">
                                          <p:val>
                                            <p:fltVal val="0"/>
                                          </p:val>
                                        </p:tav>
                                        <p:tav tm="100000">
                                          <p:val>
                                            <p:strVal val="#ppt_h"/>
                                          </p:val>
                                        </p:tav>
                                      </p:tavLst>
                                    </p:anim>
                                    <p:anim calcmode="lin" valueType="num">
                                      <p:cBhvr>
                                        <p:cTn id="54" dur="1000" fill="hold"/>
                                        <p:tgtEl>
                                          <p:spTgt spid="29"/>
                                        </p:tgtEl>
                                        <p:attrNameLst>
                                          <p:attrName>ppt_x</p:attrName>
                                        </p:attrNameLst>
                                      </p:cBhvr>
                                      <p:tavLst>
                                        <p:tav tm="0" fmla="#ppt_x+(cos(-2*pi*(1-$))*-#ppt_x-sin(-2*pi*(1-$))*(1-#ppt_y))*(1-$)">
                                          <p:val>
                                            <p:fltVal val="0"/>
                                          </p:val>
                                        </p:tav>
                                        <p:tav tm="100000">
                                          <p:val>
                                            <p:fltVal val="1"/>
                                          </p:val>
                                        </p:tav>
                                      </p:tavLst>
                                    </p:anim>
                                    <p:anim calcmode="lin" valueType="num">
                                      <p:cBhvr>
                                        <p:cTn id="55" dur="1000" fill="hold"/>
                                        <p:tgtEl>
                                          <p:spTgt spid="29"/>
                                        </p:tgtEl>
                                        <p:attrNameLst>
                                          <p:attrName>ppt_y</p:attrName>
                                        </p:attrNameLst>
                                      </p:cBhvr>
                                      <p:tavLst>
                                        <p:tav tm="0" fmla="#ppt_y+(sin(-2*pi*(1-$))*-#ppt_x+cos(-2*pi*(1-$))*(1-#ppt_y))*(1-$)">
                                          <p:val>
                                            <p:fltVal val="0"/>
                                          </p:val>
                                        </p:tav>
                                        <p:tav tm="100000">
                                          <p:val>
                                            <p:fltVal val="1"/>
                                          </p:val>
                                        </p:tav>
                                      </p:tavLst>
                                    </p:anim>
                                  </p:childTnLst>
                                </p:cTn>
                              </p:par>
                            </p:childTnLst>
                          </p:cTn>
                        </p:par>
                        <p:par>
                          <p:cTn id="56" fill="hold">
                            <p:stCondLst>
                              <p:cond delay="3500"/>
                            </p:stCondLst>
                            <p:childTnLst>
                              <p:par>
                                <p:cTn id="57" presetID="42" presetClass="entr" presetSubtype="0" fill="hold" grpId="0" nodeType="afterEffect">
                                  <p:stCondLst>
                                    <p:cond delay="0"/>
                                  </p:stCondLst>
                                  <p:childTnLst>
                                    <p:set>
                                      <p:cBhvr>
                                        <p:cTn id="58" dur="1" fill="hold">
                                          <p:stCondLst>
                                            <p:cond delay="0"/>
                                          </p:stCondLst>
                                        </p:cTn>
                                        <p:tgtEl>
                                          <p:spTgt spid="104"/>
                                        </p:tgtEl>
                                        <p:attrNameLst>
                                          <p:attrName>style.visibility</p:attrName>
                                        </p:attrNameLst>
                                      </p:cBhvr>
                                      <p:to>
                                        <p:strVal val="visible"/>
                                      </p:to>
                                    </p:set>
                                    <p:animEffect transition="in" filter="fade">
                                      <p:cBhvr>
                                        <p:cTn id="59" dur="750"/>
                                        <p:tgtEl>
                                          <p:spTgt spid="104"/>
                                        </p:tgtEl>
                                      </p:cBhvr>
                                    </p:animEffect>
                                    <p:anim calcmode="lin" valueType="num">
                                      <p:cBhvr>
                                        <p:cTn id="60" dur="750" fill="hold"/>
                                        <p:tgtEl>
                                          <p:spTgt spid="104"/>
                                        </p:tgtEl>
                                        <p:attrNameLst>
                                          <p:attrName>ppt_x</p:attrName>
                                        </p:attrNameLst>
                                      </p:cBhvr>
                                      <p:tavLst>
                                        <p:tav tm="0">
                                          <p:val>
                                            <p:strVal val="#ppt_x"/>
                                          </p:val>
                                        </p:tav>
                                        <p:tav tm="100000">
                                          <p:val>
                                            <p:strVal val="#ppt_x"/>
                                          </p:val>
                                        </p:tav>
                                      </p:tavLst>
                                    </p:anim>
                                    <p:anim calcmode="lin" valueType="num">
                                      <p:cBhvr>
                                        <p:cTn id="61" dur="750" fill="hold"/>
                                        <p:tgtEl>
                                          <p:spTgt spid="104"/>
                                        </p:tgtEl>
                                        <p:attrNameLst>
                                          <p:attrName>ppt_y</p:attrName>
                                        </p:attrNameLst>
                                      </p:cBhvr>
                                      <p:tavLst>
                                        <p:tav tm="0">
                                          <p:val>
                                            <p:strVal val="#ppt_y+.1"/>
                                          </p:val>
                                        </p:tav>
                                        <p:tav tm="100000">
                                          <p:val>
                                            <p:strVal val="#ppt_y"/>
                                          </p:val>
                                        </p:tav>
                                      </p:tavLst>
                                    </p:anim>
                                  </p:childTnLst>
                                </p:cTn>
                              </p:par>
                            </p:childTnLst>
                          </p:cTn>
                        </p:par>
                        <p:par>
                          <p:cTn id="62" fill="hold">
                            <p:stCondLst>
                              <p:cond delay="4500"/>
                            </p:stCondLst>
                            <p:childTnLst>
                              <p:par>
                                <p:cTn id="63" presetID="15" presetClass="entr" presetSubtype="0" fill="hold" nodeType="afterEffect">
                                  <p:stCondLst>
                                    <p:cond delay="0"/>
                                  </p:stCondLst>
                                  <p:childTnLst>
                                    <p:set>
                                      <p:cBhvr>
                                        <p:cTn id="64" dur="1" fill="hold">
                                          <p:stCondLst>
                                            <p:cond delay="0"/>
                                          </p:stCondLst>
                                        </p:cTn>
                                        <p:tgtEl>
                                          <p:spTgt spid="30"/>
                                        </p:tgtEl>
                                        <p:attrNameLst>
                                          <p:attrName>style.visibility</p:attrName>
                                        </p:attrNameLst>
                                      </p:cBhvr>
                                      <p:to>
                                        <p:strVal val="visible"/>
                                      </p:to>
                                    </p:set>
                                    <p:anim calcmode="lin" valueType="num">
                                      <p:cBhvr>
                                        <p:cTn id="65" dur="1000" fill="hold"/>
                                        <p:tgtEl>
                                          <p:spTgt spid="30"/>
                                        </p:tgtEl>
                                        <p:attrNameLst>
                                          <p:attrName>ppt_w</p:attrName>
                                        </p:attrNameLst>
                                      </p:cBhvr>
                                      <p:tavLst>
                                        <p:tav tm="0">
                                          <p:val>
                                            <p:fltVal val="0"/>
                                          </p:val>
                                        </p:tav>
                                        <p:tav tm="100000">
                                          <p:val>
                                            <p:strVal val="#ppt_w"/>
                                          </p:val>
                                        </p:tav>
                                      </p:tavLst>
                                    </p:anim>
                                    <p:anim calcmode="lin" valueType="num">
                                      <p:cBhvr>
                                        <p:cTn id="66" dur="1000" fill="hold"/>
                                        <p:tgtEl>
                                          <p:spTgt spid="30"/>
                                        </p:tgtEl>
                                        <p:attrNameLst>
                                          <p:attrName>ppt_h</p:attrName>
                                        </p:attrNameLst>
                                      </p:cBhvr>
                                      <p:tavLst>
                                        <p:tav tm="0">
                                          <p:val>
                                            <p:fltVal val="0"/>
                                          </p:val>
                                        </p:tav>
                                        <p:tav tm="100000">
                                          <p:val>
                                            <p:strVal val="#ppt_h"/>
                                          </p:val>
                                        </p:tav>
                                      </p:tavLst>
                                    </p:anim>
                                    <p:anim calcmode="lin" valueType="num">
                                      <p:cBhvr>
                                        <p:cTn id="67" dur="1000" fill="hold"/>
                                        <p:tgtEl>
                                          <p:spTgt spid="30"/>
                                        </p:tgtEl>
                                        <p:attrNameLst>
                                          <p:attrName>ppt_x</p:attrName>
                                        </p:attrNameLst>
                                      </p:cBhvr>
                                      <p:tavLst>
                                        <p:tav tm="0" fmla="#ppt_x+(cos(-2*pi*(1-$))*-#ppt_x-sin(-2*pi*(1-$))*(1-#ppt_y))*(1-$)">
                                          <p:val>
                                            <p:fltVal val="0"/>
                                          </p:val>
                                        </p:tav>
                                        <p:tav tm="100000">
                                          <p:val>
                                            <p:fltVal val="1"/>
                                          </p:val>
                                        </p:tav>
                                      </p:tavLst>
                                    </p:anim>
                                    <p:anim calcmode="lin" valueType="num">
                                      <p:cBhvr>
                                        <p:cTn id="68" dur="1000" fill="hold"/>
                                        <p:tgtEl>
                                          <p:spTgt spid="30"/>
                                        </p:tgtEl>
                                        <p:attrNameLst>
                                          <p:attrName>ppt_y</p:attrName>
                                        </p:attrNameLst>
                                      </p:cBhvr>
                                      <p:tavLst>
                                        <p:tav tm="0" fmla="#ppt_y+(sin(-2*pi*(1-$))*-#ppt_x+cos(-2*pi*(1-$))*(1-#ppt_y))*(1-$)">
                                          <p:val>
                                            <p:fltVal val="0"/>
                                          </p:val>
                                        </p:tav>
                                        <p:tav tm="100000">
                                          <p:val>
                                            <p:fltVal val="1"/>
                                          </p:val>
                                        </p:tav>
                                      </p:tavLst>
                                    </p:anim>
                                  </p:childTnLst>
                                </p:cTn>
                              </p:par>
                            </p:childTnLst>
                          </p:cTn>
                        </p:par>
                        <p:par>
                          <p:cTn id="69" fill="hold">
                            <p:stCondLst>
                              <p:cond delay="5500"/>
                            </p:stCondLst>
                            <p:childTnLst>
                              <p:par>
                                <p:cTn id="70" presetID="42" presetClass="entr" presetSubtype="0" fill="hold" grpId="0" nodeType="afterEffect">
                                  <p:stCondLst>
                                    <p:cond delay="0"/>
                                  </p:stCondLst>
                                  <p:childTnLst>
                                    <p:set>
                                      <p:cBhvr>
                                        <p:cTn id="71" dur="1" fill="hold">
                                          <p:stCondLst>
                                            <p:cond delay="0"/>
                                          </p:stCondLst>
                                        </p:cTn>
                                        <p:tgtEl>
                                          <p:spTgt spid="105"/>
                                        </p:tgtEl>
                                        <p:attrNameLst>
                                          <p:attrName>style.visibility</p:attrName>
                                        </p:attrNameLst>
                                      </p:cBhvr>
                                      <p:to>
                                        <p:strVal val="visible"/>
                                      </p:to>
                                    </p:set>
                                    <p:animEffect transition="in" filter="fade">
                                      <p:cBhvr>
                                        <p:cTn id="72" dur="750"/>
                                        <p:tgtEl>
                                          <p:spTgt spid="105"/>
                                        </p:tgtEl>
                                      </p:cBhvr>
                                    </p:animEffect>
                                    <p:anim calcmode="lin" valueType="num">
                                      <p:cBhvr>
                                        <p:cTn id="73" dur="750" fill="hold"/>
                                        <p:tgtEl>
                                          <p:spTgt spid="105"/>
                                        </p:tgtEl>
                                        <p:attrNameLst>
                                          <p:attrName>ppt_x</p:attrName>
                                        </p:attrNameLst>
                                      </p:cBhvr>
                                      <p:tavLst>
                                        <p:tav tm="0">
                                          <p:val>
                                            <p:strVal val="#ppt_x"/>
                                          </p:val>
                                        </p:tav>
                                        <p:tav tm="100000">
                                          <p:val>
                                            <p:strVal val="#ppt_x"/>
                                          </p:val>
                                        </p:tav>
                                      </p:tavLst>
                                    </p:anim>
                                    <p:anim calcmode="lin" valueType="num">
                                      <p:cBhvr>
                                        <p:cTn id="74" dur="750" fill="hold"/>
                                        <p:tgtEl>
                                          <p:spTgt spid="10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4" grpId="0" animBg="1"/>
      <p:bldP spid="103" grpId="0"/>
      <p:bldP spid="104" grpId="0"/>
      <p:bldP spid="10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4212555" y="801712"/>
            <a:ext cx="2879725" cy="2176462"/>
            <a:chOff x="4212555" y="801712"/>
            <a:chExt cx="2879725" cy="2176462"/>
          </a:xfrm>
        </p:grpSpPr>
        <p:grpSp>
          <p:nvGrpSpPr>
            <p:cNvPr id="3" name="Group 98"/>
            <p:cNvGrpSpPr/>
            <p:nvPr/>
          </p:nvGrpSpPr>
          <p:grpSpPr bwMode="auto">
            <a:xfrm>
              <a:off x="4357762" y="801712"/>
              <a:ext cx="2590800" cy="2176462"/>
              <a:chOff x="2767" y="981"/>
              <a:chExt cx="1632" cy="1371"/>
            </a:xfrm>
          </p:grpSpPr>
          <p:sp>
            <p:nvSpPr>
              <p:cNvPr id="20" name="Freeform 99"/>
              <p:cNvSpPr>
                <a:spLocks noEditPoints="1"/>
              </p:cNvSpPr>
              <p:nvPr/>
            </p:nvSpPr>
            <p:spPr bwMode="auto">
              <a:xfrm>
                <a:off x="2767" y="1185"/>
                <a:ext cx="1632" cy="1167"/>
              </a:xfrm>
              <a:custGeom>
                <a:avLst/>
                <a:gdLst>
                  <a:gd name="T0" fmla="*/ 1706 w 1816"/>
                  <a:gd name="T1" fmla="*/ 792 h 1816"/>
                  <a:gd name="T2" fmla="*/ 1718 w 1816"/>
                  <a:gd name="T3" fmla="*/ 494 h 1816"/>
                  <a:gd name="T4" fmla="*/ 1552 w 1816"/>
                  <a:gd name="T5" fmla="*/ 424 h 1816"/>
                  <a:gd name="T6" fmla="*/ 1426 w 1816"/>
                  <a:gd name="T7" fmla="*/ 290 h 1816"/>
                  <a:gd name="T8" fmla="*/ 1320 w 1816"/>
                  <a:gd name="T9" fmla="*/ 96 h 1816"/>
                  <a:gd name="T10" fmla="*/ 1066 w 1816"/>
                  <a:gd name="T11" fmla="*/ 116 h 1816"/>
                  <a:gd name="T12" fmla="*/ 836 w 1816"/>
                  <a:gd name="T13" fmla="*/ 104 h 1816"/>
                  <a:gd name="T14" fmla="*/ 666 w 1816"/>
                  <a:gd name="T15" fmla="*/ 138 h 1816"/>
                  <a:gd name="T16" fmla="*/ 496 w 1816"/>
                  <a:gd name="T17" fmla="*/ 214 h 1816"/>
                  <a:gd name="T18" fmla="*/ 216 w 1816"/>
                  <a:gd name="T19" fmla="*/ 316 h 1816"/>
                  <a:gd name="T20" fmla="*/ 214 w 1816"/>
                  <a:gd name="T21" fmla="*/ 496 h 1816"/>
                  <a:gd name="T22" fmla="*/ 138 w 1816"/>
                  <a:gd name="T23" fmla="*/ 666 h 1816"/>
                  <a:gd name="T24" fmla="*/ 0 w 1816"/>
                  <a:gd name="T25" fmla="*/ 836 h 1816"/>
                  <a:gd name="T26" fmla="*/ 116 w 1816"/>
                  <a:gd name="T27" fmla="*/ 1066 h 1816"/>
                  <a:gd name="T28" fmla="*/ 192 w 1816"/>
                  <a:gd name="T29" fmla="*/ 1280 h 1816"/>
                  <a:gd name="T30" fmla="*/ 288 w 1816"/>
                  <a:gd name="T31" fmla="*/ 1426 h 1816"/>
                  <a:gd name="T32" fmla="*/ 424 w 1816"/>
                  <a:gd name="T33" fmla="*/ 1554 h 1816"/>
                  <a:gd name="T34" fmla="*/ 626 w 1816"/>
                  <a:gd name="T35" fmla="*/ 1774 h 1816"/>
                  <a:gd name="T36" fmla="*/ 792 w 1816"/>
                  <a:gd name="T37" fmla="*/ 1706 h 1816"/>
                  <a:gd name="T38" fmla="*/ 978 w 1816"/>
                  <a:gd name="T39" fmla="*/ 1712 h 1816"/>
                  <a:gd name="T40" fmla="*/ 1188 w 1816"/>
                  <a:gd name="T41" fmla="*/ 1774 h 1816"/>
                  <a:gd name="T42" fmla="*/ 1356 w 1816"/>
                  <a:gd name="T43" fmla="*/ 1578 h 1816"/>
                  <a:gd name="T44" fmla="*/ 1526 w 1816"/>
                  <a:gd name="T45" fmla="*/ 1426 h 1816"/>
                  <a:gd name="T46" fmla="*/ 1622 w 1816"/>
                  <a:gd name="T47" fmla="*/ 1280 h 1816"/>
                  <a:gd name="T48" fmla="*/ 1688 w 1816"/>
                  <a:gd name="T49" fmla="*/ 1108 h 1816"/>
                  <a:gd name="T50" fmla="*/ 908 w 1816"/>
                  <a:gd name="T51" fmla="*/ 1614 h 1816"/>
                  <a:gd name="T52" fmla="*/ 766 w 1816"/>
                  <a:gd name="T53" fmla="*/ 1600 h 1816"/>
                  <a:gd name="T54" fmla="*/ 602 w 1816"/>
                  <a:gd name="T55" fmla="*/ 1544 h 1816"/>
                  <a:gd name="T56" fmla="*/ 458 w 1816"/>
                  <a:gd name="T57" fmla="*/ 1452 h 1816"/>
                  <a:gd name="T58" fmla="*/ 342 w 1816"/>
                  <a:gd name="T59" fmla="*/ 1330 h 1816"/>
                  <a:gd name="T60" fmla="*/ 256 w 1816"/>
                  <a:gd name="T61" fmla="*/ 1182 h 1816"/>
                  <a:gd name="T62" fmla="*/ 210 w 1816"/>
                  <a:gd name="T63" fmla="*/ 1016 h 1816"/>
                  <a:gd name="T64" fmla="*/ 202 w 1816"/>
                  <a:gd name="T65" fmla="*/ 872 h 1816"/>
                  <a:gd name="T66" fmla="*/ 234 w 1816"/>
                  <a:gd name="T67" fmla="*/ 698 h 1816"/>
                  <a:gd name="T68" fmla="*/ 304 w 1816"/>
                  <a:gd name="T69" fmla="*/ 542 h 1816"/>
                  <a:gd name="T70" fmla="*/ 408 w 1816"/>
                  <a:gd name="T71" fmla="*/ 408 h 1816"/>
                  <a:gd name="T72" fmla="*/ 542 w 1816"/>
                  <a:gd name="T73" fmla="*/ 304 h 1816"/>
                  <a:gd name="T74" fmla="*/ 698 w 1816"/>
                  <a:gd name="T75" fmla="*/ 234 h 1816"/>
                  <a:gd name="T76" fmla="*/ 872 w 1816"/>
                  <a:gd name="T77" fmla="*/ 202 h 1816"/>
                  <a:gd name="T78" fmla="*/ 1014 w 1816"/>
                  <a:gd name="T79" fmla="*/ 210 h 1816"/>
                  <a:gd name="T80" fmla="*/ 1182 w 1816"/>
                  <a:gd name="T81" fmla="*/ 258 h 1816"/>
                  <a:gd name="T82" fmla="*/ 1330 w 1816"/>
                  <a:gd name="T83" fmla="*/ 342 h 1816"/>
                  <a:gd name="T84" fmla="*/ 1452 w 1816"/>
                  <a:gd name="T85" fmla="*/ 458 h 1816"/>
                  <a:gd name="T86" fmla="*/ 1544 w 1816"/>
                  <a:gd name="T87" fmla="*/ 602 h 1816"/>
                  <a:gd name="T88" fmla="*/ 1598 w 1816"/>
                  <a:gd name="T89" fmla="*/ 766 h 1816"/>
                  <a:gd name="T90" fmla="*/ 1614 w 1816"/>
                  <a:gd name="T91" fmla="*/ 908 h 1816"/>
                  <a:gd name="T92" fmla="*/ 1592 w 1816"/>
                  <a:gd name="T93" fmla="*/ 1084 h 1816"/>
                  <a:gd name="T94" fmla="*/ 1528 w 1816"/>
                  <a:gd name="T95" fmla="*/ 1244 h 1816"/>
                  <a:gd name="T96" fmla="*/ 1430 w 1816"/>
                  <a:gd name="T97" fmla="*/ 1382 h 1816"/>
                  <a:gd name="T98" fmla="*/ 1302 w 1816"/>
                  <a:gd name="T99" fmla="*/ 1492 h 1816"/>
                  <a:gd name="T100" fmla="*/ 1150 w 1816"/>
                  <a:gd name="T101" fmla="*/ 1570 h 1816"/>
                  <a:gd name="T102" fmla="*/ 980 w 1816"/>
                  <a:gd name="T103" fmla="*/ 161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16" h="1816">
                    <a:moveTo>
                      <a:pt x="1816" y="978"/>
                    </a:moveTo>
                    <a:lnTo>
                      <a:pt x="1816" y="836"/>
                    </a:lnTo>
                    <a:lnTo>
                      <a:pt x="1710" y="836"/>
                    </a:lnTo>
                    <a:lnTo>
                      <a:pt x="1710" y="836"/>
                    </a:lnTo>
                    <a:lnTo>
                      <a:pt x="1706" y="792"/>
                    </a:lnTo>
                    <a:lnTo>
                      <a:pt x="1698" y="750"/>
                    </a:lnTo>
                    <a:lnTo>
                      <a:pt x="1688" y="708"/>
                    </a:lnTo>
                    <a:lnTo>
                      <a:pt x="1678" y="666"/>
                    </a:lnTo>
                    <a:lnTo>
                      <a:pt x="1774" y="626"/>
                    </a:lnTo>
                    <a:lnTo>
                      <a:pt x="1718" y="494"/>
                    </a:lnTo>
                    <a:lnTo>
                      <a:pt x="1622" y="534"/>
                    </a:lnTo>
                    <a:lnTo>
                      <a:pt x="1622" y="534"/>
                    </a:lnTo>
                    <a:lnTo>
                      <a:pt x="1602" y="496"/>
                    </a:lnTo>
                    <a:lnTo>
                      <a:pt x="1578" y="460"/>
                    </a:lnTo>
                    <a:lnTo>
                      <a:pt x="1552" y="424"/>
                    </a:lnTo>
                    <a:lnTo>
                      <a:pt x="1526" y="390"/>
                    </a:lnTo>
                    <a:lnTo>
                      <a:pt x="1600" y="316"/>
                    </a:lnTo>
                    <a:lnTo>
                      <a:pt x="1498" y="216"/>
                    </a:lnTo>
                    <a:lnTo>
                      <a:pt x="1426" y="290"/>
                    </a:lnTo>
                    <a:lnTo>
                      <a:pt x="1426" y="290"/>
                    </a:lnTo>
                    <a:lnTo>
                      <a:pt x="1392" y="262"/>
                    </a:lnTo>
                    <a:lnTo>
                      <a:pt x="1356" y="236"/>
                    </a:lnTo>
                    <a:lnTo>
                      <a:pt x="1318" y="214"/>
                    </a:lnTo>
                    <a:lnTo>
                      <a:pt x="1280" y="192"/>
                    </a:lnTo>
                    <a:lnTo>
                      <a:pt x="1320" y="96"/>
                    </a:lnTo>
                    <a:lnTo>
                      <a:pt x="1188" y="42"/>
                    </a:lnTo>
                    <a:lnTo>
                      <a:pt x="1150" y="138"/>
                    </a:lnTo>
                    <a:lnTo>
                      <a:pt x="1150" y="138"/>
                    </a:lnTo>
                    <a:lnTo>
                      <a:pt x="1108" y="126"/>
                    </a:lnTo>
                    <a:lnTo>
                      <a:pt x="1066" y="116"/>
                    </a:lnTo>
                    <a:lnTo>
                      <a:pt x="1022" y="110"/>
                    </a:lnTo>
                    <a:lnTo>
                      <a:pt x="978" y="104"/>
                    </a:lnTo>
                    <a:lnTo>
                      <a:pt x="978" y="0"/>
                    </a:lnTo>
                    <a:lnTo>
                      <a:pt x="836" y="0"/>
                    </a:lnTo>
                    <a:lnTo>
                      <a:pt x="836" y="104"/>
                    </a:lnTo>
                    <a:lnTo>
                      <a:pt x="836" y="104"/>
                    </a:lnTo>
                    <a:lnTo>
                      <a:pt x="792" y="110"/>
                    </a:lnTo>
                    <a:lnTo>
                      <a:pt x="750" y="116"/>
                    </a:lnTo>
                    <a:lnTo>
                      <a:pt x="706" y="126"/>
                    </a:lnTo>
                    <a:lnTo>
                      <a:pt x="666" y="138"/>
                    </a:lnTo>
                    <a:lnTo>
                      <a:pt x="626" y="42"/>
                    </a:lnTo>
                    <a:lnTo>
                      <a:pt x="494" y="96"/>
                    </a:lnTo>
                    <a:lnTo>
                      <a:pt x="534" y="192"/>
                    </a:lnTo>
                    <a:lnTo>
                      <a:pt x="534" y="192"/>
                    </a:lnTo>
                    <a:lnTo>
                      <a:pt x="496" y="214"/>
                    </a:lnTo>
                    <a:lnTo>
                      <a:pt x="460" y="236"/>
                    </a:lnTo>
                    <a:lnTo>
                      <a:pt x="424" y="262"/>
                    </a:lnTo>
                    <a:lnTo>
                      <a:pt x="390" y="290"/>
                    </a:lnTo>
                    <a:lnTo>
                      <a:pt x="316" y="216"/>
                    </a:lnTo>
                    <a:lnTo>
                      <a:pt x="216" y="316"/>
                    </a:lnTo>
                    <a:lnTo>
                      <a:pt x="288" y="390"/>
                    </a:lnTo>
                    <a:lnTo>
                      <a:pt x="288" y="390"/>
                    </a:lnTo>
                    <a:lnTo>
                      <a:pt x="262" y="424"/>
                    </a:lnTo>
                    <a:lnTo>
                      <a:pt x="236" y="460"/>
                    </a:lnTo>
                    <a:lnTo>
                      <a:pt x="214" y="496"/>
                    </a:lnTo>
                    <a:lnTo>
                      <a:pt x="192" y="534"/>
                    </a:lnTo>
                    <a:lnTo>
                      <a:pt x="96" y="494"/>
                    </a:lnTo>
                    <a:lnTo>
                      <a:pt x="42" y="626"/>
                    </a:lnTo>
                    <a:lnTo>
                      <a:pt x="138" y="666"/>
                    </a:lnTo>
                    <a:lnTo>
                      <a:pt x="138" y="666"/>
                    </a:lnTo>
                    <a:lnTo>
                      <a:pt x="126" y="708"/>
                    </a:lnTo>
                    <a:lnTo>
                      <a:pt x="116" y="750"/>
                    </a:lnTo>
                    <a:lnTo>
                      <a:pt x="108" y="792"/>
                    </a:lnTo>
                    <a:lnTo>
                      <a:pt x="104" y="836"/>
                    </a:lnTo>
                    <a:lnTo>
                      <a:pt x="0" y="836"/>
                    </a:lnTo>
                    <a:lnTo>
                      <a:pt x="0" y="978"/>
                    </a:lnTo>
                    <a:lnTo>
                      <a:pt x="104" y="978"/>
                    </a:lnTo>
                    <a:lnTo>
                      <a:pt x="104" y="978"/>
                    </a:lnTo>
                    <a:lnTo>
                      <a:pt x="108" y="1022"/>
                    </a:lnTo>
                    <a:lnTo>
                      <a:pt x="116" y="1066"/>
                    </a:lnTo>
                    <a:lnTo>
                      <a:pt x="126" y="1108"/>
                    </a:lnTo>
                    <a:lnTo>
                      <a:pt x="138" y="1150"/>
                    </a:lnTo>
                    <a:lnTo>
                      <a:pt x="42" y="1190"/>
                    </a:lnTo>
                    <a:lnTo>
                      <a:pt x="96" y="1320"/>
                    </a:lnTo>
                    <a:lnTo>
                      <a:pt x="192" y="1280"/>
                    </a:lnTo>
                    <a:lnTo>
                      <a:pt x="192" y="1280"/>
                    </a:lnTo>
                    <a:lnTo>
                      <a:pt x="214" y="1320"/>
                    </a:lnTo>
                    <a:lnTo>
                      <a:pt x="236" y="1356"/>
                    </a:lnTo>
                    <a:lnTo>
                      <a:pt x="262" y="1392"/>
                    </a:lnTo>
                    <a:lnTo>
                      <a:pt x="288" y="1426"/>
                    </a:lnTo>
                    <a:lnTo>
                      <a:pt x="216" y="1500"/>
                    </a:lnTo>
                    <a:lnTo>
                      <a:pt x="316" y="1600"/>
                    </a:lnTo>
                    <a:lnTo>
                      <a:pt x="390" y="1526"/>
                    </a:lnTo>
                    <a:lnTo>
                      <a:pt x="390" y="1526"/>
                    </a:lnTo>
                    <a:lnTo>
                      <a:pt x="424" y="1554"/>
                    </a:lnTo>
                    <a:lnTo>
                      <a:pt x="460" y="1578"/>
                    </a:lnTo>
                    <a:lnTo>
                      <a:pt x="496" y="1602"/>
                    </a:lnTo>
                    <a:lnTo>
                      <a:pt x="534" y="1622"/>
                    </a:lnTo>
                    <a:lnTo>
                      <a:pt x="494" y="1718"/>
                    </a:lnTo>
                    <a:lnTo>
                      <a:pt x="626" y="1774"/>
                    </a:lnTo>
                    <a:lnTo>
                      <a:pt x="666" y="1678"/>
                    </a:lnTo>
                    <a:lnTo>
                      <a:pt x="666" y="1678"/>
                    </a:lnTo>
                    <a:lnTo>
                      <a:pt x="706" y="1690"/>
                    </a:lnTo>
                    <a:lnTo>
                      <a:pt x="750" y="1698"/>
                    </a:lnTo>
                    <a:lnTo>
                      <a:pt x="792" y="1706"/>
                    </a:lnTo>
                    <a:lnTo>
                      <a:pt x="836" y="1712"/>
                    </a:lnTo>
                    <a:lnTo>
                      <a:pt x="836" y="1816"/>
                    </a:lnTo>
                    <a:lnTo>
                      <a:pt x="978" y="1816"/>
                    </a:lnTo>
                    <a:lnTo>
                      <a:pt x="978" y="1712"/>
                    </a:lnTo>
                    <a:lnTo>
                      <a:pt x="978" y="1712"/>
                    </a:lnTo>
                    <a:lnTo>
                      <a:pt x="1022" y="1706"/>
                    </a:lnTo>
                    <a:lnTo>
                      <a:pt x="1066" y="1698"/>
                    </a:lnTo>
                    <a:lnTo>
                      <a:pt x="1108" y="1690"/>
                    </a:lnTo>
                    <a:lnTo>
                      <a:pt x="1150" y="1678"/>
                    </a:lnTo>
                    <a:lnTo>
                      <a:pt x="1188" y="1774"/>
                    </a:lnTo>
                    <a:lnTo>
                      <a:pt x="1320" y="1718"/>
                    </a:lnTo>
                    <a:lnTo>
                      <a:pt x="1280" y="1622"/>
                    </a:lnTo>
                    <a:lnTo>
                      <a:pt x="1280" y="1622"/>
                    </a:lnTo>
                    <a:lnTo>
                      <a:pt x="1318" y="1602"/>
                    </a:lnTo>
                    <a:lnTo>
                      <a:pt x="1356" y="1578"/>
                    </a:lnTo>
                    <a:lnTo>
                      <a:pt x="1392" y="1554"/>
                    </a:lnTo>
                    <a:lnTo>
                      <a:pt x="1426" y="1526"/>
                    </a:lnTo>
                    <a:lnTo>
                      <a:pt x="1498" y="1600"/>
                    </a:lnTo>
                    <a:lnTo>
                      <a:pt x="1600" y="1500"/>
                    </a:lnTo>
                    <a:lnTo>
                      <a:pt x="1526" y="1426"/>
                    </a:lnTo>
                    <a:lnTo>
                      <a:pt x="1526" y="1426"/>
                    </a:lnTo>
                    <a:lnTo>
                      <a:pt x="1552" y="1392"/>
                    </a:lnTo>
                    <a:lnTo>
                      <a:pt x="1578" y="1356"/>
                    </a:lnTo>
                    <a:lnTo>
                      <a:pt x="1602" y="1320"/>
                    </a:lnTo>
                    <a:lnTo>
                      <a:pt x="1622" y="1280"/>
                    </a:lnTo>
                    <a:lnTo>
                      <a:pt x="1718" y="1320"/>
                    </a:lnTo>
                    <a:lnTo>
                      <a:pt x="1774" y="1190"/>
                    </a:lnTo>
                    <a:lnTo>
                      <a:pt x="1678" y="115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lnTo>
                      <a:pt x="908" y="1614"/>
                    </a:lnTo>
                    <a:close/>
                  </a:path>
                </a:pathLst>
              </a:custGeom>
              <a:solidFill>
                <a:schemeClr val="tx1">
                  <a:alpha val="50000"/>
                </a:schemeClr>
              </a:solidFill>
              <a:ln>
                <a:noFill/>
              </a:ln>
              <a:effectLst/>
              <a:extLst>
                <a:ext uri="{91240B29-F687-4F45-9708-019B960494DF}">
                  <a14:hiddenLine xmlns:a14="http://schemas.microsoft.com/office/drawing/2010/main" w="19050">
                    <a:solidFill>
                      <a:schemeClr val="bg1"/>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lstStyle/>
              <a:p>
                <a:endParaRPr lang="zh-CN" altLang="en-US"/>
              </a:p>
            </p:txBody>
          </p:sp>
          <p:sp>
            <p:nvSpPr>
              <p:cNvPr id="21" name="Freeform 100"/>
              <p:cNvSpPr>
                <a:spLocks noEditPoints="1"/>
              </p:cNvSpPr>
              <p:nvPr/>
            </p:nvSpPr>
            <p:spPr bwMode="auto">
              <a:xfrm>
                <a:off x="2767" y="981"/>
                <a:ext cx="1632" cy="1167"/>
              </a:xfrm>
              <a:custGeom>
                <a:avLst/>
                <a:gdLst>
                  <a:gd name="T0" fmla="*/ 1706 w 1816"/>
                  <a:gd name="T1" fmla="*/ 792 h 1816"/>
                  <a:gd name="T2" fmla="*/ 1718 w 1816"/>
                  <a:gd name="T3" fmla="*/ 494 h 1816"/>
                  <a:gd name="T4" fmla="*/ 1552 w 1816"/>
                  <a:gd name="T5" fmla="*/ 424 h 1816"/>
                  <a:gd name="T6" fmla="*/ 1426 w 1816"/>
                  <a:gd name="T7" fmla="*/ 290 h 1816"/>
                  <a:gd name="T8" fmla="*/ 1320 w 1816"/>
                  <a:gd name="T9" fmla="*/ 96 h 1816"/>
                  <a:gd name="T10" fmla="*/ 1066 w 1816"/>
                  <a:gd name="T11" fmla="*/ 116 h 1816"/>
                  <a:gd name="T12" fmla="*/ 836 w 1816"/>
                  <a:gd name="T13" fmla="*/ 104 h 1816"/>
                  <a:gd name="T14" fmla="*/ 666 w 1816"/>
                  <a:gd name="T15" fmla="*/ 138 h 1816"/>
                  <a:gd name="T16" fmla="*/ 496 w 1816"/>
                  <a:gd name="T17" fmla="*/ 214 h 1816"/>
                  <a:gd name="T18" fmla="*/ 216 w 1816"/>
                  <a:gd name="T19" fmla="*/ 316 h 1816"/>
                  <a:gd name="T20" fmla="*/ 214 w 1816"/>
                  <a:gd name="T21" fmla="*/ 496 h 1816"/>
                  <a:gd name="T22" fmla="*/ 138 w 1816"/>
                  <a:gd name="T23" fmla="*/ 666 h 1816"/>
                  <a:gd name="T24" fmla="*/ 0 w 1816"/>
                  <a:gd name="T25" fmla="*/ 836 h 1816"/>
                  <a:gd name="T26" fmla="*/ 116 w 1816"/>
                  <a:gd name="T27" fmla="*/ 1066 h 1816"/>
                  <a:gd name="T28" fmla="*/ 192 w 1816"/>
                  <a:gd name="T29" fmla="*/ 1280 h 1816"/>
                  <a:gd name="T30" fmla="*/ 288 w 1816"/>
                  <a:gd name="T31" fmla="*/ 1426 h 1816"/>
                  <a:gd name="T32" fmla="*/ 424 w 1816"/>
                  <a:gd name="T33" fmla="*/ 1554 h 1816"/>
                  <a:gd name="T34" fmla="*/ 626 w 1816"/>
                  <a:gd name="T35" fmla="*/ 1774 h 1816"/>
                  <a:gd name="T36" fmla="*/ 792 w 1816"/>
                  <a:gd name="T37" fmla="*/ 1706 h 1816"/>
                  <a:gd name="T38" fmla="*/ 978 w 1816"/>
                  <a:gd name="T39" fmla="*/ 1712 h 1816"/>
                  <a:gd name="T40" fmla="*/ 1188 w 1816"/>
                  <a:gd name="T41" fmla="*/ 1774 h 1816"/>
                  <a:gd name="T42" fmla="*/ 1356 w 1816"/>
                  <a:gd name="T43" fmla="*/ 1578 h 1816"/>
                  <a:gd name="T44" fmla="*/ 1526 w 1816"/>
                  <a:gd name="T45" fmla="*/ 1426 h 1816"/>
                  <a:gd name="T46" fmla="*/ 1622 w 1816"/>
                  <a:gd name="T47" fmla="*/ 1280 h 1816"/>
                  <a:gd name="T48" fmla="*/ 1688 w 1816"/>
                  <a:gd name="T49" fmla="*/ 1108 h 1816"/>
                  <a:gd name="T50" fmla="*/ 908 w 1816"/>
                  <a:gd name="T51" fmla="*/ 1614 h 1816"/>
                  <a:gd name="T52" fmla="*/ 766 w 1816"/>
                  <a:gd name="T53" fmla="*/ 1600 h 1816"/>
                  <a:gd name="T54" fmla="*/ 602 w 1816"/>
                  <a:gd name="T55" fmla="*/ 1544 h 1816"/>
                  <a:gd name="T56" fmla="*/ 458 w 1816"/>
                  <a:gd name="T57" fmla="*/ 1452 h 1816"/>
                  <a:gd name="T58" fmla="*/ 342 w 1816"/>
                  <a:gd name="T59" fmla="*/ 1330 h 1816"/>
                  <a:gd name="T60" fmla="*/ 256 w 1816"/>
                  <a:gd name="T61" fmla="*/ 1182 h 1816"/>
                  <a:gd name="T62" fmla="*/ 210 w 1816"/>
                  <a:gd name="T63" fmla="*/ 1016 h 1816"/>
                  <a:gd name="T64" fmla="*/ 202 w 1816"/>
                  <a:gd name="T65" fmla="*/ 872 h 1816"/>
                  <a:gd name="T66" fmla="*/ 234 w 1816"/>
                  <a:gd name="T67" fmla="*/ 698 h 1816"/>
                  <a:gd name="T68" fmla="*/ 304 w 1816"/>
                  <a:gd name="T69" fmla="*/ 542 h 1816"/>
                  <a:gd name="T70" fmla="*/ 408 w 1816"/>
                  <a:gd name="T71" fmla="*/ 408 h 1816"/>
                  <a:gd name="T72" fmla="*/ 542 w 1816"/>
                  <a:gd name="T73" fmla="*/ 304 h 1816"/>
                  <a:gd name="T74" fmla="*/ 698 w 1816"/>
                  <a:gd name="T75" fmla="*/ 234 h 1816"/>
                  <a:gd name="T76" fmla="*/ 872 w 1816"/>
                  <a:gd name="T77" fmla="*/ 202 h 1816"/>
                  <a:gd name="T78" fmla="*/ 1014 w 1816"/>
                  <a:gd name="T79" fmla="*/ 210 h 1816"/>
                  <a:gd name="T80" fmla="*/ 1182 w 1816"/>
                  <a:gd name="T81" fmla="*/ 258 h 1816"/>
                  <a:gd name="T82" fmla="*/ 1330 w 1816"/>
                  <a:gd name="T83" fmla="*/ 342 h 1816"/>
                  <a:gd name="T84" fmla="*/ 1452 w 1816"/>
                  <a:gd name="T85" fmla="*/ 458 h 1816"/>
                  <a:gd name="T86" fmla="*/ 1544 w 1816"/>
                  <a:gd name="T87" fmla="*/ 602 h 1816"/>
                  <a:gd name="T88" fmla="*/ 1598 w 1816"/>
                  <a:gd name="T89" fmla="*/ 766 h 1816"/>
                  <a:gd name="T90" fmla="*/ 1614 w 1816"/>
                  <a:gd name="T91" fmla="*/ 908 h 1816"/>
                  <a:gd name="T92" fmla="*/ 1592 w 1816"/>
                  <a:gd name="T93" fmla="*/ 1084 h 1816"/>
                  <a:gd name="T94" fmla="*/ 1528 w 1816"/>
                  <a:gd name="T95" fmla="*/ 1244 h 1816"/>
                  <a:gd name="T96" fmla="*/ 1430 w 1816"/>
                  <a:gd name="T97" fmla="*/ 1382 h 1816"/>
                  <a:gd name="T98" fmla="*/ 1302 w 1816"/>
                  <a:gd name="T99" fmla="*/ 1492 h 1816"/>
                  <a:gd name="T100" fmla="*/ 1150 w 1816"/>
                  <a:gd name="T101" fmla="*/ 1570 h 1816"/>
                  <a:gd name="T102" fmla="*/ 980 w 1816"/>
                  <a:gd name="T103" fmla="*/ 1610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16" h="1816">
                    <a:moveTo>
                      <a:pt x="1816" y="978"/>
                    </a:moveTo>
                    <a:lnTo>
                      <a:pt x="1816" y="836"/>
                    </a:lnTo>
                    <a:lnTo>
                      <a:pt x="1710" y="836"/>
                    </a:lnTo>
                    <a:lnTo>
                      <a:pt x="1710" y="836"/>
                    </a:lnTo>
                    <a:lnTo>
                      <a:pt x="1706" y="792"/>
                    </a:lnTo>
                    <a:lnTo>
                      <a:pt x="1698" y="750"/>
                    </a:lnTo>
                    <a:lnTo>
                      <a:pt x="1688" y="708"/>
                    </a:lnTo>
                    <a:lnTo>
                      <a:pt x="1678" y="666"/>
                    </a:lnTo>
                    <a:lnTo>
                      <a:pt x="1774" y="626"/>
                    </a:lnTo>
                    <a:lnTo>
                      <a:pt x="1718" y="494"/>
                    </a:lnTo>
                    <a:lnTo>
                      <a:pt x="1622" y="534"/>
                    </a:lnTo>
                    <a:lnTo>
                      <a:pt x="1622" y="534"/>
                    </a:lnTo>
                    <a:lnTo>
                      <a:pt x="1602" y="496"/>
                    </a:lnTo>
                    <a:lnTo>
                      <a:pt x="1578" y="460"/>
                    </a:lnTo>
                    <a:lnTo>
                      <a:pt x="1552" y="424"/>
                    </a:lnTo>
                    <a:lnTo>
                      <a:pt x="1526" y="390"/>
                    </a:lnTo>
                    <a:lnTo>
                      <a:pt x="1600" y="316"/>
                    </a:lnTo>
                    <a:lnTo>
                      <a:pt x="1498" y="216"/>
                    </a:lnTo>
                    <a:lnTo>
                      <a:pt x="1426" y="290"/>
                    </a:lnTo>
                    <a:lnTo>
                      <a:pt x="1426" y="290"/>
                    </a:lnTo>
                    <a:lnTo>
                      <a:pt x="1392" y="262"/>
                    </a:lnTo>
                    <a:lnTo>
                      <a:pt x="1356" y="236"/>
                    </a:lnTo>
                    <a:lnTo>
                      <a:pt x="1318" y="214"/>
                    </a:lnTo>
                    <a:lnTo>
                      <a:pt x="1280" y="192"/>
                    </a:lnTo>
                    <a:lnTo>
                      <a:pt x="1320" y="96"/>
                    </a:lnTo>
                    <a:lnTo>
                      <a:pt x="1188" y="42"/>
                    </a:lnTo>
                    <a:lnTo>
                      <a:pt x="1150" y="138"/>
                    </a:lnTo>
                    <a:lnTo>
                      <a:pt x="1150" y="138"/>
                    </a:lnTo>
                    <a:lnTo>
                      <a:pt x="1108" y="126"/>
                    </a:lnTo>
                    <a:lnTo>
                      <a:pt x="1066" y="116"/>
                    </a:lnTo>
                    <a:lnTo>
                      <a:pt x="1022" y="110"/>
                    </a:lnTo>
                    <a:lnTo>
                      <a:pt x="978" y="104"/>
                    </a:lnTo>
                    <a:lnTo>
                      <a:pt x="978" y="0"/>
                    </a:lnTo>
                    <a:lnTo>
                      <a:pt x="836" y="0"/>
                    </a:lnTo>
                    <a:lnTo>
                      <a:pt x="836" y="104"/>
                    </a:lnTo>
                    <a:lnTo>
                      <a:pt x="836" y="104"/>
                    </a:lnTo>
                    <a:lnTo>
                      <a:pt x="792" y="110"/>
                    </a:lnTo>
                    <a:lnTo>
                      <a:pt x="750" y="116"/>
                    </a:lnTo>
                    <a:lnTo>
                      <a:pt x="706" y="126"/>
                    </a:lnTo>
                    <a:lnTo>
                      <a:pt x="666" y="138"/>
                    </a:lnTo>
                    <a:lnTo>
                      <a:pt x="626" y="42"/>
                    </a:lnTo>
                    <a:lnTo>
                      <a:pt x="494" y="96"/>
                    </a:lnTo>
                    <a:lnTo>
                      <a:pt x="534" y="192"/>
                    </a:lnTo>
                    <a:lnTo>
                      <a:pt x="534" y="192"/>
                    </a:lnTo>
                    <a:lnTo>
                      <a:pt x="496" y="214"/>
                    </a:lnTo>
                    <a:lnTo>
                      <a:pt x="460" y="236"/>
                    </a:lnTo>
                    <a:lnTo>
                      <a:pt x="424" y="262"/>
                    </a:lnTo>
                    <a:lnTo>
                      <a:pt x="390" y="290"/>
                    </a:lnTo>
                    <a:lnTo>
                      <a:pt x="316" y="216"/>
                    </a:lnTo>
                    <a:lnTo>
                      <a:pt x="216" y="316"/>
                    </a:lnTo>
                    <a:lnTo>
                      <a:pt x="288" y="390"/>
                    </a:lnTo>
                    <a:lnTo>
                      <a:pt x="288" y="390"/>
                    </a:lnTo>
                    <a:lnTo>
                      <a:pt x="262" y="424"/>
                    </a:lnTo>
                    <a:lnTo>
                      <a:pt x="236" y="460"/>
                    </a:lnTo>
                    <a:lnTo>
                      <a:pt x="214" y="496"/>
                    </a:lnTo>
                    <a:lnTo>
                      <a:pt x="192" y="534"/>
                    </a:lnTo>
                    <a:lnTo>
                      <a:pt x="96" y="494"/>
                    </a:lnTo>
                    <a:lnTo>
                      <a:pt x="42" y="626"/>
                    </a:lnTo>
                    <a:lnTo>
                      <a:pt x="138" y="666"/>
                    </a:lnTo>
                    <a:lnTo>
                      <a:pt x="138" y="666"/>
                    </a:lnTo>
                    <a:lnTo>
                      <a:pt x="126" y="708"/>
                    </a:lnTo>
                    <a:lnTo>
                      <a:pt x="116" y="750"/>
                    </a:lnTo>
                    <a:lnTo>
                      <a:pt x="108" y="792"/>
                    </a:lnTo>
                    <a:lnTo>
                      <a:pt x="104" y="836"/>
                    </a:lnTo>
                    <a:lnTo>
                      <a:pt x="0" y="836"/>
                    </a:lnTo>
                    <a:lnTo>
                      <a:pt x="0" y="978"/>
                    </a:lnTo>
                    <a:lnTo>
                      <a:pt x="104" y="978"/>
                    </a:lnTo>
                    <a:lnTo>
                      <a:pt x="104" y="978"/>
                    </a:lnTo>
                    <a:lnTo>
                      <a:pt x="108" y="1022"/>
                    </a:lnTo>
                    <a:lnTo>
                      <a:pt x="116" y="1066"/>
                    </a:lnTo>
                    <a:lnTo>
                      <a:pt x="126" y="1108"/>
                    </a:lnTo>
                    <a:lnTo>
                      <a:pt x="138" y="1150"/>
                    </a:lnTo>
                    <a:lnTo>
                      <a:pt x="42" y="1190"/>
                    </a:lnTo>
                    <a:lnTo>
                      <a:pt x="96" y="1320"/>
                    </a:lnTo>
                    <a:lnTo>
                      <a:pt x="192" y="1280"/>
                    </a:lnTo>
                    <a:lnTo>
                      <a:pt x="192" y="1280"/>
                    </a:lnTo>
                    <a:lnTo>
                      <a:pt x="214" y="1320"/>
                    </a:lnTo>
                    <a:lnTo>
                      <a:pt x="236" y="1356"/>
                    </a:lnTo>
                    <a:lnTo>
                      <a:pt x="262" y="1392"/>
                    </a:lnTo>
                    <a:lnTo>
                      <a:pt x="288" y="1426"/>
                    </a:lnTo>
                    <a:lnTo>
                      <a:pt x="216" y="1500"/>
                    </a:lnTo>
                    <a:lnTo>
                      <a:pt x="316" y="1600"/>
                    </a:lnTo>
                    <a:lnTo>
                      <a:pt x="390" y="1526"/>
                    </a:lnTo>
                    <a:lnTo>
                      <a:pt x="390" y="1526"/>
                    </a:lnTo>
                    <a:lnTo>
                      <a:pt x="424" y="1554"/>
                    </a:lnTo>
                    <a:lnTo>
                      <a:pt x="460" y="1578"/>
                    </a:lnTo>
                    <a:lnTo>
                      <a:pt x="496" y="1602"/>
                    </a:lnTo>
                    <a:lnTo>
                      <a:pt x="534" y="1622"/>
                    </a:lnTo>
                    <a:lnTo>
                      <a:pt x="494" y="1718"/>
                    </a:lnTo>
                    <a:lnTo>
                      <a:pt x="626" y="1774"/>
                    </a:lnTo>
                    <a:lnTo>
                      <a:pt x="666" y="1678"/>
                    </a:lnTo>
                    <a:lnTo>
                      <a:pt x="666" y="1678"/>
                    </a:lnTo>
                    <a:lnTo>
                      <a:pt x="706" y="1690"/>
                    </a:lnTo>
                    <a:lnTo>
                      <a:pt x="750" y="1698"/>
                    </a:lnTo>
                    <a:lnTo>
                      <a:pt x="792" y="1706"/>
                    </a:lnTo>
                    <a:lnTo>
                      <a:pt x="836" y="1712"/>
                    </a:lnTo>
                    <a:lnTo>
                      <a:pt x="836" y="1816"/>
                    </a:lnTo>
                    <a:lnTo>
                      <a:pt x="978" y="1816"/>
                    </a:lnTo>
                    <a:lnTo>
                      <a:pt x="978" y="1712"/>
                    </a:lnTo>
                    <a:lnTo>
                      <a:pt x="978" y="1712"/>
                    </a:lnTo>
                    <a:lnTo>
                      <a:pt x="1022" y="1706"/>
                    </a:lnTo>
                    <a:lnTo>
                      <a:pt x="1066" y="1698"/>
                    </a:lnTo>
                    <a:lnTo>
                      <a:pt x="1108" y="1690"/>
                    </a:lnTo>
                    <a:lnTo>
                      <a:pt x="1150" y="1678"/>
                    </a:lnTo>
                    <a:lnTo>
                      <a:pt x="1188" y="1774"/>
                    </a:lnTo>
                    <a:lnTo>
                      <a:pt x="1320" y="1718"/>
                    </a:lnTo>
                    <a:lnTo>
                      <a:pt x="1280" y="1622"/>
                    </a:lnTo>
                    <a:lnTo>
                      <a:pt x="1280" y="1622"/>
                    </a:lnTo>
                    <a:lnTo>
                      <a:pt x="1318" y="1602"/>
                    </a:lnTo>
                    <a:lnTo>
                      <a:pt x="1356" y="1578"/>
                    </a:lnTo>
                    <a:lnTo>
                      <a:pt x="1392" y="1554"/>
                    </a:lnTo>
                    <a:lnTo>
                      <a:pt x="1426" y="1526"/>
                    </a:lnTo>
                    <a:lnTo>
                      <a:pt x="1498" y="1600"/>
                    </a:lnTo>
                    <a:lnTo>
                      <a:pt x="1600" y="1500"/>
                    </a:lnTo>
                    <a:lnTo>
                      <a:pt x="1526" y="1426"/>
                    </a:lnTo>
                    <a:lnTo>
                      <a:pt x="1526" y="1426"/>
                    </a:lnTo>
                    <a:lnTo>
                      <a:pt x="1552" y="1392"/>
                    </a:lnTo>
                    <a:lnTo>
                      <a:pt x="1578" y="1356"/>
                    </a:lnTo>
                    <a:lnTo>
                      <a:pt x="1602" y="1320"/>
                    </a:lnTo>
                    <a:lnTo>
                      <a:pt x="1622" y="1280"/>
                    </a:lnTo>
                    <a:lnTo>
                      <a:pt x="1718" y="1320"/>
                    </a:lnTo>
                    <a:lnTo>
                      <a:pt x="1774" y="1190"/>
                    </a:lnTo>
                    <a:lnTo>
                      <a:pt x="1678" y="115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lnTo>
                      <a:pt x="908" y="1614"/>
                    </a:lnTo>
                    <a:close/>
                  </a:path>
                </a:pathLst>
              </a:custGeom>
              <a:gradFill rotWithShape="1">
                <a:gsLst>
                  <a:gs pos="0">
                    <a:schemeClr val="bg1">
                      <a:gamma/>
                      <a:shade val="66667"/>
                      <a:invGamma/>
                    </a:schemeClr>
                  </a:gs>
                  <a:gs pos="50000">
                    <a:schemeClr val="bg1"/>
                  </a:gs>
                  <a:gs pos="100000">
                    <a:schemeClr val="bg1">
                      <a:gamma/>
                      <a:shade val="66667"/>
                      <a:invGamma/>
                    </a:schemeClr>
                  </a:gs>
                </a:gsLst>
                <a:lin ang="5400000" scaled="1"/>
              </a:gradFill>
              <a:ln>
                <a:noFill/>
              </a:ln>
              <a:effectLst/>
              <a:scene3d>
                <a:camera prst="legacyObliqueBottom"/>
                <a:lightRig rig="legacyFlat3" dir="b"/>
              </a:scene3d>
              <a:sp3d extrusionH="430200" prstMaterial="legacyMatte">
                <a:bevelT w="13500" h="13500" prst="angle"/>
                <a:bevelB w="13500" h="13500" prst="angle"/>
                <a:extrusionClr>
                  <a:srgbClr val="B2B2B2"/>
                </a:extrusionClr>
              </a:sp3d>
              <a:extLst>
                <a:ext uri="{91240B29-F687-4F45-9708-019B960494DF}">
                  <a14:hiddenLine xmlns:a14="http://schemas.microsoft.com/office/drawing/2010/main" w="19050">
                    <a:no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flatTx/>
              </a:bodyPr>
              <a:lstStyle/>
              <a:p>
                <a:endParaRPr lang="zh-CN" altLang="en-US"/>
              </a:p>
            </p:txBody>
          </p:sp>
          <p:grpSp>
            <p:nvGrpSpPr>
              <p:cNvPr id="22" name="Group 101"/>
              <p:cNvGrpSpPr/>
              <p:nvPr/>
            </p:nvGrpSpPr>
            <p:grpSpPr bwMode="auto">
              <a:xfrm>
                <a:off x="2971" y="1117"/>
                <a:ext cx="1224" cy="885"/>
                <a:chOff x="793" y="1298"/>
                <a:chExt cx="1860" cy="1338"/>
              </a:xfrm>
            </p:grpSpPr>
            <p:sp>
              <p:nvSpPr>
                <p:cNvPr id="24" name="Oval 102"/>
                <p:cNvSpPr>
                  <a:spLocks noChangeArrowheads="1"/>
                </p:cNvSpPr>
                <p:nvPr/>
              </p:nvSpPr>
              <p:spPr bwMode="auto">
                <a:xfrm>
                  <a:off x="793" y="1298"/>
                  <a:ext cx="1860" cy="1338"/>
                </a:xfrm>
                <a:prstGeom prst="ellipse">
                  <a:avLst/>
                </a:prstGeom>
                <a:gradFill rotWithShape="1">
                  <a:gsLst>
                    <a:gs pos="1000">
                      <a:schemeClr val="tx1">
                        <a:lumMod val="75000"/>
                      </a:schemeClr>
                    </a:gs>
                    <a:gs pos="97000">
                      <a:schemeClr val="tx2">
                        <a:lumMod val="50000"/>
                      </a:scheme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5" name="Freeform 103"/>
                <p:cNvSpPr/>
                <p:nvPr/>
              </p:nvSpPr>
              <p:spPr bwMode="auto">
                <a:xfrm>
                  <a:off x="839" y="1321"/>
                  <a:ext cx="1769" cy="624"/>
                </a:xfrm>
                <a:custGeom>
                  <a:avLst/>
                  <a:gdLst>
                    <a:gd name="T0" fmla="*/ 0 w 3456"/>
                    <a:gd name="T1" fmla="*/ 1728 h 1728"/>
                    <a:gd name="T2" fmla="*/ 10 w 3456"/>
                    <a:gd name="T3" fmla="*/ 1552 h 1728"/>
                    <a:gd name="T4" fmla="*/ 36 w 3456"/>
                    <a:gd name="T5" fmla="*/ 1380 h 1728"/>
                    <a:gd name="T6" fmla="*/ 78 w 3456"/>
                    <a:gd name="T7" fmla="*/ 1214 h 1728"/>
                    <a:gd name="T8" fmla="*/ 136 w 3456"/>
                    <a:gd name="T9" fmla="*/ 1056 h 1728"/>
                    <a:gd name="T10" fmla="*/ 208 w 3456"/>
                    <a:gd name="T11" fmla="*/ 904 h 1728"/>
                    <a:gd name="T12" fmla="*/ 296 w 3456"/>
                    <a:gd name="T13" fmla="*/ 762 h 1728"/>
                    <a:gd name="T14" fmla="*/ 394 w 3456"/>
                    <a:gd name="T15" fmla="*/ 628 h 1728"/>
                    <a:gd name="T16" fmla="*/ 506 w 3456"/>
                    <a:gd name="T17" fmla="*/ 506 h 1728"/>
                    <a:gd name="T18" fmla="*/ 630 w 3456"/>
                    <a:gd name="T19" fmla="*/ 394 h 1728"/>
                    <a:gd name="T20" fmla="*/ 762 w 3456"/>
                    <a:gd name="T21" fmla="*/ 296 h 1728"/>
                    <a:gd name="T22" fmla="*/ 904 w 3456"/>
                    <a:gd name="T23" fmla="*/ 208 h 1728"/>
                    <a:gd name="T24" fmla="*/ 1056 w 3456"/>
                    <a:gd name="T25" fmla="*/ 136 h 1728"/>
                    <a:gd name="T26" fmla="*/ 1214 w 3456"/>
                    <a:gd name="T27" fmla="*/ 78 h 1728"/>
                    <a:gd name="T28" fmla="*/ 1380 w 3456"/>
                    <a:gd name="T29" fmla="*/ 36 h 1728"/>
                    <a:gd name="T30" fmla="*/ 1552 w 3456"/>
                    <a:gd name="T31" fmla="*/ 10 h 1728"/>
                    <a:gd name="T32" fmla="*/ 1728 w 3456"/>
                    <a:gd name="T33" fmla="*/ 0 h 1728"/>
                    <a:gd name="T34" fmla="*/ 1816 w 3456"/>
                    <a:gd name="T35" fmla="*/ 2 h 1728"/>
                    <a:gd name="T36" fmla="*/ 1992 w 3456"/>
                    <a:gd name="T37" fmla="*/ 20 h 1728"/>
                    <a:gd name="T38" fmla="*/ 2160 w 3456"/>
                    <a:gd name="T39" fmla="*/ 54 h 1728"/>
                    <a:gd name="T40" fmla="*/ 2322 w 3456"/>
                    <a:gd name="T41" fmla="*/ 106 h 1728"/>
                    <a:gd name="T42" fmla="*/ 2478 w 3456"/>
                    <a:gd name="T43" fmla="*/ 170 h 1728"/>
                    <a:gd name="T44" fmla="*/ 2624 w 3456"/>
                    <a:gd name="T45" fmla="*/ 250 h 1728"/>
                    <a:gd name="T46" fmla="*/ 2762 w 3456"/>
                    <a:gd name="T47" fmla="*/ 344 h 1728"/>
                    <a:gd name="T48" fmla="*/ 2890 w 3456"/>
                    <a:gd name="T49" fmla="*/ 448 h 1728"/>
                    <a:gd name="T50" fmla="*/ 3006 w 3456"/>
                    <a:gd name="T51" fmla="*/ 566 h 1728"/>
                    <a:gd name="T52" fmla="*/ 3112 w 3456"/>
                    <a:gd name="T53" fmla="*/ 694 h 1728"/>
                    <a:gd name="T54" fmla="*/ 3206 w 3456"/>
                    <a:gd name="T55" fmla="*/ 832 h 1728"/>
                    <a:gd name="T56" fmla="*/ 3286 w 3456"/>
                    <a:gd name="T57" fmla="*/ 978 h 1728"/>
                    <a:gd name="T58" fmla="*/ 3350 w 3456"/>
                    <a:gd name="T59" fmla="*/ 1134 h 1728"/>
                    <a:gd name="T60" fmla="*/ 3402 w 3456"/>
                    <a:gd name="T61" fmla="*/ 1296 h 1728"/>
                    <a:gd name="T62" fmla="*/ 3436 w 3456"/>
                    <a:gd name="T63" fmla="*/ 1464 h 1728"/>
                    <a:gd name="T64" fmla="*/ 3454 w 3456"/>
                    <a:gd name="T65" fmla="*/ 1638 h 1728"/>
                    <a:gd name="T66" fmla="*/ 0 w 3456"/>
                    <a:gd name="T67" fmla="*/ 172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1728">
                      <a:moveTo>
                        <a:pt x="0" y="1728"/>
                      </a:moveTo>
                      <a:lnTo>
                        <a:pt x="0" y="1728"/>
                      </a:lnTo>
                      <a:lnTo>
                        <a:pt x="2" y="1638"/>
                      </a:lnTo>
                      <a:lnTo>
                        <a:pt x="10" y="1552"/>
                      </a:lnTo>
                      <a:lnTo>
                        <a:pt x="20" y="1464"/>
                      </a:lnTo>
                      <a:lnTo>
                        <a:pt x="36" y="1380"/>
                      </a:lnTo>
                      <a:lnTo>
                        <a:pt x="54" y="1296"/>
                      </a:lnTo>
                      <a:lnTo>
                        <a:pt x="78" y="1214"/>
                      </a:lnTo>
                      <a:lnTo>
                        <a:pt x="106" y="1134"/>
                      </a:lnTo>
                      <a:lnTo>
                        <a:pt x="136" y="1056"/>
                      </a:lnTo>
                      <a:lnTo>
                        <a:pt x="170" y="978"/>
                      </a:lnTo>
                      <a:lnTo>
                        <a:pt x="208" y="904"/>
                      </a:lnTo>
                      <a:lnTo>
                        <a:pt x="250" y="832"/>
                      </a:lnTo>
                      <a:lnTo>
                        <a:pt x="296" y="762"/>
                      </a:lnTo>
                      <a:lnTo>
                        <a:pt x="344" y="694"/>
                      </a:lnTo>
                      <a:lnTo>
                        <a:pt x="394" y="628"/>
                      </a:lnTo>
                      <a:lnTo>
                        <a:pt x="450" y="566"/>
                      </a:lnTo>
                      <a:lnTo>
                        <a:pt x="506" y="506"/>
                      </a:lnTo>
                      <a:lnTo>
                        <a:pt x="566" y="448"/>
                      </a:lnTo>
                      <a:lnTo>
                        <a:pt x="630" y="394"/>
                      </a:lnTo>
                      <a:lnTo>
                        <a:pt x="694" y="344"/>
                      </a:lnTo>
                      <a:lnTo>
                        <a:pt x="762" y="296"/>
                      </a:lnTo>
                      <a:lnTo>
                        <a:pt x="832" y="250"/>
                      </a:lnTo>
                      <a:lnTo>
                        <a:pt x="904" y="208"/>
                      </a:lnTo>
                      <a:lnTo>
                        <a:pt x="978" y="170"/>
                      </a:lnTo>
                      <a:lnTo>
                        <a:pt x="1056" y="136"/>
                      </a:lnTo>
                      <a:lnTo>
                        <a:pt x="1134" y="106"/>
                      </a:lnTo>
                      <a:lnTo>
                        <a:pt x="1214" y="78"/>
                      </a:lnTo>
                      <a:lnTo>
                        <a:pt x="1296" y="54"/>
                      </a:lnTo>
                      <a:lnTo>
                        <a:pt x="1380" y="36"/>
                      </a:lnTo>
                      <a:lnTo>
                        <a:pt x="1464" y="20"/>
                      </a:lnTo>
                      <a:lnTo>
                        <a:pt x="1552" y="10"/>
                      </a:lnTo>
                      <a:lnTo>
                        <a:pt x="1640" y="2"/>
                      </a:lnTo>
                      <a:lnTo>
                        <a:pt x="1728" y="0"/>
                      </a:lnTo>
                      <a:lnTo>
                        <a:pt x="1728" y="0"/>
                      </a:lnTo>
                      <a:lnTo>
                        <a:pt x="1816" y="2"/>
                      </a:lnTo>
                      <a:lnTo>
                        <a:pt x="1904" y="10"/>
                      </a:lnTo>
                      <a:lnTo>
                        <a:pt x="1992" y="20"/>
                      </a:lnTo>
                      <a:lnTo>
                        <a:pt x="2076" y="36"/>
                      </a:lnTo>
                      <a:lnTo>
                        <a:pt x="2160" y="54"/>
                      </a:lnTo>
                      <a:lnTo>
                        <a:pt x="2242" y="78"/>
                      </a:lnTo>
                      <a:lnTo>
                        <a:pt x="2322" y="106"/>
                      </a:lnTo>
                      <a:lnTo>
                        <a:pt x="2400" y="136"/>
                      </a:lnTo>
                      <a:lnTo>
                        <a:pt x="2478" y="170"/>
                      </a:lnTo>
                      <a:lnTo>
                        <a:pt x="2552" y="208"/>
                      </a:lnTo>
                      <a:lnTo>
                        <a:pt x="2624" y="250"/>
                      </a:lnTo>
                      <a:lnTo>
                        <a:pt x="2694" y="296"/>
                      </a:lnTo>
                      <a:lnTo>
                        <a:pt x="2762" y="344"/>
                      </a:lnTo>
                      <a:lnTo>
                        <a:pt x="2826" y="394"/>
                      </a:lnTo>
                      <a:lnTo>
                        <a:pt x="2890" y="448"/>
                      </a:lnTo>
                      <a:lnTo>
                        <a:pt x="2950" y="506"/>
                      </a:lnTo>
                      <a:lnTo>
                        <a:pt x="3006" y="566"/>
                      </a:lnTo>
                      <a:lnTo>
                        <a:pt x="3062" y="628"/>
                      </a:lnTo>
                      <a:lnTo>
                        <a:pt x="3112" y="694"/>
                      </a:lnTo>
                      <a:lnTo>
                        <a:pt x="3160" y="762"/>
                      </a:lnTo>
                      <a:lnTo>
                        <a:pt x="3206" y="832"/>
                      </a:lnTo>
                      <a:lnTo>
                        <a:pt x="3248" y="904"/>
                      </a:lnTo>
                      <a:lnTo>
                        <a:pt x="3286" y="978"/>
                      </a:lnTo>
                      <a:lnTo>
                        <a:pt x="3320" y="1056"/>
                      </a:lnTo>
                      <a:lnTo>
                        <a:pt x="3350" y="1134"/>
                      </a:lnTo>
                      <a:lnTo>
                        <a:pt x="3378" y="1214"/>
                      </a:lnTo>
                      <a:lnTo>
                        <a:pt x="3402" y="1296"/>
                      </a:lnTo>
                      <a:lnTo>
                        <a:pt x="3420" y="1380"/>
                      </a:lnTo>
                      <a:lnTo>
                        <a:pt x="3436" y="1464"/>
                      </a:lnTo>
                      <a:lnTo>
                        <a:pt x="3446" y="1552"/>
                      </a:lnTo>
                      <a:lnTo>
                        <a:pt x="3454" y="1638"/>
                      </a:lnTo>
                      <a:lnTo>
                        <a:pt x="3456" y="1728"/>
                      </a:lnTo>
                      <a:lnTo>
                        <a:pt x="0" y="1728"/>
                      </a:lnTo>
                      <a:close/>
                    </a:path>
                  </a:pathLst>
                </a:custGeom>
                <a:gradFill rotWithShape="1">
                  <a:gsLst>
                    <a:gs pos="0">
                      <a:srgbClr val="FFFFFF"/>
                    </a:gs>
                    <a:gs pos="100000">
                      <a:srgbClr val="FFFFFF">
                        <a:gamma/>
                        <a:shade val="46275"/>
                        <a:invGamma/>
                        <a:alpha val="0"/>
                      </a:srgbClr>
                    </a:gs>
                  </a:gsLst>
                  <a:lin ang="5400000" scaled="1"/>
                </a:gra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sp>
          <p:nvSpPr>
            <p:cNvPr id="26" name="Text Box 111"/>
            <p:cNvSpPr txBox="1">
              <a:spLocks noChangeArrowheads="1"/>
            </p:cNvSpPr>
            <p:nvPr/>
          </p:nvSpPr>
          <p:spPr bwMode="auto">
            <a:xfrm>
              <a:off x="4212555" y="1491630"/>
              <a:ext cx="287972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zh-CN" altLang="en-US" sz="2000" b="1" dirty="0">
                  <a:solidFill>
                    <a:schemeClr val="bg1"/>
                  </a:solidFill>
                  <a:latin typeface="微软雅黑" panose="020B0503020204020204" pitchFamily="34" charset="-122"/>
                  <a:ea typeface="微软雅黑" panose="020B0503020204020204" pitchFamily="34" charset="-122"/>
                </a:rPr>
                <a:t>填加标题</a:t>
              </a:r>
              <a:endParaRPr lang="en-US" altLang="ko-KR" sz="2000" b="1" dirty="0">
                <a:solidFill>
                  <a:schemeClr val="bg1"/>
                </a:solidFill>
                <a:latin typeface="微软雅黑" panose="020B0503020204020204" pitchFamily="34" charset="-122"/>
                <a:ea typeface="微软雅黑" panose="020B0503020204020204" pitchFamily="34" charset="-122"/>
              </a:endParaRPr>
            </a:p>
          </p:txBody>
        </p:sp>
      </p:grpSp>
      <p:sp>
        <p:nvSpPr>
          <p:cNvPr id="28" name="Text Box 45"/>
          <p:cNvSpPr txBox="1">
            <a:spLocks noChangeArrowheads="1"/>
          </p:cNvSpPr>
          <p:nvPr/>
        </p:nvSpPr>
        <p:spPr bwMode="auto">
          <a:xfrm>
            <a:off x="7308304" y="1193032"/>
            <a:ext cx="1298326" cy="152273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75000"/>
                  </a:schemeClr>
                </a:solidFill>
                <a:latin typeface="微软雅黑" panose="020B0503020204020204" pitchFamily="34" charset="-122"/>
                <a:ea typeface="微软雅黑" panose="020B0503020204020204" pitchFamily="34" charset="-122"/>
              </a:rPr>
              <a:t>填加标题</a:t>
            </a:r>
            <a:endParaRPr lang="en-US" altLang="ko-KR" sz="1400" b="1" dirty="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29" name="Text Box 45"/>
          <p:cNvSpPr txBox="1">
            <a:spLocks noChangeArrowheads="1"/>
          </p:cNvSpPr>
          <p:nvPr/>
        </p:nvSpPr>
        <p:spPr bwMode="auto">
          <a:xfrm>
            <a:off x="1403648" y="4182928"/>
            <a:ext cx="3528616" cy="4770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50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p:txBody>
      </p:sp>
      <p:sp>
        <p:nvSpPr>
          <p:cNvPr id="30" name="Text Box 45"/>
          <p:cNvSpPr txBox="1">
            <a:spLocks noChangeArrowheads="1"/>
          </p:cNvSpPr>
          <p:nvPr/>
        </p:nvSpPr>
        <p:spPr bwMode="auto">
          <a:xfrm>
            <a:off x="5630590" y="3939902"/>
            <a:ext cx="2109762" cy="815608"/>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solidFill>
                <a:schemeClr val="bg2"/>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901774" y="944587"/>
            <a:ext cx="3598862" cy="2571750"/>
            <a:chOff x="901774" y="944587"/>
            <a:chExt cx="3598862" cy="2571750"/>
          </a:xfrm>
        </p:grpSpPr>
        <p:grpSp>
          <p:nvGrpSpPr>
            <p:cNvPr id="2" name="组合 1"/>
            <p:cNvGrpSpPr/>
            <p:nvPr/>
          </p:nvGrpSpPr>
          <p:grpSpPr>
            <a:xfrm>
              <a:off x="901774" y="944587"/>
              <a:ext cx="3598862" cy="2571750"/>
              <a:chOff x="901774" y="944587"/>
              <a:chExt cx="3598862" cy="2571750"/>
            </a:xfrm>
          </p:grpSpPr>
          <p:sp>
            <p:nvSpPr>
              <p:cNvPr id="15" name="Freeform 107"/>
              <p:cNvSpPr>
                <a:spLocks noEditPoints="1"/>
              </p:cNvSpPr>
              <p:nvPr/>
            </p:nvSpPr>
            <p:spPr bwMode="auto">
              <a:xfrm>
                <a:off x="901774" y="944587"/>
                <a:ext cx="3598862" cy="2571750"/>
              </a:xfrm>
              <a:custGeom>
                <a:avLst/>
                <a:gdLst>
                  <a:gd name="T0" fmla="*/ 2512 w 2622"/>
                  <a:gd name="T1" fmla="*/ 1152 h 2622"/>
                  <a:gd name="T2" fmla="*/ 2460 w 2622"/>
                  <a:gd name="T3" fmla="*/ 930 h 2622"/>
                  <a:gd name="T4" fmla="*/ 2412 w 2622"/>
                  <a:gd name="T5" fmla="*/ 594 h 2622"/>
                  <a:gd name="T6" fmla="*/ 2216 w 2622"/>
                  <a:gd name="T7" fmla="*/ 508 h 2622"/>
                  <a:gd name="T8" fmla="*/ 2048 w 2622"/>
                  <a:gd name="T9" fmla="*/ 352 h 2622"/>
                  <a:gd name="T10" fmla="*/ 1854 w 2622"/>
                  <a:gd name="T11" fmla="*/ 230 h 2622"/>
                  <a:gd name="T12" fmla="*/ 1582 w 2622"/>
                  <a:gd name="T13" fmla="*/ 26 h 2622"/>
                  <a:gd name="T14" fmla="*/ 1382 w 2622"/>
                  <a:gd name="T15" fmla="*/ 104 h 2622"/>
                  <a:gd name="T16" fmla="*/ 1154 w 2622"/>
                  <a:gd name="T17" fmla="*/ 112 h 2622"/>
                  <a:gd name="T18" fmla="*/ 930 w 2622"/>
                  <a:gd name="T19" fmla="*/ 162 h 2622"/>
                  <a:gd name="T20" fmla="*/ 594 w 2622"/>
                  <a:gd name="T21" fmla="*/ 212 h 2622"/>
                  <a:gd name="T22" fmla="*/ 508 w 2622"/>
                  <a:gd name="T23" fmla="*/ 406 h 2622"/>
                  <a:gd name="T24" fmla="*/ 352 w 2622"/>
                  <a:gd name="T25" fmla="*/ 574 h 2622"/>
                  <a:gd name="T26" fmla="*/ 230 w 2622"/>
                  <a:gd name="T27" fmla="*/ 768 h 2622"/>
                  <a:gd name="T28" fmla="*/ 26 w 2622"/>
                  <a:gd name="T29" fmla="*/ 1040 h 2622"/>
                  <a:gd name="T30" fmla="*/ 104 w 2622"/>
                  <a:gd name="T31" fmla="*/ 1240 h 2622"/>
                  <a:gd name="T32" fmla="*/ 112 w 2622"/>
                  <a:gd name="T33" fmla="*/ 1470 h 2622"/>
                  <a:gd name="T34" fmla="*/ 164 w 2622"/>
                  <a:gd name="T35" fmla="*/ 1692 h 2622"/>
                  <a:gd name="T36" fmla="*/ 212 w 2622"/>
                  <a:gd name="T37" fmla="*/ 2028 h 2622"/>
                  <a:gd name="T38" fmla="*/ 408 w 2622"/>
                  <a:gd name="T39" fmla="*/ 2116 h 2622"/>
                  <a:gd name="T40" fmla="*/ 576 w 2622"/>
                  <a:gd name="T41" fmla="*/ 2272 h 2622"/>
                  <a:gd name="T42" fmla="*/ 770 w 2622"/>
                  <a:gd name="T43" fmla="*/ 2394 h 2622"/>
                  <a:gd name="T44" fmla="*/ 1042 w 2622"/>
                  <a:gd name="T45" fmla="*/ 2596 h 2622"/>
                  <a:gd name="T46" fmla="*/ 1240 w 2622"/>
                  <a:gd name="T47" fmla="*/ 2520 h 2622"/>
                  <a:gd name="T48" fmla="*/ 1470 w 2622"/>
                  <a:gd name="T49" fmla="*/ 2512 h 2622"/>
                  <a:gd name="T50" fmla="*/ 1694 w 2622"/>
                  <a:gd name="T51" fmla="*/ 2460 h 2622"/>
                  <a:gd name="T52" fmla="*/ 2028 w 2622"/>
                  <a:gd name="T53" fmla="*/ 2412 h 2622"/>
                  <a:gd name="T54" fmla="*/ 2116 w 2622"/>
                  <a:gd name="T55" fmla="*/ 2216 h 2622"/>
                  <a:gd name="T56" fmla="*/ 2272 w 2622"/>
                  <a:gd name="T57" fmla="*/ 2048 h 2622"/>
                  <a:gd name="T58" fmla="*/ 2394 w 2622"/>
                  <a:gd name="T59" fmla="*/ 1854 h 2622"/>
                  <a:gd name="T60" fmla="*/ 2596 w 2622"/>
                  <a:gd name="T61" fmla="*/ 1582 h 2622"/>
                  <a:gd name="T62" fmla="*/ 2520 w 2622"/>
                  <a:gd name="T63" fmla="*/ 1382 h 2622"/>
                  <a:gd name="T64" fmla="*/ 1142 w 2622"/>
                  <a:gd name="T65" fmla="*/ 2408 h 2622"/>
                  <a:gd name="T66" fmla="*/ 830 w 2622"/>
                  <a:gd name="T67" fmla="*/ 2312 h 2622"/>
                  <a:gd name="T68" fmla="*/ 566 w 2622"/>
                  <a:gd name="T69" fmla="*/ 2132 h 2622"/>
                  <a:gd name="T70" fmla="*/ 362 w 2622"/>
                  <a:gd name="T71" fmla="*/ 1886 h 2622"/>
                  <a:gd name="T72" fmla="*/ 238 w 2622"/>
                  <a:gd name="T73" fmla="*/ 1588 h 2622"/>
                  <a:gd name="T74" fmla="*/ 202 w 2622"/>
                  <a:gd name="T75" fmla="*/ 1312 h 2622"/>
                  <a:gd name="T76" fmla="*/ 252 w 2622"/>
                  <a:gd name="T77" fmla="*/ 982 h 2622"/>
                  <a:gd name="T78" fmla="*/ 392 w 2622"/>
                  <a:gd name="T79" fmla="*/ 692 h 2622"/>
                  <a:gd name="T80" fmla="*/ 606 w 2622"/>
                  <a:gd name="T81" fmla="*/ 456 h 2622"/>
                  <a:gd name="T82" fmla="*/ 880 w 2622"/>
                  <a:gd name="T83" fmla="*/ 290 h 2622"/>
                  <a:gd name="T84" fmla="*/ 1198 w 2622"/>
                  <a:gd name="T85" fmla="*/ 208 h 2622"/>
                  <a:gd name="T86" fmla="*/ 1480 w 2622"/>
                  <a:gd name="T87" fmla="*/ 214 h 2622"/>
                  <a:gd name="T88" fmla="*/ 1792 w 2622"/>
                  <a:gd name="T89" fmla="*/ 312 h 2622"/>
                  <a:gd name="T90" fmla="*/ 2058 w 2622"/>
                  <a:gd name="T91" fmla="*/ 490 h 2622"/>
                  <a:gd name="T92" fmla="*/ 2260 w 2622"/>
                  <a:gd name="T93" fmla="*/ 736 h 2622"/>
                  <a:gd name="T94" fmla="*/ 2386 w 2622"/>
                  <a:gd name="T95" fmla="*/ 1034 h 2622"/>
                  <a:gd name="T96" fmla="*/ 2422 w 2622"/>
                  <a:gd name="T97" fmla="*/ 1312 h 2622"/>
                  <a:gd name="T98" fmla="*/ 2372 w 2622"/>
                  <a:gd name="T99" fmla="*/ 1642 h 2622"/>
                  <a:gd name="T100" fmla="*/ 2232 w 2622"/>
                  <a:gd name="T101" fmla="*/ 1932 h 2622"/>
                  <a:gd name="T102" fmla="*/ 2018 w 2622"/>
                  <a:gd name="T103" fmla="*/ 2168 h 2622"/>
                  <a:gd name="T104" fmla="*/ 1744 w 2622"/>
                  <a:gd name="T105" fmla="*/ 2334 h 2622"/>
                  <a:gd name="T106" fmla="*/ 1426 w 2622"/>
                  <a:gd name="T107" fmla="*/ 2416 h 2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2" h="2622">
                    <a:moveTo>
                      <a:pt x="2622" y="1382"/>
                    </a:moveTo>
                    <a:lnTo>
                      <a:pt x="2622" y="1240"/>
                    </a:lnTo>
                    <a:lnTo>
                      <a:pt x="2520" y="1240"/>
                    </a:lnTo>
                    <a:lnTo>
                      <a:pt x="2520" y="1240"/>
                    </a:lnTo>
                    <a:lnTo>
                      <a:pt x="2516" y="1196"/>
                    </a:lnTo>
                    <a:lnTo>
                      <a:pt x="2512" y="1152"/>
                    </a:lnTo>
                    <a:lnTo>
                      <a:pt x="2506" y="1110"/>
                    </a:lnTo>
                    <a:lnTo>
                      <a:pt x="2498" y="1068"/>
                    </a:lnTo>
                    <a:lnTo>
                      <a:pt x="2596" y="1040"/>
                    </a:lnTo>
                    <a:lnTo>
                      <a:pt x="2560" y="904"/>
                    </a:lnTo>
                    <a:lnTo>
                      <a:pt x="2460" y="930"/>
                    </a:lnTo>
                    <a:lnTo>
                      <a:pt x="2460" y="930"/>
                    </a:lnTo>
                    <a:lnTo>
                      <a:pt x="2446" y="888"/>
                    </a:lnTo>
                    <a:lnTo>
                      <a:pt x="2430" y="848"/>
                    </a:lnTo>
                    <a:lnTo>
                      <a:pt x="2412" y="808"/>
                    </a:lnTo>
                    <a:lnTo>
                      <a:pt x="2394" y="768"/>
                    </a:lnTo>
                    <a:lnTo>
                      <a:pt x="2482" y="718"/>
                    </a:lnTo>
                    <a:lnTo>
                      <a:pt x="2412" y="594"/>
                    </a:lnTo>
                    <a:lnTo>
                      <a:pt x="2322" y="646"/>
                    </a:lnTo>
                    <a:lnTo>
                      <a:pt x="2322" y="646"/>
                    </a:lnTo>
                    <a:lnTo>
                      <a:pt x="2298" y="610"/>
                    </a:lnTo>
                    <a:lnTo>
                      <a:pt x="2272" y="574"/>
                    </a:lnTo>
                    <a:lnTo>
                      <a:pt x="2244" y="540"/>
                    </a:lnTo>
                    <a:lnTo>
                      <a:pt x="2216" y="508"/>
                    </a:lnTo>
                    <a:lnTo>
                      <a:pt x="2290" y="434"/>
                    </a:lnTo>
                    <a:lnTo>
                      <a:pt x="2188" y="334"/>
                    </a:lnTo>
                    <a:lnTo>
                      <a:pt x="2116" y="406"/>
                    </a:lnTo>
                    <a:lnTo>
                      <a:pt x="2116" y="406"/>
                    </a:lnTo>
                    <a:lnTo>
                      <a:pt x="2082" y="378"/>
                    </a:lnTo>
                    <a:lnTo>
                      <a:pt x="2048" y="352"/>
                    </a:lnTo>
                    <a:lnTo>
                      <a:pt x="2014" y="326"/>
                    </a:lnTo>
                    <a:lnTo>
                      <a:pt x="1978" y="300"/>
                    </a:lnTo>
                    <a:lnTo>
                      <a:pt x="2028" y="212"/>
                    </a:lnTo>
                    <a:lnTo>
                      <a:pt x="1906" y="140"/>
                    </a:lnTo>
                    <a:lnTo>
                      <a:pt x="1854" y="230"/>
                    </a:lnTo>
                    <a:lnTo>
                      <a:pt x="1854" y="230"/>
                    </a:lnTo>
                    <a:lnTo>
                      <a:pt x="1816" y="210"/>
                    </a:lnTo>
                    <a:lnTo>
                      <a:pt x="1776" y="194"/>
                    </a:lnTo>
                    <a:lnTo>
                      <a:pt x="1734" y="178"/>
                    </a:lnTo>
                    <a:lnTo>
                      <a:pt x="1694" y="162"/>
                    </a:lnTo>
                    <a:lnTo>
                      <a:pt x="1720" y="64"/>
                    </a:lnTo>
                    <a:lnTo>
                      <a:pt x="1582" y="26"/>
                    </a:lnTo>
                    <a:lnTo>
                      <a:pt x="1556" y="126"/>
                    </a:lnTo>
                    <a:lnTo>
                      <a:pt x="1556" y="126"/>
                    </a:lnTo>
                    <a:lnTo>
                      <a:pt x="1514" y="118"/>
                    </a:lnTo>
                    <a:lnTo>
                      <a:pt x="1470" y="112"/>
                    </a:lnTo>
                    <a:lnTo>
                      <a:pt x="1426" y="106"/>
                    </a:lnTo>
                    <a:lnTo>
                      <a:pt x="1382" y="104"/>
                    </a:lnTo>
                    <a:lnTo>
                      <a:pt x="1382" y="0"/>
                    </a:lnTo>
                    <a:lnTo>
                      <a:pt x="1240" y="0"/>
                    </a:lnTo>
                    <a:lnTo>
                      <a:pt x="1240" y="104"/>
                    </a:lnTo>
                    <a:lnTo>
                      <a:pt x="1240" y="104"/>
                    </a:lnTo>
                    <a:lnTo>
                      <a:pt x="1196" y="106"/>
                    </a:lnTo>
                    <a:lnTo>
                      <a:pt x="1154" y="112"/>
                    </a:lnTo>
                    <a:lnTo>
                      <a:pt x="1110" y="118"/>
                    </a:lnTo>
                    <a:lnTo>
                      <a:pt x="1068" y="126"/>
                    </a:lnTo>
                    <a:lnTo>
                      <a:pt x="1042" y="26"/>
                    </a:lnTo>
                    <a:lnTo>
                      <a:pt x="904" y="64"/>
                    </a:lnTo>
                    <a:lnTo>
                      <a:pt x="930" y="162"/>
                    </a:lnTo>
                    <a:lnTo>
                      <a:pt x="930" y="162"/>
                    </a:lnTo>
                    <a:lnTo>
                      <a:pt x="890" y="178"/>
                    </a:lnTo>
                    <a:lnTo>
                      <a:pt x="848" y="194"/>
                    </a:lnTo>
                    <a:lnTo>
                      <a:pt x="808" y="210"/>
                    </a:lnTo>
                    <a:lnTo>
                      <a:pt x="770" y="230"/>
                    </a:lnTo>
                    <a:lnTo>
                      <a:pt x="718" y="140"/>
                    </a:lnTo>
                    <a:lnTo>
                      <a:pt x="594" y="212"/>
                    </a:lnTo>
                    <a:lnTo>
                      <a:pt x="646" y="300"/>
                    </a:lnTo>
                    <a:lnTo>
                      <a:pt x="646" y="300"/>
                    </a:lnTo>
                    <a:lnTo>
                      <a:pt x="610" y="326"/>
                    </a:lnTo>
                    <a:lnTo>
                      <a:pt x="576" y="352"/>
                    </a:lnTo>
                    <a:lnTo>
                      <a:pt x="542" y="378"/>
                    </a:lnTo>
                    <a:lnTo>
                      <a:pt x="508" y="406"/>
                    </a:lnTo>
                    <a:lnTo>
                      <a:pt x="436" y="334"/>
                    </a:lnTo>
                    <a:lnTo>
                      <a:pt x="334" y="434"/>
                    </a:lnTo>
                    <a:lnTo>
                      <a:pt x="408" y="508"/>
                    </a:lnTo>
                    <a:lnTo>
                      <a:pt x="408" y="508"/>
                    </a:lnTo>
                    <a:lnTo>
                      <a:pt x="378" y="540"/>
                    </a:lnTo>
                    <a:lnTo>
                      <a:pt x="352" y="574"/>
                    </a:lnTo>
                    <a:lnTo>
                      <a:pt x="326" y="610"/>
                    </a:lnTo>
                    <a:lnTo>
                      <a:pt x="302" y="646"/>
                    </a:lnTo>
                    <a:lnTo>
                      <a:pt x="212" y="594"/>
                    </a:lnTo>
                    <a:lnTo>
                      <a:pt x="140" y="718"/>
                    </a:lnTo>
                    <a:lnTo>
                      <a:pt x="230" y="768"/>
                    </a:lnTo>
                    <a:lnTo>
                      <a:pt x="230" y="768"/>
                    </a:lnTo>
                    <a:lnTo>
                      <a:pt x="212" y="808"/>
                    </a:lnTo>
                    <a:lnTo>
                      <a:pt x="194" y="848"/>
                    </a:lnTo>
                    <a:lnTo>
                      <a:pt x="178" y="888"/>
                    </a:lnTo>
                    <a:lnTo>
                      <a:pt x="164" y="930"/>
                    </a:lnTo>
                    <a:lnTo>
                      <a:pt x="64" y="904"/>
                    </a:lnTo>
                    <a:lnTo>
                      <a:pt x="26" y="1040"/>
                    </a:lnTo>
                    <a:lnTo>
                      <a:pt x="126" y="1068"/>
                    </a:lnTo>
                    <a:lnTo>
                      <a:pt x="126" y="1068"/>
                    </a:lnTo>
                    <a:lnTo>
                      <a:pt x="118" y="1110"/>
                    </a:lnTo>
                    <a:lnTo>
                      <a:pt x="112" y="1152"/>
                    </a:lnTo>
                    <a:lnTo>
                      <a:pt x="108" y="1196"/>
                    </a:lnTo>
                    <a:lnTo>
                      <a:pt x="104" y="1240"/>
                    </a:lnTo>
                    <a:lnTo>
                      <a:pt x="0" y="1240"/>
                    </a:lnTo>
                    <a:lnTo>
                      <a:pt x="0" y="1382"/>
                    </a:lnTo>
                    <a:lnTo>
                      <a:pt x="104" y="1382"/>
                    </a:lnTo>
                    <a:lnTo>
                      <a:pt x="104" y="1382"/>
                    </a:lnTo>
                    <a:lnTo>
                      <a:pt x="108" y="1426"/>
                    </a:lnTo>
                    <a:lnTo>
                      <a:pt x="112" y="1470"/>
                    </a:lnTo>
                    <a:lnTo>
                      <a:pt x="118" y="1512"/>
                    </a:lnTo>
                    <a:lnTo>
                      <a:pt x="126" y="1556"/>
                    </a:lnTo>
                    <a:lnTo>
                      <a:pt x="26" y="1582"/>
                    </a:lnTo>
                    <a:lnTo>
                      <a:pt x="64" y="1720"/>
                    </a:lnTo>
                    <a:lnTo>
                      <a:pt x="164" y="1692"/>
                    </a:lnTo>
                    <a:lnTo>
                      <a:pt x="164" y="1692"/>
                    </a:lnTo>
                    <a:lnTo>
                      <a:pt x="178" y="1734"/>
                    </a:lnTo>
                    <a:lnTo>
                      <a:pt x="194" y="1774"/>
                    </a:lnTo>
                    <a:lnTo>
                      <a:pt x="212" y="1814"/>
                    </a:lnTo>
                    <a:lnTo>
                      <a:pt x="230" y="1854"/>
                    </a:lnTo>
                    <a:lnTo>
                      <a:pt x="140" y="1906"/>
                    </a:lnTo>
                    <a:lnTo>
                      <a:pt x="212" y="2028"/>
                    </a:lnTo>
                    <a:lnTo>
                      <a:pt x="302" y="1978"/>
                    </a:lnTo>
                    <a:lnTo>
                      <a:pt x="302" y="1978"/>
                    </a:lnTo>
                    <a:lnTo>
                      <a:pt x="326" y="2014"/>
                    </a:lnTo>
                    <a:lnTo>
                      <a:pt x="352" y="2048"/>
                    </a:lnTo>
                    <a:lnTo>
                      <a:pt x="378" y="2082"/>
                    </a:lnTo>
                    <a:lnTo>
                      <a:pt x="408" y="2116"/>
                    </a:lnTo>
                    <a:lnTo>
                      <a:pt x="334" y="2188"/>
                    </a:lnTo>
                    <a:lnTo>
                      <a:pt x="436" y="2288"/>
                    </a:lnTo>
                    <a:lnTo>
                      <a:pt x="508" y="2216"/>
                    </a:lnTo>
                    <a:lnTo>
                      <a:pt x="508" y="2216"/>
                    </a:lnTo>
                    <a:lnTo>
                      <a:pt x="542" y="2244"/>
                    </a:lnTo>
                    <a:lnTo>
                      <a:pt x="576" y="2272"/>
                    </a:lnTo>
                    <a:lnTo>
                      <a:pt x="610" y="2298"/>
                    </a:lnTo>
                    <a:lnTo>
                      <a:pt x="646" y="2322"/>
                    </a:lnTo>
                    <a:lnTo>
                      <a:pt x="594" y="2412"/>
                    </a:lnTo>
                    <a:lnTo>
                      <a:pt x="718" y="2482"/>
                    </a:lnTo>
                    <a:lnTo>
                      <a:pt x="770" y="2394"/>
                    </a:lnTo>
                    <a:lnTo>
                      <a:pt x="770" y="2394"/>
                    </a:lnTo>
                    <a:lnTo>
                      <a:pt x="808" y="2412"/>
                    </a:lnTo>
                    <a:lnTo>
                      <a:pt x="848" y="2430"/>
                    </a:lnTo>
                    <a:lnTo>
                      <a:pt x="890" y="2446"/>
                    </a:lnTo>
                    <a:lnTo>
                      <a:pt x="930" y="2460"/>
                    </a:lnTo>
                    <a:lnTo>
                      <a:pt x="904" y="2560"/>
                    </a:lnTo>
                    <a:lnTo>
                      <a:pt x="1042" y="2596"/>
                    </a:lnTo>
                    <a:lnTo>
                      <a:pt x="1068" y="2498"/>
                    </a:lnTo>
                    <a:lnTo>
                      <a:pt x="1068" y="2498"/>
                    </a:lnTo>
                    <a:lnTo>
                      <a:pt x="1110" y="2504"/>
                    </a:lnTo>
                    <a:lnTo>
                      <a:pt x="1154" y="2512"/>
                    </a:lnTo>
                    <a:lnTo>
                      <a:pt x="1196" y="2516"/>
                    </a:lnTo>
                    <a:lnTo>
                      <a:pt x="1240" y="2520"/>
                    </a:lnTo>
                    <a:lnTo>
                      <a:pt x="1240" y="2622"/>
                    </a:lnTo>
                    <a:lnTo>
                      <a:pt x="1382" y="2622"/>
                    </a:lnTo>
                    <a:lnTo>
                      <a:pt x="1382" y="2520"/>
                    </a:lnTo>
                    <a:lnTo>
                      <a:pt x="1382" y="2520"/>
                    </a:lnTo>
                    <a:lnTo>
                      <a:pt x="1426" y="2516"/>
                    </a:lnTo>
                    <a:lnTo>
                      <a:pt x="1470" y="2512"/>
                    </a:lnTo>
                    <a:lnTo>
                      <a:pt x="1514" y="2504"/>
                    </a:lnTo>
                    <a:lnTo>
                      <a:pt x="1556" y="2498"/>
                    </a:lnTo>
                    <a:lnTo>
                      <a:pt x="1582" y="2596"/>
                    </a:lnTo>
                    <a:lnTo>
                      <a:pt x="1720" y="2560"/>
                    </a:lnTo>
                    <a:lnTo>
                      <a:pt x="1694" y="2460"/>
                    </a:lnTo>
                    <a:lnTo>
                      <a:pt x="1694" y="2460"/>
                    </a:lnTo>
                    <a:lnTo>
                      <a:pt x="1734" y="2446"/>
                    </a:lnTo>
                    <a:lnTo>
                      <a:pt x="1776" y="2430"/>
                    </a:lnTo>
                    <a:lnTo>
                      <a:pt x="1816" y="2412"/>
                    </a:lnTo>
                    <a:lnTo>
                      <a:pt x="1854" y="2394"/>
                    </a:lnTo>
                    <a:lnTo>
                      <a:pt x="1906" y="2482"/>
                    </a:lnTo>
                    <a:lnTo>
                      <a:pt x="2028" y="2412"/>
                    </a:lnTo>
                    <a:lnTo>
                      <a:pt x="1978" y="2322"/>
                    </a:lnTo>
                    <a:lnTo>
                      <a:pt x="1978" y="2322"/>
                    </a:lnTo>
                    <a:lnTo>
                      <a:pt x="2014" y="2298"/>
                    </a:lnTo>
                    <a:lnTo>
                      <a:pt x="2048" y="2272"/>
                    </a:lnTo>
                    <a:lnTo>
                      <a:pt x="2082" y="2244"/>
                    </a:lnTo>
                    <a:lnTo>
                      <a:pt x="2116" y="2216"/>
                    </a:lnTo>
                    <a:lnTo>
                      <a:pt x="2188" y="2288"/>
                    </a:lnTo>
                    <a:lnTo>
                      <a:pt x="2290" y="2188"/>
                    </a:lnTo>
                    <a:lnTo>
                      <a:pt x="2216" y="2116"/>
                    </a:lnTo>
                    <a:lnTo>
                      <a:pt x="2216" y="2116"/>
                    </a:lnTo>
                    <a:lnTo>
                      <a:pt x="2244" y="2082"/>
                    </a:lnTo>
                    <a:lnTo>
                      <a:pt x="2272" y="2048"/>
                    </a:lnTo>
                    <a:lnTo>
                      <a:pt x="2298" y="2014"/>
                    </a:lnTo>
                    <a:lnTo>
                      <a:pt x="2322" y="1978"/>
                    </a:lnTo>
                    <a:lnTo>
                      <a:pt x="2412" y="2028"/>
                    </a:lnTo>
                    <a:lnTo>
                      <a:pt x="2482" y="1906"/>
                    </a:lnTo>
                    <a:lnTo>
                      <a:pt x="2394" y="1854"/>
                    </a:lnTo>
                    <a:lnTo>
                      <a:pt x="2394" y="1854"/>
                    </a:lnTo>
                    <a:lnTo>
                      <a:pt x="2412" y="1814"/>
                    </a:lnTo>
                    <a:lnTo>
                      <a:pt x="2430" y="1774"/>
                    </a:lnTo>
                    <a:lnTo>
                      <a:pt x="2446" y="1734"/>
                    </a:lnTo>
                    <a:lnTo>
                      <a:pt x="2460" y="1692"/>
                    </a:lnTo>
                    <a:lnTo>
                      <a:pt x="2560" y="1720"/>
                    </a:lnTo>
                    <a:lnTo>
                      <a:pt x="2596" y="1582"/>
                    </a:lnTo>
                    <a:lnTo>
                      <a:pt x="2498" y="1556"/>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lnTo>
                      <a:pt x="1312" y="2420"/>
                    </a:lnTo>
                    <a:close/>
                  </a:path>
                </a:pathLst>
              </a:custGeom>
              <a:gradFill rotWithShape="1">
                <a:gsLst>
                  <a:gs pos="0">
                    <a:schemeClr val="bg1">
                      <a:gamma/>
                      <a:shade val="66667"/>
                      <a:invGamma/>
                    </a:schemeClr>
                  </a:gs>
                  <a:gs pos="50000">
                    <a:schemeClr val="bg1"/>
                  </a:gs>
                  <a:gs pos="100000">
                    <a:schemeClr val="bg1">
                      <a:gamma/>
                      <a:shade val="66667"/>
                      <a:invGamma/>
                    </a:schemeClr>
                  </a:gs>
                </a:gsLst>
                <a:lin ang="5400000" scaled="1"/>
              </a:gradFill>
              <a:ln>
                <a:noFill/>
              </a:ln>
              <a:effectLst/>
              <a:scene3d>
                <a:camera prst="legacyObliqueBottom"/>
                <a:lightRig rig="legacyFlat3" dir="b"/>
              </a:scene3d>
              <a:sp3d extrusionH="430200" prstMaterial="legacyMatte">
                <a:bevelT w="13500" h="13500" prst="angle"/>
                <a:bevelB w="13500" h="13500" prst="angle"/>
                <a:extrusionClr>
                  <a:srgbClr val="B2B2B2"/>
                </a:extrusionClr>
              </a:sp3d>
              <a:extLst>
                <a:ext uri="{91240B29-F687-4F45-9708-019B960494DF}">
                  <a14:hiddenLine xmlns:a14="http://schemas.microsoft.com/office/drawing/2010/main" w="19050">
                    <a:no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flatTx/>
              </a:bodyPr>
              <a:lstStyle/>
              <a:p>
                <a:endParaRPr lang="zh-CN" altLang="en-US"/>
              </a:p>
            </p:txBody>
          </p:sp>
          <p:grpSp>
            <p:nvGrpSpPr>
              <p:cNvPr id="16" name="Group 108"/>
              <p:cNvGrpSpPr/>
              <p:nvPr/>
            </p:nvGrpSpPr>
            <p:grpSpPr bwMode="auto">
              <a:xfrm>
                <a:off x="1225624" y="1160487"/>
                <a:ext cx="2952750" cy="2124075"/>
                <a:chOff x="793" y="1298"/>
                <a:chExt cx="1860" cy="1338"/>
              </a:xfrm>
            </p:grpSpPr>
            <p:sp>
              <p:nvSpPr>
                <p:cNvPr id="18" name="Oval 109"/>
                <p:cNvSpPr>
                  <a:spLocks noChangeArrowheads="1"/>
                </p:cNvSpPr>
                <p:nvPr/>
              </p:nvSpPr>
              <p:spPr bwMode="auto">
                <a:xfrm>
                  <a:off x="793" y="1298"/>
                  <a:ext cx="1860" cy="1338"/>
                </a:xfrm>
                <a:prstGeom prst="ellipse">
                  <a:avLst/>
                </a:prstGeom>
                <a:solidFill>
                  <a:schemeClr val="bg2"/>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sp>
              <p:nvSpPr>
                <p:cNvPr id="19" name="Freeform 110"/>
                <p:cNvSpPr/>
                <p:nvPr/>
              </p:nvSpPr>
              <p:spPr bwMode="auto">
                <a:xfrm>
                  <a:off x="839" y="1321"/>
                  <a:ext cx="1769" cy="624"/>
                </a:xfrm>
                <a:custGeom>
                  <a:avLst/>
                  <a:gdLst>
                    <a:gd name="T0" fmla="*/ 0 w 3456"/>
                    <a:gd name="T1" fmla="*/ 1728 h 1728"/>
                    <a:gd name="T2" fmla="*/ 10 w 3456"/>
                    <a:gd name="T3" fmla="*/ 1552 h 1728"/>
                    <a:gd name="T4" fmla="*/ 36 w 3456"/>
                    <a:gd name="T5" fmla="*/ 1380 h 1728"/>
                    <a:gd name="T6" fmla="*/ 78 w 3456"/>
                    <a:gd name="T7" fmla="*/ 1214 h 1728"/>
                    <a:gd name="T8" fmla="*/ 136 w 3456"/>
                    <a:gd name="T9" fmla="*/ 1056 h 1728"/>
                    <a:gd name="T10" fmla="*/ 208 w 3456"/>
                    <a:gd name="T11" fmla="*/ 904 h 1728"/>
                    <a:gd name="T12" fmla="*/ 296 w 3456"/>
                    <a:gd name="T13" fmla="*/ 762 h 1728"/>
                    <a:gd name="T14" fmla="*/ 394 w 3456"/>
                    <a:gd name="T15" fmla="*/ 628 h 1728"/>
                    <a:gd name="T16" fmla="*/ 506 w 3456"/>
                    <a:gd name="T17" fmla="*/ 506 h 1728"/>
                    <a:gd name="T18" fmla="*/ 630 w 3456"/>
                    <a:gd name="T19" fmla="*/ 394 h 1728"/>
                    <a:gd name="T20" fmla="*/ 762 w 3456"/>
                    <a:gd name="T21" fmla="*/ 296 h 1728"/>
                    <a:gd name="T22" fmla="*/ 904 w 3456"/>
                    <a:gd name="T23" fmla="*/ 208 h 1728"/>
                    <a:gd name="T24" fmla="*/ 1056 w 3456"/>
                    <a:gd name="T25" fmla="*/ 136 h 1728"/>
                    <a:gd name="T26" fmla="*/ 1214 w 3456"/>
                    <a:gd name="T27" fmla="*/ 78 h 1728"/>
                    <a:gd name="T28" fmla="*/ 1380 w 3456"/>
                    <a:gd name="T29" fmla="*/ 36 h 1728"/>
                    <a:gd name="T30" fmla="*/ 1552 w 3456"/>
                    <a:gd name="T31" fmla="*/ 10 h 1728"/>
                    <a:gd name="T32" fmla="*/ 1728 w 3456"/>
                    <a:gd name="T33" fmla="*/ 0 h 1728"/>
                    <a:gd name="T34" fmla="*/ 1816 w 3456"/>
                    <a:gd name="T35" fmla="*/ 2 h 1728"/>
                    <a:gd name="T36" fmla="*/ 1992 w 3456"/>
                    <a:gd name="T37" fmla="*/ 20 h 1728"/>
                    <a:gd name="T38" fmla="*/ 2160 w 3456"/>
                    <a:gd name="T39" fmla="*/ 54 h 1728"/>
                    <a:gd name="T40" fmla="*/ 2322 w 3456"/>
                    <a:gd name="T41" fmla="*/ 106 h 1728"/>
                    <a:gd name="T42" fmla="*/ 2478 w 3456"/>
                    <a:gd name="T43" fmla="*/ 170 h 1728"/>
                    <a:gd name="T44" fmla="*/ 2624 w 3456"/>
                    <a:gd name="T45" fmla="*/ 250 h 1728"/>
                    <a:gd name="T46" fmla="*/ 2762 w 3456"/>
                    <a:gd name="T47" fmla="*/ 344 h 1728"/>
                    <a:gd name="T48" fmla="*/ 2890 w 3456"/>
                    <a:gd name="T49" fmla="*/ 448 h 1728"/>
                    <a:gd name="T50" fmla="*/ 3006 w 3456"/>
                    <a:gd name="T51" fmla="*/ 566 h 1728"/>
                    <a:gd name="T52" fmla="*/ 3112 w 3456"/>
                    <a:gd name="T53" fmla="*/ 694 h 1728"/>
                    <a:gd name="T54" fmla="*/ 3206 w 3456"/>
                    <a:gd name="T55" fmla="*/ 832 h 1728"/>
                    <a:gd name="T56" fmla="*/ 3286 w 3456"/>
                    <a:gd name="T57" fmla="*/ 978 h 1728"/>
                    <a:gd name="T58" fmla="*/ 3350 w 3456"/>
                    <a:gd name="T59" fmla="*/ 1134 h 1728"/>
                    <a:gd name="T60" fmla="*/ 3402 w 3456"/>
                    <a:gd name="T61" fmla="*/ 1296 h 1728"/>
                    <a:gd name="T62" fmla="*/ 3436 w 3456"/>
                    <a:gd name="T63" fmla="*/ 1464 h 1728"/>
                    <a:gd name="T64" fmla="*/ 3454 w 3456"/>
                    <a:gd name="T65" fmla="*/ 1638 h 1728"/>
                    <a:gd name="T66" fmla="*/ 0 w 3456"/>
                    <a:gd name="T67" fmla="*/ 172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1728">
                      <a:moveTo>
                        <a:pt x="0" y="1728"/>
                      </a:moveTo>
                      <a:lnTo>
                        <a:pt x="0" y="1728"/>
                      </a:lnTo>
                      <a:lnTo>
                        <a:pt x="2" y="1638"/>
                      </a:lnTo>
                      <a:lnTo>
                        <a:pt x="10" y="1552"/>
                      </a:lnTo>
                      <a:lnTo>
                        <a:pt x="20" y="1464"/>
                      </a:lnTo>
                      <a:lnTo>
                        <a:pt x="36" y="1380"/>
                      </a:lnTo>
                      <a:lnTo>
                        <a:pt x="54" y="1296"/>
                      </a:lnTo>
                      <a:lnTo>
                        <a:pt x="78" y="1214"/>
                      </a:lnTo>
                      <a:lnTo>
                        <a:pt x="106" y="1134"/>
                      </a:lnTo>
                      <a:lnTo>
                        <a:pt x="136" y="1056"/>
                      </a:lnTo>
                      <a:lnTo>
                        <a:pt x="170" y="978"/>
                      </a:lnTo>
                      <a:lnTo>
                        <a:pt x="208" y="904"/>
                      </a:lnTo>
                      <a:lnTo>
                        <a:pt x="250" y="832"/>
                      </a:lnTo>
                      <a:lnTo>
                        <a:pt x="296" y="762"/>
                      </a:lnTo>
                      <a:lnTo>
                        <a:pt x="344" y="694"/>
                      </a:lnTo>
                      <a:lnTo>
                        <a:pt x="394" y="628"/>
                      </a:lnTo>
                      <a:lnTo>
                        <a:pt x="450" y="566"/>
                      </a:lnTo>
                      <a:lnTo>
                        <a:pt x="506" y="506"/>
                      </a:lnTo>
                      <a:lnTo>
                        <a:pt x="566" y="448"/>
                      </a:lnTo>
                      <a:lnTo>
                        <a:pt x="630" y="394"/>
                      </a:lnTo>
                      <a:lnTo>
                        <a:pt x="694" y="344"/>
                      </a:lnTo>
                      <a:lnTo>
                        <a:pt x="762" y="296"/>
                      </a:lnTo>
                      <a:lnTo>
                        <a:pt x="832" y="250"/>
                      </a:lnTo>
                      <a:lnTo>
                        <a:pt x="904" y="208"/>
                      </a:lnTo>
                      <a:lnTo>
                        <a:pt x="978" y="170"/>
                      </a:lnTo>
                      <a:lnTo>
                        <a:pt x="1056" y="136"/>
                      </a:lnTo>
                      <a:lnTo>
                        <a:pt x="1134" y="106"/>
                      </a:lnTo>
                      <a:lnTo>
                        <a:pt x="1214" y="78"/>
                      </a:lnTo>
                      <a:lnTo>
                        <a:pt x="1296" y="54"/>
                      </a:lnTo>
                      <a:lnTo>
                        <a:pt x="1380" y="36"/>
                      </a:lnTo>
                      <a:lnTo>
                        <a:pt x="1464" y="20"/>
                      </a:lnTo>
                      <a:lnTo>
                        <a:pt x="1552" y="10"/>
                      </a:lnTo>
                      <a:lnTo>
                        <a:pt x="1640" y="2"/>
                      </a:lnTo>
                      <a:lnTo>
                        <a:pt x="1728" y="0"/>
                      </a:lnTo>
                      <a:lnTo>
                        <a:pt x="1728" y="0"/>
                      </a:lnTo>
                      <a:lnTo>
                        <a:pt x="1816" y="2"/>
                      </a:lnTo>
                      <a:lnTo>
                        <a:pt x="1904" y="10"/>
                      </a:lnTo>
                      <a:lnTo>
                        <a:pt x="1992" y="20"/>
                      </a:lnTo>
                      <a:lnTo>
                        <a:pt x="2076" y="36"/>
                      </a:lnTo>
                      <a:lnTo>
                        <a:pt x="2160" y="54"/>
                      </a:lnTo>
                      <a:lnTo>
                        <a:pt x="2242" y="78"/>
                      </a:lnTo>
                      <a:lnTo>
                        <a:pt x="2322" y="106"/>
                      </a:lnTo>
                      <a:lnTo>
                        <a:pt x="2400" y="136"/>
                      </a:lnTo>
                      <a:lnTo>
                        <a:pt x="2478" y="170"/>
                      </a:lnTo>
                      <a:lnTo>
                        <a:pt x="2552" y="208"/>
                      </a:lnTo>
                      <a:lnTo>
                        <a:pt x="2624" y="250"/>
                      </a:lnTo>
                      <a:lnTo>
                        <a:pt x="2694" y="296"/>
                      </a:lnTo>
                      <a:lnTo>
                        <a:pt x="2762" y="344"/>
                      </a:lnTo>
                      <a:lnTo>
                        <a:pt x="2826" y="394"/>
                      </a:lnTo>
                      <a:lnTo>
                        <a:pt x="2890" y="448"/>
                      </a:lnTo>
                      <a:lnTo>
                        <a:pt x="2950" y="506"/>
                      </a:lnTo>
                      <a:lnTo>
                        <a:pt x="3006" y="566"/>
                      </a:lnTo>
                      <a:lnTo>
                        <a:pt x="3062" y="628"/>
                      </a:lnTo>
                      <a:lnTo>
                        <a:pt x="3112" y="694"/>
                      </a:lnTo>
                      <a:lnTo>
                        <a:pt x="3160" y="762"/>
                      </a:lnTo>
                      <a:lnTo>
                        <a:pt x="3206" y="832"/>
                      </a:lnTo>
                      <a:lnTo>
                        <a:pt x="3248" y="904"/>
                      </a:lnTo>
                      <a:lnTo>
                        <a:pt x="3286" y="978"/>
                      </a:lnTo>
                      <a:lnTo>
                        <a:pt x="3320" y="1056"/>
                      </a:lnTo>
                      <a:lnTo>
                        <a:pt x="3350" y="1134"/>
                      </a:lnTo>
                      <a:lnTo>
                        <a:pt x="3378" y="1214"/>
                      </a:lnTo>
                      <a:lnTo>
                        <a:pt x="3402" y="1296"/>
                      </a:lnTo>
                      <a:lnTo>
                        <a:pt x="3420" y="1380"/>
                      </a:lnTo>
                      <a:lnTo>
                        <a:pt x="3436" y="1464"/>
                      </a:lnTo>
                      <a:lnTo>
                        <a:pt x="3446" y="1552"/>
                      </a:lnTo>
                      <a:lnTo>
                        <a:pt x="3454" y="1638"/>
                      </a:lnTo>
                      <a:lnTo>
                        <a:pt x="3456" y="1728"/>
                      </a:lnTo>
                      <a:lnTo>
                        <a:pt x="0" y="1728"/>
                      </a:lnTo>
                      <a:close/>
                    </a:path>
                  </a:pathLst>
                </a:custGeom>
                <a:gradFill rotWithShape="1">
                  <a:gsLst>
                    <a:gs pos="0">
                      <a:srgbClr val="FFFFFF"/>
                    </a:gs>
                    <a:gs pos="100000">
                      <a:srgbClr val="FFFFFF">
                        <a:gamma/>
                        <a:shade val="46275"/>
                        <a:invGamma/>
                        <a:alpha val="0"/>
                      </a:srgbClr>
                    </a:gs>
                  </a:gsLst>
                  <a:lin ang="5400000" scaled="1"/>
                </a:gra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sp>
          <p:nvSpPr>
            <p:cNvPr id="17" name="Text Box 111"/>
            <p:cNvSpPr txBox="1">
              <a:spLocks noChangeArrowheads="1"/>
            </p:cNvSpPr>
            <p:nvPr/>
          </p:nvSpPr>
          <p:spPr bwMode="auto">
            <a:xfrm>
              <a:off x="1272381" y="1944737"/>
              <a:ext cx="2879725"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zh-CN" altLang="en-US" sz="2400" b="1" dirty="0">
                  <a:latin typeface="微软雅黑" panose="020B0503020204020204" pitchFamily="34" charset="-122"/>
                  <a:ea typeface="微软雅黑" panose="020B0503020204020204" pitchFamily="34" charset="-122"/>
                </a:rPr>
                <a:t>填加标题</a:t>
              </a:r>
              <a:endParaRPr lang="en-US" altLang="ko-KR" sz="2400" b="1" dirty="0">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3457068" y="2508275"/>
            <a:ext cx="2879725" cy="1352550"/>
            <a:chOff x="3457068" y="2508275"/>
            <a:chExt cx="2879725" cy="1352550"/>
          </a:xfrm>
        </p:grpSpPr>
        <p:grpSp>
          <p:nvGrpSpPr>
            <p:cNvPr id="5" name="Group 112"/>
            <p:cNvGrpSpPr/>
            <p:nvPr/>
          </p:nvGrpSpPr>
          <p:grpSpPr bwMode="auto">
            <a:xfrm>
              <a:off x="4176787" y="2508275"/>
              <a:ext cx="1439862" cy="1352550"/>
              <a:chOff x="4264" y="1564"/>
              <a:chExt cx="907" cy="852"/>
            </a:xfrm>
          </p:grpSpPr>
          <p:sp>
            <p:nvSpPr>
              <p:cNvPr id="8" name="Freeform 113"/>
              <p:cNvSpPr>
                <a:spLocks noEditPoints="1"/>
              </p:cNvSpPr>
              <p:nvPr/>
            </p:nvSpPr>
            <p:spPr bwMode="auto">
              <a:xfrm>
                <a:off x="4264" y="1768"/>
                <a:ext cx="907" cy="648"/>
              </a:xfrm>
              <a:custGeom>
                <a:avLst/>
                <a:gdLst>
                  <a:gd name="T0" fmla="*/ 902 w 1010"/>
                  <a:gd name="T1" fmla="*/ 432 h 1008"/>
                  <a:gd name="T2" fmla="*/ 892 w 1010"/>
                  <a:gd name="T3" fmla="*/ 390 h 1008"/>
                  <a:gd name="T4" fmla="*/ 836 w 1010"/>
                  <a:gd name="T5" fmla="*/ 274 h 1008"/>
                  <a:gd name="T6" fmla="*/ 736 w 1010"/>
                  <a:gd name="T7" fmla="*/ 172 h 1008"/>
                  <a:gd name="T8" fmla="*/ 660 w 1010"/>
                  <a:gd name="T9" fmla="*/ 132 h 1008"/>
                  <a:gd name="T10" fmla="*/ 576 w 1010"/>
                  <a:gd name="T11" fmla="*/ 106 h 1008"/>
                  <a:gd name="T12" fmla="*/ 434 w 1010"/>
                  <a:gd name="T13" fmla="*/ 106 h 1008"/>
                  <a:gd name="T14" fmla="*/ 390 w 1010"/>
                  <a:gd name="T15" fmla="*/ 116 h 1008"/>
                  <a:gd name="T16" fmla="*/ 274 w 1010"/>
                  <a:gd name="T17" fmla="*/ 172 h 1008"/>
                  <a:gd name="T18" fmla="*/ 174 w 1010"/>
                  <a:gd name="T19" fmla="*/ 274 h 1008"/>
                  <a:gd name="T20" fmla="*/ 132 w 1010"/>
                  <a:gd name="T21" fmla="*/ 348 h 1008"/>
                  <a:gd name="T22" fmla="*/ 108 w 1010"/>
                  <a:gd name="T23" fmla="*/ 432 h 1008"/>
                  <a:gd name="T24" fmla="*/ 108 w 1010"/>
                  <a:gd name="T25" fmla="*/ 574 h 1008"/>
                  <a:gd name="T26" fmla="*/ 118 w 1010"/>
                  <a:gd name="T27" fmla="*/ 618 h 1008"/>
                  <a:gd name="T28" fmla="*/ 174 w 1010"/>
                  <a:gd name="T29" fmla="*/ 734 h 1008"/>
                  <a:gd name="T30" fmla="*/ 274 w 1010"/>
                  <a:gd name="T31" fmla="*/ 834 h 1008"/>
                  <a:gd name="T32" fmla="*/ 350 w 1010"/>
                  <a:gd name="T33" fmla="*/ 876 h 1008"/>
                  <a:gd name="T34" fmla="*/ 434 w 1010"/>
                  <a:gd name="T35" fmla="*/ 900 h 1008"/>
                  <a:gd name="T36" fmla="*/ 576 w 1010"/>
                  <a:gd name="T37" fmla="*/ 900 h 1008"/>
                  <a:gd name="T38" fmla="*/ 620 w 1010"/>
                  <a:gd name="T39" fmla="*/ 890 h 1008"/>
                  <a:gd name="T40" fmla="*/ 736 w 1010"/>
                  <a:gd name="T41" fmla="*/ 834 h 1008"/>
                  <a:gd name="T42" fmla="*/ 836 w 1010"/>
                  <a:gd name="T43" fmla="*/ 734 h 1008"/>
                  <a:gd name="T44" fmla="*/ 878 w 1010"/>
                  <a:gd name="T45" fmla="*/ 658 h 1008"/>
                  <a:gd name="T46" fmla="*/ 902 w 1010"/>
                  <a:gd name="T47" fmla="*/ 574 h 1008"/>
                  <a:gd name="T48" fmla="*/ 504 w 1010"/>
                  <a:gd name="T49" fmla="*/ 806 h 1008"/>
                  <a:gd name="T50" fmla="*/ 414 w 1010"/>
                  <a:gd name="T51" fmla="*/ 792 h 1008"/>
                  <a:gd name="T52" fmla="*/ 336 w 1010"/>
                  <a:gd name="T53" fmla="*/ 754 h 1008"/>
                  <a:gd name="T54" fmla="*/ 272 w 1010"/>
                  <a:gd name="T55" fmla="*/ 696 h 1008"/>
                  <a:gd name="T56" fmla="*/ 226 w 1010"/>
                  <a:gd name="T57" fmla="*/ 622 h 1008"/>
                  <a:gd name="T58" fmla="*/ 204 w 1010"/>
                  <a:gd name="T59" fmla="*/ 534 h 1008"/>
                  <a:gd name="T60" fmla="*/ 204 w 1010"/>
                  <a:gd name="T61" fmla="*/ 472 h 1008"/>
                  <a:gd name="T62" fmla="*/ 226 w 1010"/>
                  <a:gd name="T63" fmla="*/ 386 h 1008"/>
                  <a:gd name="T64" fmla="*/ 272 w 1010"/>
                  <a:gd name="T65" fmla="*/ 312 h 1008"/>
                  <a:gd name="T66" fmla="*/ 336 w 1010"/>
                  <a:gd name="T67" fmla="*/ 252 h 1008"/>
                  <a:gd name="T68" fmla="*/ 414 w 1010"/>
                  <a:gd name="T69" fmla="*/ 214 h 1008"/>
                  <a:gd name="T70" fmla="*/ 504 w 1010"/>
                  <a:gd name="T71" fmla="*/ 202 h 1008"/>
                  <a:gd name="T72" fmla="*/ 566 w 1010"/>
                  <a:gd name="T73" fmla="*/ 208 h 1008"/>
                  <a:gd name="T74" fmla="*/ 650 w 1010"/>
                  <a:gd name="T75" fmla="*/ 238 h 1008"/>
                  <a:gd name="T76" fmla="*/ 718 w 1010"/>
                  <a:gd name="T77" fmla="*/ 290 h 1008"/>
                  <a:gd name="T78" fmla="*/ 770 w 1010"/>
                  <a:gd name="T79" fmla="*/ 360 h 1008"/>
                  <a:gd name="T80" fmla="*/ 802 w 1010"/>
                  <a:gd name="T81" fmla="*/ 442 h 1008"/>
                  <a:gd name="T82" fmla="*/ 808 w 1010"/>
                  <a:gd name="T83" fmla="*/ 504 h 1008"/>
                  <a:gd name="T84" fmla="*/ 794 w 1010"/>
                  <a:gd name="T85" fmla="*/ 594 h 1008"/>
                  <a:gd name="T86" fmla="*/ 756 w 1010"/>
                  <a:gd name="T87" fmla="*/ 672 h 1008"/>
                  <a:gd name="T88" fmla="*/ 698 w 1010"/>
                  <a:gd name="T89" fmla="*/ 738 h 1008"/>
                  <a:gd name="T90" fmla="*/ 622 w 1010"/>
                  <a:gd name="T91" fmla="*/ 782 h 1008"/>
                  <a:gd name="T92" fmla="*/ 536 w 1010"/>
                  <a:gd name="T93" fmla="*/ 804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0" h="1008">
                    <a:moveTo>
                      <a:pt x="1010" y="574"/>
                    </a:moveTo>
                    <a:lnTo>
                      <a:pt x="1010" y="432"/>
                    </a:lnTo>
                    <a:lnTo>
                      <a:pt x="902" y="432"/>
                    </a:lnTo>
                    <a:lnTo>
                      <a:pt x="902" y="432"/>
                    </a:lnTo>
                    <a:lnTo>
                      <a:pt x="898" y="410"/>
                    </a:lnTo>
                    <a:lnTo>
                      <a:pt x="892" y="390"/>
                    </a:lnTo>
                    <a:lnTo>
                      <a:pt x="878" y="348"/>
                    </a:lnTo>
                    <a:lnTo>
                      <a:pt x="858" y="310"/>
                    </a:lnTo>
                    <a:lnTo>
                      <a:pt x="836" y="274"/>
                    </a:lnTo>
                    <a:lnTo>
                      <a:pt x="912" y="198"/>
                    </a:lnTo>
                    <a:lnTo>
                      <a:pt x="812" y="96"/>
                    </a:lnTo>
                    <a:lnTo>
                      <a:pt x="736" y="172"/>
                    </a:lnTo>
                    <a:lnTo>
                      <a:pt x="736" y="172"/>
                    </a:lnTo>
                    <a:lnTo>
                      <a:pt x="698" y="150"/>
                    </a:lnTo>
                    <a:lnTo>
                      <a:pt x="660" y="132"/>
                    </a:lnTo>
                    <a:lnTo>
                      <a:pt x="620" y="116"/>
                    </a:lnTo>
                    <a:lnTo>
                      <a:pt x="598" y="112"/>
                    </a:lnTo>
                    <a:lnTo>
                      <a:pt x="576" y="106"/>
                    </a:lnTo>
                    <a:lnTo>
                      <a:pt x="576" y="0"/>
                    </a:lnTo>
                    <a:lnTo>
                      <a:pt x="434" y="0"/>
                    </a:lnTo>
                    <a:lnTo>
                      <a:pt x="434" y="106"/>
                    </a:lnTo>
                    <a:lnTo>
                      <a:pt x="434" y="106"/>
                    </a:lnTo>
                    <a:lnTo>
                      <a:pt x="412" y="112"/>
                    </a:lnTo>
                    <a:lnTo>
                      <a:pt x="390" y="116"/>
                    </a:lnTo>
                    <a:lnTo>
                      <a:pt x="350" y="132"/>
                    </a:lnTo>
                    <a:lnTo>
                      <a:pt x="310" y="150"/>
                    </a:lnTo>
                    <a:lnTo>
                      <a:pt x="274" y="172"/>
                    </a:lnTo>
                    <a:lnTo>
                      <a:pt x="198" y="96"/>
                    </a:lnTo>
                    <a:lnTo>
                      <a:pt x="98" y="198"/>
                    </a:lnTo>
                    <a:lnTo>
                      <a:pt x="174" y="274"/>
                    </a:lnTo>
                    <a:lnTo>
                      <a:pt x="174" y="274"/>
                    </a:lnTo>
                    <a:lnTo>
                      <a:pt x="152" y="310"/>
                    </a:lnTo>
                    <a:lnTo>
                      <a:pt x="132" y="348"/>
                    </a:lnTo>
                    <a:lnTo>
                      <a:pt x="118" y="390"/>
                    </a:lnTo>
                    <a:lnTo>
                      <a:pt x="112" y="410"/>
                    </a:lnTo>
                    <a:lnTo>
                      <a:pt x="108" y="432"/>
                    </a:lnTo>
                    <a:lnTo>
                      <a:pt x="0" y="432"/>
                    </a:lnTo>
                    <a:lnTo>
                      <a:pt x="0" y="574"/>
                    </a:lnTo>
                    <a:lnTo>
                      <a:pt x="108" y="574"/>
                    </a:lnTo>
                    <a:lnTo>
                      <a:pt x="108" y="574"/>
                    </a:lnTo>
                    <a:lnTo>
                      <a:pt x="112" y="596"/>
                    </a:lnTo>
                    <a:lnTo>
                      <a:pt x="118" y="618"/>
                    </a:lnTo>
                    <a:lnTo>
                      <a:pt x="132" y="658"/>
                    </a:lnTo>
                    <a:lnTo>
                      <a:pt x="152" y="698"/>
                    </a:lnTo>
                    <a:lnTo>
                      <a:pt x="174" y="734"/>
                    </a:lnTo>
                    <a:lnTo>
                      <a:pt x="98" y="810"/>
                    </a:lnTo>
                    <a:lnTo>
                      <a:pt x="198" y="910"/>
                    </a:lnTo>
                    <a:lnTo>
                      <a:pt x="274" y="834"/>
                    </a:lnTo>
                    <a:lnTo>
                      <a:pt x="274" y="834"/>
                    </a:lnTo>
                    <a:lnTo>
                      <a:pt x="310" y="858"/>
                    </a:lnTo>
                    <a:lnTo>
                      <a:pt x="350" y="876"/>
                    </a:lnTo>
                    <a:lnTo>
                      <a:pt x="390" y="890"/>
                    </a:lnTo>
                    <a:lnTo>
                      <a:pt x="412" y="896"/>
                    </a:lnTo>
                    <a:lnTo>
                      <a:pt x="434" y="900"/>
                    </a:lnTo>
                    <a:lnTo>
                      <a:pt x="434" y="1008"/>
                    </a:lnTo>
                    <a:lnTo>
                      <a:pt x="576" y="1008"/>
                    </a:lnTo>
                    <a:lnTo>
                      <a:pt x="576" y="900"/>
                    </a:lnTo>
                    <a:lnTo>
                      <a:pt x="576" y="900"/>
                    </a:lnTo>
                    <a:lnTo>
                      <a:pt x="598" y="896"/>
                    </a:lnTo>
                    <a:lnTo>
                      <a:pt x="620" y="890"/>
                    </a:lnTo>
                    <a:lnTo>
                      <a:pt x="660" y="876"/>
                    </a:lnTo>
                    <a:lnTo>
                      <a:pt x="698" y="858"/>
                    </a:lnTo>
                    <a:lnTo>
                      <a:pt x="736" y="834"/>
                    </a:lnTo>
                    <a:lnTo>
                      <a:pt x="812" y="910"/>
                    </a:lnTo>
                    <a:lnTo>
                      <a:pt x="912" y="810"/>
                    </a:lnTo>
                    <a:lnTo>
                      <a:pt x="836" y="734"/>
                    </a:lnTo>
                    <a:lnTo>
                      <a:pt x="836" y="734"/>
                    </a:lnTo>
                    <a:lnTo>
                      <a:pt x="858" y="698"/>
                    </a:lnTo>
                    <a:lnTo>
                      <a:pt x="878" y="658"/>
                    </a:lnTo>
                    <a:lnTo>
                      <a:pt x="892" y="618"/>
                    </a:lnTo>
                    <a:lnTo>
                      <a:pt x="898" y="596"/>
                    </a:lnTo>
                    <a:lnTo>
                      <a:pt x="902" y="574"/>
                    </a:lnTo>
                    <a:lnTo>
                      <a:pt x="1010" y="574"/>
                    </a:lnTo>
                    <a:close/>
                    <a:moveTo>
                      <a:pt x="504" y="806"/>
                    </a:moveTo>
                    <a:lnTo>
                      <a:pt x="504" y="806"/>
                    </a:lnTo>
                    <a:lnTo>
                      <a:pt x="474" y="804"/>
                    </a:lnTo>
                    <a:lnTo>
                      <a:pt x="444" y="800"/>
                    </a:lnTo>
                    <a:lnTo>
                      <a:pt x="414" y="792"/>
                    </a:lnTo>
                    <a:lnTo>
                      <a:pt x="388" y="782"/>
                    </a:lnTo>
                    <a:lnTo>
                      <a:pt x="360" y="770"/>
                    </a:lnTo>
                    <a:lnTo>
                      <a:pt x="336" y="754"/>
                    </a:lnTo>
                    <a:lnTo>
                      <a:pt x="312" y="738"/>
                    </a:lnTo>
                    <a:lnTo>
                      <a:pt x="292" y="718"/>
                    </a:lnTo>
                    <a:lnTo>
                      <a:pt x="272" y="696"/>
                    </a:lnTo>
                    <a:lnTo>
                      <a:pt x="254" y="672"/>
                    </a:lnTo>
                    <a:lnTo>
                      <a:pt x="238" y="648"/>
                    </a:lnTo>
                    <a:lnTo>
                      <a:pt x="226" y="622"/>
                    </a:lnTo>
                    <a:lnTo>
                      <a:pt x="216" y="594"/>
                    </a:lnTo>
                    <a:lnTo>
                      <a:pt x="208" y="564"/>
                    </a:lnTo>
                    <a:lnTo>
                      <a:pt x="204" y="534"/>
                    </a:lnTo>
                    <a:lnTo>
                      <a:pt x="202" y="504"/>
                    </a:lnTo>
                    <a:lnTo>
                      <a:pt x="202" y="504"/>
                    </a:lnTo>
                    <a:lnTo>
                      <a:pt x="204" y="472"/>
                    </a:lnTo>
                    <a:lnTo>
                      <a:pt x="208" y="442"/>
                    </a:lnTo>
                    <a:lnTo>
                      <a:pt x="216" y="414"/>
                    </a:lnTo>
                    <a:lnTo>
                      <a:pt x="226" y="386"/>
                    </a:lnTo>
                    <a:lnTo>
                      <a:pt x="238" y="360"/>
                    </a:lnTo>
                    <a:lnTo>
                      <a:pt x="254" y="334"/>
                    </a:lnTo>
                    <a:lnTo>
                      <a:pt x="272" y="312"/>
                    </a:lnTo>
                    <a:lnTo>
                      <a:pt x="292" y="290"/>
                    </a:lnTo>
                    <a:lnTo>
                      <a:pt x="312" y="270"/>
                    </a:lnTo>
                    <a:lnTo>
                      <a:pt x="336" y="252"/>
                    </a:lnTo>
                    <a:lnTo>
                      <a:pt x="360" y="238"/>
                    </a:lnTo>
                    <a:lnTo>
                      <a:pt x="388" y="224"/>
                    </a:lnTo>
                    <a:lnTo>
                      <a:pt x="414" y="214"/>
                    </a:lnTo>
                    <a:lnTo>
                      <a:pt x="444" y="208"/>
                    </a:lnTo>
                    <a:lnTo>
                      <a:pt x="474" y="202"/>
                    </a:lnTo>
                    <a:lnTo>
                      <a:pt x="504" y="202"/>
                    </a:lnTo>
                    <a:lnTo>
                      <a:pt x="504" y="202"/>
                    </a:lnTo>
                    <a:lnTo>
                      <a:pt x="536" y="202"/>
                    </a:lnTo>
                    <a:lnTo>
                      <a:pt x="566" y="208"/>
                    </a:lnTo>
                    <a:lnTo>
                      <a:pt x="594" y="214"/>
                    </a:lnTo>
                    <a:lnTo>
                      <a:pt x="622" y="224"/>
                    </a:lnTo>
                    <a:lnTo>
                      <a:pt x="650" y="238"/>
                    </a:lnTo>
                    <a:lnTo>
                      <a:pt x="674" y="252"/>
                    </a:lnTo>
                    <a:lnTo>
                      <a:pt x="698" y="270"/>
                    </a:lnTo>
                    <a:lnTo>
                      <a:pt x="718" y="290"/>
                    </a:lnTo>
                    <a:lnTo>
                      <a:pt x="738" y="312"/>
                    </a:lnTo>
                    <a:lnTo>
                      <a:pt x="756" y="334"/>
                    </a:lnTo>
                    <a:lnTo>
                      <a:pt x="770" y="360"/>
                    </a:lnTo>
                    <a:lnTo>
                      <a:pt x="784" y="386"/>
                    </a:lnTo>
                    <a:lnTo>
                      <a:pt x="794" y="414"/>
                    </a:lnTo>
                    <a:lnTo>
                      <a:pt x="802" y="442"/>
                    </a:lnTo>
                    <a:lnTo>
                      <a:pt x="806" y="472"/>
                    </a:lnTo>
                    <a:lnTo>
                      <a:pt x="808" y="504"/>
                    </a:lnTo>
                    <a:lnTo>
                      <a:pt x="808" y="504"/>
                    </a:lnTo>
                    <a:lnTo>
                      <a:pt x="806" y="534"/>
                    </a:lnTo>
                    <a:lnTo>
                      <a:pt x="802" y="564"/>
                    </a:lnTo>
                    <a:lnTo>
                      <a:pt x="794" y="594"/>
                    </a:lnTo>
                    <a:lnTo>
                      <a:pt x="784" y="622"/>
                    </a:lnTo>
                    <a:lnTo>
                      <a:pt x="770" y="648"/>
                    </a:lnTo>
                    <a:lnTo>
                      <a:pt x="756" y="672"/>
                    </a:lnTo>
                    <a:lnTo>
                      <a:pt x="738" y="696"/>
                    </a:lnTo>
                    <a:lnTo>
                      <a:pt x="718" y="718"/>
                    </a:lnTo>
                    <a:lnTo>
                      <a:pt x="698" y="738"/>
                    </a:lnTo>
                    <a:lnTo>
                      <a:pt x="674" y="754"/>
                    </a:lnTo>
                    <a:lnTo>
                      <a:pt x="650" y="770"/>
                    </a:lnTo>
                    <a:lnTo>
                      <a:pt x="622" y="782"/>
                    </a:lnTo>
                    <a:lnTo>
                      <a:pt x="594" y="792"/>
                    </a:lnTo>
                    <a:lnTo>
                      <a:pt x="566" y="800"/>
                    </a:lnTo>
                    <a:lnTo>
                      <a:pt x="536" y="804"/>
                    </a:lnTo>
                    <a:lnTo>
                      <a:pt x="504" y="806"/>
                    </a:lnTo>
                    <a:lnTo>
                      <a:pt x="504" y="806"/>
                    </a:lnTo>
                    <a:close/>
                  </a:path>
                </a:pathLst>
              </a:custGeom>
              <a:solidFill>
                <a:schemeClr val="tx1">
                  <a:alpha val="50000"/>
                </a:schemeClr>
              </a:solidFill>
              <a:ln>
                <a:noFill/>
              </a:ln>
              <a:effectLst/>
              <a:extLst>
                <a:ext uri="{91240B29-F687-4F45-9708-019B960494DF}">
                  <a14:hiddenLine xmlns:a14="http://schemas.microsoft.com/office/drawing/2010/main" w="19050">
                    <a:solidFill>
                      <a:schemeClr val="bg1"/>
                    </a:solid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lstStyle/>
              <a:p>
                <a:endParaRPr lang="zh-CN" altLang="en-US"/>
              </a:p>
            </p:txBody>
          </p:sp>
          <p:sp>
            <p:nvSpPr>
              <p:cNvPr id="9" name="Freeform 114"/>
              <p:cNvSpPr>
                <a:spLocks noEditPoints="1"/>
              </p:cNvSpPr>
              <p:nvPr/>
            </p:nvSpPr>
            <p:spPr bwMode="auto">
              <a:xfrm>
                <a:off x="4264" y="1564"/>
                <a:ext cx="907" cy="648"/>
              </a:xfrm>
              <a:custGeom>
                <a:avLst/>
                <a:gdLst>
                  <a:gd name="T0" fmla="*/ 902 w 1010"/>
                  <a:gd name="T1" fmla="*/ 432 h 1008"/>
                  <a:gd name="T2" fmla="*/ 892 w 1010"/>
                  <a:gd name="T3" fmla="*/ 390 h 1008"/>
                  <a:gd name="T4" fmla="*/ 836 w 1010"/>
                  <a:gd name="T5" fmla="*/ 274 h 1008"/>
                  <a:gd name="T6" fmla="*/ 736 w 1010"/>
                  <a:gd name="T7" fmla="*/ 172 h 1008"/>
                  <a:gd name="T8" fmla="*/ 660 w 1010"/>
                  <a:gd name="T9" fmla="*/ 132 h 1008"/>
                  <a:gd name="T10" fmla="*/ 576 w 1010"/>
                  <a:gd name="T11" fmla="*/ 106 h 1008"/>
                  <a:gd name="T12" fmla="*/ 434 w 1010"/>
                  <a:gd name="T13" fmla="*/ 106 h 1008"/>
                  <a:gd name="T14" fmla="*/ 390 w 1010"/>
                  <a:gd name="T15" fmla="*/ 116 h 1008"/>
                  <a:gd name="T16" fmla="*/ 274 w 1010"/>
                  <a:gd name="T17" fmla="*/ 172 h 1008"/>
                  <a:gd name="T18" fmla="*/ 174 w 1010"/>
                  <a:gd name="T19" fmla="*/ 274 h 1008"/>
                  <a:gd name="T20" fmla="*/ 132 w 1010"/>
                  <a:gd name="T21" fmla="*/ 348 h 1008"/>
                  <a:gd name="T22" fmla="*/ 108 w 1010"/>
                  <a:gd name="T23" fmla="*/ 432 h 1008"/>
                  <a:gd name="T24" fmla="*/ 108 w 1010"/>
                  <a:gd name="T25" fmla="*/ 574 h 1008"/>
                  <a:gd name="T26" fmla="*/ 118 w 1010"/>
                  <a:gd name="T27" fmla="*/ 618 h 1008"/>
                  <a:gd name="T28" fmla="*/ 174 w 1010"/>
                  <a:gd name="T29" fmla="*/ 734 h 1008"/>
                  <a:gd name="T30" fmla="*/ 274 w 1010"/>
                  <a:gd name="T31" fmla="*/ 834 h 1008"/>
                  <a:gd name="T32" fmla="*/ 350 w 1010"/>
                  <a:gd name="T33" fmla="*/ 876 h 1008"/>
                  <a:gd name="T34" fmla="*/ 434 w 1010"/>
                  <a:gd name="T35" fmla="*/ 900 h 1008"/>
                  <a:gd name="T36" fmla="*/ 576 w 1010"/>
                  <a:gd name="T37" fmla="*/ 900 h 1008"/>
                  <a:gd name="T38" fmla="*/ 620 w 1010"/>
                  <a:gd name="T39" fmla="*/ 890 h 1008"/>
                  <a:gd name="T40" fmla="*/ 736 w 1010"/>
                  <a:gd name="T41" fmla="*/ 834 h 1008"/>
                  <a:gd name="T42" fmla="*/ 836 w 1010"/>
                  <a:gd name="T43" fmla="*/ 734 h 1008"/>
                  <a:gd name="T44" fmla="*/ 878 w 1010"/>
                  <a:gd name="T45" fmla="*/ 658 h 1008"/>
                  <a:gd name="T46" fmla="*/ 902 w 1010"/>
                  <a:gd name="T47" fmla="*/ 574 h 1008"/>
                  <a:gd name="T48" fmla="*/ 504 w 1010"/>
                  <a:gd name="T49" fmla="*/ 806 h 1008"/>
                  <a:gd name="T50" fmla="*/ 414 w 1010"/>
                  <a:gd name="T51" fmla="*/ 792 h 1008"/>
                  <a:gd name="T52" fmla="*/ 336 w 1010"/>
                  <a:gd name="T53" fmla="*/ 754 h 1008"/>
                  <a:gd name="T54" fmla="*/ 272 w 1010"/>
                  <a:gd name="T55" fmla="*/ 696 h 1008"/>
                  <a:gd name="T56" fmla="*/ 226 w 1010"/>
                  <a:gd name="T57" fmla="*/ 622 h 1008"/>
                  <a:gd name="T58" fmla="*/ 204 w 1010"/>
                  <a:gd name="T59" fmla="*/ 534 h 1008"/>
                  <a:gd name="T60" fmla="*/ 204 w 1010"/>
                  <a:gd name="T61" fmla="*/ 472 h 1008"/>
                  <a:gd name="T62" fmla="*/ 226 w 1010"/>
                  <a:gd name="T63" fmla="*/ 386 h 1008"/>
                  <a:gd name="T64" fmla="*/ 272 w 1010"/>
                  <a:gd name="T65" fmla="*/ 312 h 1008"/>
                  <a:gd name="T66" fmla="*/ 336 w 1010"/>
                  <a:gd name="T67" fmla="*/ 252 h 1008"/>
                  <a:gd name="T68" fmla="*/ 414 w 1010"/>
                  <a:gd name="T69" fmla="*/ 214 h 1008"/>
                  <a:gd name="T70" fmla="*/ 504 w 1010"/>
                  <a:gd name="T71" fmla="*/ 202 h 1008"/>
                  <a:gd name="T72" fmla="*/ 566 w 1010"/>
                  <a:gd name="T73" fmla="*/ 208 h 1008"/>
                  <a:gd name="T74" fmla="*/ 650 w 1010"/>
                  <a:gd name="T75" fmla="*/ 238 h 1008"/>
                  <a:gd name="T76" fmla="*/ 718 w 1010"/>
                  <a:gd name="T77" fmla="*/ 290 h 1008"/>
                  <a:gd name="T78" fmla="*/ 770 w 1010"/>
                  <a:gd name="T79" fmla="*/ 360 h 1008"/>
                  <a:gd name="T80" fmla="*/ 802 w 1010"/>
                  <a:gd name="T81" fmla="*/ 442 h 1008"/>
                  <a:gd name="T82" fmla="*/ 808 w 1010"/>
                  <a:gd name="T83" fmla="*/ 504 h 1008"/>
                  <a:gd name="T84" fmla="*/ 794 w 1010"/>
                  <a:gd name="T85" fmla="*/ 594 h 1008"/>
                  <a:gd name="T86" fmla="*/ 756 w 1010"/>
                  <a:gd name="T87" fmla="*/ 672 h 1008"/>
                  <a:gd name="T88" fmla="*/ 698 w 1010"/>
                  <a:gd name="T89" fmla="*/ 738 h 1008"/>
                  <a:gd name="T90" fmla="*/ 622 w 1010"/>
                  <a:gd name="T91" fmla="*/ 782 h 1008"/>
                  <a:gd name="T92" fmla="*/ 536 w 1010"/>
                  <a:gd name="T93" fmla="*/ 804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0" h="1008">
                    <a:moveTo>
                      <a:pt x="1010" y="574"/>
                    </a:moveTo>
                    <a:lnTo>
                      <a:pt x="1010" y="432"/>
                    </a:lnTo>
                    <a:lnTo>
                      <a:pt x="902" y="432"/>
                    </a:lnTo>
                    <a:lnTo>
                      <a:pt x="902" y="432"/>
                    </a:lnTo>
                    <a:lnTo>
                      <a:pt x="898" y="410"/>
                    </a:lnTo>
                    <a:lnTo>
                      <a:pt x="892" y="390"/>
                    </a:lnTo>
                    <a:lnTo>
                      <a:pt x="878" y="348"/>
                    </a:lnTo>
                    <a:lnTo>
                      <a:pt x="858" y="310"/>
                    </a:lnTo>
                    <a:lnTo>
                      <a:pt x="836" y="274"/>
                    </a:lnTo>
                    <a:lnTo>
                      <a:pt x="912" y="198"/>
                    </a:lnTo>
                    <a:lnTo>
                      <a:pt x="812" y="96"/>
                    </a:lnTo>
                    <a:lnTo>
                      <a:pt x="736" y="172"/>
                    </a:lnTo>
                    <a:lnTo>
                      <a:pt x="736" y="172"/>
                    </a:lnTo>
                    <a:lnTo>
                      <a:pt x="698" y="150"/>
                    </a:lnTo>
                    <a:lnTo>
                      <a:pt x="660" y="132"/>
                    </a:lnTo>
                    <a:lnTo>
                      <a:pt x="620" y="116"/>
                    </a:lnTo>
                    <a:lnTo>
                      <a:pt x="598" y="112"/>
                    </a:lnTo>
                    <a:lnTo>
                      <a:pt x="576" y="106"/>
                    </a:lnTo>
                    <a:lnTo>
                      <a:pt x="576" y="0"/>
                    </a:lnTo>
                    <a:lnTo>
                      <a:pt x="434" y="0"/>
                    </a:lnTo>
                    <a:lnTo>
                      <a:pt x="434" y="106"/>
                    </a:lnTo>
                    <a:lnTo>
                      <a:pt x="434" y="106"/>
                    </a:lnTo>
                    <a:lnTo>
                      <a:pt x="412" y="112"/>
                    </a:lnTo>
                    <a:lnTo>
                      <a:pt x="390" y="116"/>
                    </a:lnTo>
                    <a:lnTo>
                      <a:pt x="350" y="132"/>
                    </a:lnTo>
                    <a:lnTo>
                      <a:pt x="310" y="150"/>
                    </a:lnTo>
                    <a:lnTo>
                      <a:pt x="274" y="172"/>
                    </a:lnTo>
                    <a:lnTo>
                      <a:pt x="198" y="96"/>
                    </a:lnTo>
                    <a:lnTo>
                      <a:pt x="98" y="198"/>
                    </a:lnTo>
                    <a:lnTo>
                      <a:pt x="174" y="274"/>
                    </a:lnTo>
                    <a:lnTo>
                      <a:pt x="174" y="274"/>
                    </a:lnTo>
                    <a:lnTo>
                      <a:pt x="152" y="310"/>
                    </a:lnTo>
                    <a:lnTo>
                      <a:pt x="132" y="348"/>
                    </a:lnTo>
                    <a:lnTo>
                      <a:pt x="118" y="390"/>
                    </a:lnTo>
                    <a:lnTo>
                      <a:pt x="112" y="410"/>
                    </a:lnTo>
                    <a:lnTo>
                      <a:pt x="108" y="432"/>
                    </a:lnTo>
                    <a:lnTo>
                      <a:pt x="0" y="432"/>
                    </a:lnTo>
                    <a:lnTo>
                      <a:pt x="0" y="574"/>
                    </a:lnTo>
                    <a:lnTo>
                      <a:pt x="108" y="574"/>
                    </a:lnTo>
                    <a:lnTo>
                      <a:pt x="108" y="574"/>
                    </a:lnTo>
                    <a:lnTo>
                      <a:pt x="112" y="596"/>
                    </a:lnTo>
                    <a:lnTo>
                      <a:pt x="118" y="618"/>
                    </a:lnTo>
                    <a:lnTo>
                      <a:pt x="132" y="658"/>
                    </a:lnTo>
                    <a:lnTo>
                      <a:pt x="152" y="698"/>
                    </a:lnTo>
                    <a:lnTo>
                      <a:pt x="174" y="734"/>
                    </a:lnTo>
                    <a:lnTo>
                      <a:pt x="98" y="810"/>
                    </a:lnTo>
                    <a:lnTo>
                      <a:pt x="198" y="910"/>
                    </a:lnTo>
                    <a:lnTo>
                      <a:pt x="274" y="834"/>
                    </a:lnTo>
                    <a:lnTo>
                      <a:pt x="274" y="834"/>
                    </a:lnTo>
                    <a:lnTo>
                      <a:pt x="310" y="858"/>
                    </a:lnTo>
                    <a:lnTo>
                      <a:pt x="350" y="876"/>
                    </a:lnTo>
                    <a:lnTo>
                      <a:pt x="390" y="890"/>
                    </a:lnTo>
                    <a:lnTo>
                      <a:pt x="412" y="896"/>
                    </a:lnTo>
                    <a:lnTo>
                      <a:pt x="434" y="900"/>
                    </a:lnTo>
                    <a:lnTo>
                      <a:pt x="434" y="1008"/>
                    </a:lnTo>
                    <a:lnTo>
                      <a:pt x="576" y="1008"/>
                    </a:lnTo>
                    <a:lnTo>
                      <a:pt x="576" y="900"/>
                    </a:lnTo>
                    <a:lnTo>
                      <a:pt x="576" y="900"/>
                    </a:lnTo>
                    <a:lnTo>
                      <a:pt x="598" y="896"/>
                    </a:lnTo>
                    <a:lnTo>
                      <a:pt x="620" y="890"/>
                    </a:lnTo>
                    <a:lnTo>
                      <a:pt x="660" y="876"/>
                    </a:lnTo>
                    <a:lnTo>
                      <a:pt x="698" y="858"/>
                    </a:lnTo>
                    <a:lnTo>
                      <a:pt x="736" y="834"/>
                    </a:lnTo>
                    <a:lnTo>
                      <a:pt x="812" y="910"/>
                    </a:lnTo>
                    <a:lnTo>
                      <a:pt x="912" y="810"/>
                    </a:lnTo>
                    <a:lnTo>
                      <a:pt x="836" y="734"/>
                    </a:lnTo>
                    <a:lnTo>
                      <a:pt x="836" y="734"/>
                    </a:lnTo>
                    <a:lnTo>
                      <a:pt x="858" y="698"/>
                    </a:lnTo>
                    <a:lnTo>
                      <a:pt x="878" y="658"/>
                    </a:lnTo>
                    <a:lnTo>
                      <a:pt x="892" y="618"/>
                    </a:lnTo>
                    <a:lnTo>
                      <a:pt x="898" y="596"/>
                    </a:lnTo>
                    <a:lnTo>
                      <a:pt x="902" y="574"/>
                    </a:lnTo>
                    <a:lnTo>
                      <a:pt x="1010" y="574"/>
                    </a:lnTo>
                    <a:close/>
                    <a:moveTo>
                      <a:pt x="504" y="806"/>
                    </a:moveTo>
                    <a:lnTo>
                      <a:pt x="504" y="806"/>
                    </a:lnTo>
                    <a:lnTo>
                      <a:pt x="474" y="804"/>
                    </a:lnTo>
                    <a:lnTo>
                      <a:pt x="444" y="800"/>
                    </a:lnTo>
                    <a:lnTo>
                      <a:pt x="414" y="792"/>
                    </a:lnTo>
                    <a:lnTo>
                      <a:pt x="388" y="782"/>
                    </a:lnTo>
                    <a:lnTo>
                      <a:pt x="360" y="770"/>
                    </a:lnTo>
                    <a:lnTo>
                      <a:pt x="336" y="754"/>
                    </a:lnTo>
                    <a:lnTo>
                      <a:pt x="312" y="738"/>
                    </a:lnTo>
                    <a:lnTo>
                      <a:pt x="292" y="718"/>
                    </a:lnTo>
                    <a:lnTo>
                      <a:pt x="272" y="696"/>
                    </a:lnTo>
                    <a:lnTo>
                      <a:pt x="254" y="672"/>
                    </a:lnTo>
                    <a:lnTo>
                      <a:pt x="238" y="648"/>
                    </a:lnTo>
                    <a:lnTo>
                      <a:pt x="226" y="622"/>
                    </a:lnTo>
                    <a:lnTo>
                      <a:pt x="216" y="594"/>
                    </a:lnTo>
                    <a:lnTo>
                      <a:pt x="208" y="564"/>
                    </a:lnTo>
                    <a:lnTo>
                      <a:pt x="204" y="534"/>
                    </a:lnTo>
                    <a:lnTo>
                      <a:pt x="202" y="504"/>
                    </a:lnTo>
                    <a:lnTo>
                      <a:pt x="202" y="504"/>
                    </a:lnTo>
                    <a:lnTo>
                      <a:pt x="204" y="472"/>
                    </a:lnTo>
                    <a:lnTo>
                      <a:pt x="208" y="442"/>
                    </a:lnTo>
                    <a:lnTo>
                      <a:pt x="216" y="414"/>
                    </a:lnTo>
                    <a:lnTo>
                      <a:pt x="226" y="386"/>
                    </a:lnTo>
                    <a:lnTo>
                      <a:pt x="238" y="360"/>
                    </a:lnTo>
                    <a:lnTo>
                      <a:pt x="254" y="334"/>
                    </a:lnTo>
                    <a:lnTo>
                      <a:pt x="272" y="312"/>
                    </a:lnTo>
                    <a:lnTo>
                      <a:pt x="292" y="290"/>
                    </a:lnTo>
                    <a:lnTo>
                      <a:pt x="312" y="270"/>
                    </a:lnTo>
                    <a:lnTo>
                      <a:pt x="336" y="252"/>
                    </a:lnTo>
                    <a:lnTo>
                      <a:pt x="360" y="238"/>
                    </a:lnTo>
                    <a:lnTo>
                      <a:pt x="388" y="224"/>
                    </a:lnTo>
                    <a:lnTo>
                      <a:pt x="414" y="214"/>
                    </a:lnTo>
                    <a:lnTo>
                      <a:pt x="444" y="208"/>
                    </a:lnTo>
                    <a:lnTo>
                      <a:pt x="474" y="202"/>
                    </a:lnTo>
                    <a:lnTo>
                      <a:pt x="504" y="202"/>
                    </a:lnTo>
                    <a:lnTo>
                      <a:pt x="504" y="202"/>
                    </a:lnTo>
                    <a:lnTo>
                      <a:pt x="536" y="202"/>
                    </a:lnTo>
                    <a:lnTo>
                      <a:pt x="566" y="208"/>
                    </a:lnTo>
                    <a:lnTo>
                      <a:pt x="594" y="214"/>
                    </a:lnTo>
                    <a:lnTo>
                      <a:pt x="622" y="224"/>
                    </a:lnTo>
                    <a:lnTo>
                      <a:pt x="650" y="238"/>
                    </a:lnTo>
                    <a:lnTo>
                      <a:pt x="674" y="252"/>
                    </a:lnTo>
                    <a:lnTo>
                      <a:pt x="698" y="270"/>
                    </a:lnTo>
                    <a:lnTo>
                      <a:pt x="718" y="290"/>
                    </a:lnTo>
                    <a:lnTo>
                      <a:pt x="738" y="312"/>
                    </a:lnTo>
                    <a:lnTo>
                      <a:pt x="756" y="334"/>
                    </a:lnTo>
                    <a:lnTo>
                      <a:pt x="770" y="360"/>
                    </a:lnTo>
                    <a:lnTo>
                      <a:pt x="784" y="386"/>
                    </a:lnTo>
                    <a:lnTo>
                      <a:pt x="794" y="414"/>
                    </a:lnTo>
                    <a:lnTo>
                      <a:pt x="802" y="442"/>
                    </a:lnTo>
                    <a:lnTo>
                      <a:pt x="806" y="472"/>
                    </a:lnTo>
                    <a:lnTo>
                      <a:pt x="808" y="504"/>
                    </a:lnTo>
                    <a:lnTo>
                      <a:pt x="808" y="504"/>
                    </a:lnTo>
                    <a:lnTo>
                      <a:pt x="806" y="534"/>
                    </a:lnTo>
                    <a:lnTo>
                      <a:pt x="802" y="564"/>
                    </a:lnTo>
                    <a:lnTo>
                      <a:pt x="794" y="594"/>
                    </a:lnTo>
                    <a:lnTo>
                      <a:pt x="784" y="622"/>
                    </a:lnTo>
                    <a:lnTo>
                      <a:pt x="770" y="648"/>
                    </a:lnTo>
                    <a:lnTo>
                      <a:pt x="756" y="672"/>
                    </a:lnTo>
                    <a:lnTo>
                      <a:pt x="738" y="696"/>
                    </a:lnTo>
                    <a:lnTo>
                      <a:pt x="718" y="718"/>
                    </a:lnTo>
                    <a:lnTo>
                      <a:pt x="698" y="738"/>
                    </a:lnTo>
                    <a:lnTo>
                      <a:pt x="674" y="754"/>
                    </a:lnTo>
                    <a:lnTo>
                      <a:pt x="650" y="770"/>
                    </a:lnTo>
                    <a:lnTo>
                      <a:pt x="622" y="782"/>
                    </a:lnTo>
                    <a:lnTo>
                      <a:pt x="594" y="792"/>
                    </a:lnTo>
                    <a:lnTo>
                      <a:pt x="566" y="800"/>
                    </a:lnTo>
                    <a:lnTo>
                      <a:pt x="536" y="804"/>
                    </a:lnTo>
                    <a:lnTo>
                      <a:pt x="504" y="806"/>
                    </a:lnTo>
                    <a:lnTo>
                      <a:pt x="504" y="806"/>
                    </a:lnTo>
                    <a:close/>
                  </a:path>
                </a:pathLst>
              </a:custGeom>
              <a:gradFill rotWithShape="1">
                <a:gsLst>
                  <a:gs pos="0">
                    <a:schemeClr val="bg1">
                      <a:gamma/>
                      <a:shade val="66667"/>
                      <a:invGamma/>
                    </a:schemeClr>
                  </a:gs>
                  <a:gs pos="50000">
                    <a:schemeClr val="bg1"/>
                  </a:gs>
                  <a:gs pos="100000">
                    <a:schemeClr val="bg1">
                      <a:gamma/>
                      <a:shade val="66667"/>
                      <a:invGamma/>
                    </a:schemeClr>
                  </a:gs>
                </a:gsLst>
                <a:lin ang="5400000" scaled="1"/>
              </a:gradFill>
              <a:ln>
                <a:noFill/>
              </a:ln>
              <a:effectLst/>
              <a:scene3d>
                <a:camera prst="legacyObliqueBottom"/>
                <a:lightRig rig="legacyFlat3" dir="b"/>
              </a:scene3d>
              <a:sp3d extrusionH="430200" prstMaterial="legacyMatte">
                <a:bevelT w="13500" h="13500" prst="angle"/>
                <a:bevelB w="13500" h="13500" prst="angle"/>
                <a:extrusionClr>
                  <a:srgbClr val="B2B2B2"/>
                </a:extrusionClr>
              </a:sp3d>
              <a:extLst>
                <a:ext uri="{91240B29-F687-4F45-9708-019B960494DF}">
                  <a14:hiddenLine xmlns:a14="http://schemas.microsoft.com/office/drawing/2010/main" w="19050">
                    <a:noFill/>
                    <a:prstDash val="sysDot"/>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flatTx/>
              </a:bodyPr>
              <a:lstStyle/>
              <a:p>
                <a:endParaRPr lang="zh-CN" altLang="en-US"/>
              </a:p>
            </p:txBody>
          </p:sp>
          <p:grpSp>
            <p:nvGrpSpPr>
              <p:cNvPr id="10" name="Group 115"/>
              <p:cNvGrpSpPr/>
              <p:nvPr/>
            </p:nvGrpSpPr>
            <p:grpSpPr bwMode="auto">
              <a:xfrm>
                <a:off x="4468" y="1707"/>
                <a:ext cx="499" cy="363"/>
                <a:chOff x="793" y="1298"/>
                <a:chExt cx="1860" cy="1338"/>
              </a:xfrm>
            </p:grpSpPr>
            <p:sp>
              <p:nvSpPr>
                <p:cNvPr id="12" name="Oval 116"/>
                <p:cNvSpPr>
                  <a:spLocks noChangeArrowheads="1"/>
                </p:cNvSpPr>
                <p:nvPr/>
              </p:nvSpPr>
              <p:spPr bwMode="auto">
                <a:xfrm>
                  <a:off x="793" y="1298"/>
                  <a:ext cx="1860" cy="1338"/>
                </a:xfrm>
                <a:prstGeom prst="ellipse">
                  <a:avLst/>
                </a:prstGeom>
                <a:gradFill rotWithShape="1">
                  <a:gsLst>
                    <a:gs pos="0">
                      <a:srgbClr val="4D4D4D">
                        <a:gamma/>
                        <a:tint val="36471"/>
                        <a:invGamma/>
                      </a:srgbClr>
                    </a:gs>
                    <a:gs pos="100000">
                      <a:srgbClr val="4D4D4D"/>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rgbClr val="646464">
                            <a:alpha val="50000"/>
                          </a:srgbClr>
                        </a:outerShdw>
                      </a:effectLst>
                    </a14:hiddenEffects>
                  </a:ext>
                </a:extLst>
              </p:spPr>
              <p:txBody>
                <a:bodyPr wrap="none" anchor="ctr"/>
                <a:lstStyle/>
                <a:p>
                  <a:endParaRPr lang="zh-CN" altLang="en-US"/>
                </a:p>
              </p:txBody>
            </p:sp>
            <p:sp>
              <p:nvSpPr>
                <p:cNvPr id="13" name="Freeform 117"/>
                <p:cNvSpPr/>
                <p:nvPr/>
              </p:nvSpPr>
              <p:spPr bwMode="auto">
                <a:xfrm>
                  <a:off x="839" y="1321"/>
                  <a:ext cx="1769" cy="624"/>
                </a:xfrm>
                <a:custGeom>
                  <a:avLst/>
                  <a:gdLst>
                    <a:gd name="T0" fmla="*/ 0 w 3456"/>
                    <a:gd name="T1" fmla="*/ 1728 h 1728"/>
                    <a:gd name="T2" fmla="*/ 10 w 3456"/>
                    <a:gd name="T3" fmla="*/ 1552 h 1728"/>
                    <a:gd name="T4" fmla="*/ 36 w 3456"/>
                    <a:gd name="T5" fmla="*/ 1380 h 1728"/>
                    <a:gd name="T6" fmla="*/ 78 w 3456"/>
                    <a:gd name="T7" fmla="*/ 1214 h 1728"/>
                    <a:gd name="T8" fmla="*/ 136 w 3456"/>
                    <a:gd name="T9" fmla="*/ 1056 h 1728"/>
                    <a:gd name="T10" fmla="*/ 208 w 3456"/>
                    <a:gd name="T11" fmla="*/ 904 h 1728"/>
                    <a:gd name="T12" fmla="*/ 296 w 3456"/>
                    <a:gd name="T13" fmla="*/ 762 h 1728"/>
                    <a:gd name="T14" fmla="*/ 394 w 3456"/>
                    <a:gd name="T15" fmla="*/ 628 h 1728"/>
                    <a:gd name="T16" fmla="*/ 506 w 3456"/>
                    <a:gd name="T17" fmla="*/ 506 h 1728"/>
                    <a:gd name="T18" fmla="*/ 630 w 3456"/>
                    <a:gd name="T19" fmla="*/ 394 h 1728"/>
                    <a:gd name="T20" fmla="*/ 762 w 3456"/>
                    <a:gd name="T21" fmla="*/ 296 h 1728"/>
                    <a:gd name="T22" fmla="*/ 904 w 3456"/>
                    <a:gd name="T23" fmla="*/ 208 h 1728"/>
                    <a:gd name="T24" fmla="*/ 1056 w 3456"/>
                    <a:gd name="T25" fmla="*/ 136 h 1728"/>
                    <a:gd name="T26" fmla="*/ 1214 w 3456"/>
                    <a:gd name="T27" fmla="*/ 78 h 1728"/>
                    <a:gd name="T28" fmla="*/ 1380 w 3456"/>
                    <a:gd name="T29" fmla="*/ 36 h 1728"/>
                    <a:gd name="T30" fmla="*/ 1552 w 3456"/>
                    <a:gd name="T31" fmla="*/ 10 h 1728"/>
                    <a:gd name="T32" fmla="*/ 1728 w 3456"/>
                    <a:gd name="T33" fmla="*/ 0 h 1728"/>
                    <a:gd name="T34" fmla="*/ 1816 w 3456"/>
                    <a:gd name="T35" fmla="*/ 2 h 1728"/>
                    <a:gd name="T36" fmla="*/ 1992 w 3456"/>
                    <a:gd name="T37" fmla="*/ 20 h 1728"/>
                    <a:gd name="T38" fmla="*/ 2160 w 3456"/>
                    <a:gd name="T39" fmla="*/ 54 h 1728"/>
                    <a:gd name="T40" fmla="*/ 2322 w 3456"/>
                    <a:gd name="T41" fmla="*/ 106 h 1728"/>
                    <a:gd name="T42" fmla="*/ 2478 w 3456"/>
                    <a:gd name="T43" fmla="*/ 170 h 1728"/>
                    <a:gd name="T44" fmla="*/ 2624 w 3456"/>
                    <a:gd name="T45" fmla="*/ 250 h 1728"/>
                    <a:gd name="T46" fmla="*/ 2762 w 3456"/>
                    <a:gd name="T47" fmla="*/ 344 h 1728"/>
                    <a:gd name="T48" fmla="*/ 2890 w 3456"/>
                    <a:gd name="T49" fmla="*/ 448 h 1728"/>
                    <a:gd name="T50" fmla="*/ 3006 w 3456"/>
                    <a:gd name="T51" fmla="*/ 566 h 1728"/>
                    <a:gd name="T52" fmla="*/ 3112 w 3456"/>
                    <a:gd name="T53" fmla="*/ 694 h 1728"/>
                    <a:gd name="T54" fmla="*/ 3206 w 3456"/>
                    <a:gd name="T55" fmla="*/ 832 h 1728"/>
                    <a:gd name="T56" fmla="*/ 3286 w 3456"/>
                    <a:gd name="T57" fmla="*/ 978 h 1728"/>
                    <a:gd name="T58" fmla="*/ 3350 w 3456"/>
                    <a:gd name="T59" fmla="*/ 1134 h 1728"/>
                    <a:gd name="T60" fmla="*/ 3402 w 3456"/>
                    <a:gd name="T61" fmla="*/ 1296 h 1728"/>
                    <a:gd name="T62" fmla="*/ 3436 w 3456"/>
                    <a:gd name="T63" fmla="*/ 1464 h 1728"/>
                    <a:gd name="T64" fmla="*/ 3454 w 3456"/>
                    <a:gd name="T65" fmla="*/ 1638 h 1728"/>
                    <a:gd name="T66" fmla="*/ 0 w 3456"/>
                    <a:gd name="T67" fmla="*/ 172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1728">
                      <a:moveTo>
                        <a:pt x="0" y="1728"/>
                      </a:moveTo>
                      <a:lnTo>
                        <a:pt x="0" y="1728"/>
                      </a:lnTo>
                      <a:lnTo>
                        <a:pt x="2" y="1638"/>
                      </a:lnTo>
                      <a:lnTo>
                        <a:pt x="10" y="1552"/>
                      </a:lnTo>
                      <a:lnTo>
                        <a:pt x="20" y="1464"/>
                      </a:lnTo>
                      <a:lnTo>
                        <a:pt x="36" y="1380"/>
                      </a:lnTo>
                      <a:lnTo>
                        <a:pt x="54" y="1296"/>
                      </a:lnTo>
                      <a:lnTo>
                        <a:pt x="78" y="1214"/>
                      </a:lnTo>
                      <a:lnTo>
                        <a:pt x="106" y="1134"/>
                      </a:lnTo>
                      <a:lnTo>
                        <a:pt x="136" y="1056"/>
                      </a:lnTo>
                      <a:lnTo>
                        <a:pt x="170" y="978"/>
                      </a:lnTo>
                      <a:lnTo>
                        <a:pt x="208" y="904"/>
                      </a:lnTo>
                      <a:lnTo>
                        <a:pt x="250" y="832"/>
                      </a:lnTo>
                      <a:lnTo>
                        <a:pt x="296" y="762"/>
                      </a:lnTo>
                      <a:lnTo>
                        <a:pt x="344" y="694"/>
                      </a:lnTo>
                      <a:lnTo>
                        <a:pt x="394" y="628"/>
                      </a:lnTo>
                      <a:lnTo>
                        <a:pt x="450" y="566"/>
                      </a:lnTo>
                      <a:lnTo>
                        <a:pt x="506" y="506"/>
                      </a:lnTo>
                      <a:lnTo>
                        <a:pt x="566" y="448"/>
                      </a:lnTo>
                      <a:lnTo>
                        <a:pt x="630" y="394"/>
                      </a:lnTo>
                      <a:lnTo>
                        <a:pt x="694" y="344"/>
                      </a:lnTo>
                      <a:lnTo>
                        <a:pt x="762" y="296"/>
                      </a:lnTo>
                      <a:lnTo>
                        <a:pt x="832" y="250"/>
                      </a:lnTo>
                      <a:lnTo>
                        <a:pt x="904" y="208"/>
                      </a:lnTo>
                      <a:lnTo>
                        <a:pt x="978" y="170"/>
                      </a:lnTo>
                      <a:lnTo>
                        <a:pt x="1056" y="136"/>
                      </a:lnTo>
                      <a:lnTo>
                        <a:pt x="1134" y="106"/>
                      </a:lnTo>
                      <a:lnTo>
                        <a:pt x="1214" y="78"/>
                      </a:lnTo>
                      <a:lnTo>
                        <a:pt x="1296" y="54"/>
                      </a:lnTo>
                      <a:lnTo>
                        <a:pt x="1380" y="36"/>
                      </a:lnTo>
                      <a:lnTo>
                        <a:pt x="1464" y="20"/>
                      </a:lnTo>
                      <a:lnTo>
                        <a:pt x="1552" y="10"/>
                      </a:lnTo>
                      <a:lnTo>
                        <a:pt x="1640" y="2"/>
                      </a:lnTo>
                      <a:lnTo>
                        <a:pt x="1728" y="0"/>
                      </a:lnTo>
                      <a:lnTo>
                        <a:pt x="1728" y="0"/>
                      </a:lnTo>
                      <a:lnTo>
                        <a:pt x="1816" y="2"/>
                      </a:lnTo>
                      <a:lnTo>
                        <a:pt x="1904" y="10"/>
                      </a:lnTo>
                      <a:lnTo>
                        <a:pt x="1992" y="20"/>
                      </a:lnTo>
                      <a:lnTo>
                        <a:pt x="2076" y="36"/>
                      </a:lnTo>
                      <a:lnTo>
                        <a:pt x="2160" y="54"/>
                      </a:lnTo>
                      <a:lnTo>
                        <a:pt x="2242" y="78"/>
                      </a:lnTo>
                      <a:lnTo>
                        <a:pt x="2322" y="106"/>
                      </a:lnTo>
                      <a:lnTo>
                        <a:pt x="2400" y="136"/>
                      </a:lnTo>
                      <a:lnTo>
                        <a:pt x="2478" y="170"/>
                      </a:lnTo>
                      <a:lnTo>
                        <a:pt x="2552" y="208"/>
                      </a:lnTo>
                      <a:lnTo>
                        <a:pt x="2624" y="250"/>
                      </a:lnTo>
                      <a:lnTo>
                        <a:pt x="2694" y="296"/>
                      </a:lnTo>
                      <a:lnTo>
                        <a:pt x="2762" y="344"/>
                      </a:lnTo>
                      <a:lnTo>
                        <a:pt x="2826" y="394"/>
                      </a:lnTo>
                      <a:lnTo>
                        <a:pt x="2890" y="448"/>
                      </a:lnTo>
                      <a:lnTo>
                        <a:pt x="2950" y="506"/>
                      </a:lnTo>
                      <a:lnTo>
                        <a:pt x="3006" y="566"/>
                      </a:lnTo>
                      <a:lnTo>
                        <a:pt x="3062" y="628"/>
                      </a:lnTo>
                      <a:lnTo>
                        <a:pt x="3112" y="694"/>
                      </a:lnTo>
                      <a:lnTo>
                        <a:pt x="3160" y="762"/>
                      </a:lnTo>
                      <a:lnTo>
                        <a:pt x="3206" y="832"/>
                      </a:lnTo>
                      <a:lnTo>
                        <a:pt x="3248" y="904"/>
                      </a:lnTo>
                      <a:lnTo>
                        <a:pt x="3286" y="978"/>
                      </a:lnTo>
                      <a:lnTo>
                        <a:pt x="3320" y="1056"/>
                      </a:lnTo>
                      <a:lnTo>
                        <a:pt x="3350" y="1134"/>
                      </a:lnTo>
                      <a:lnTo>
                        <a:pt x="3378" y="1214"/>
                      </a:lnTo>
                      <a:lnTo>
                        <a:pt x="3402" y="1296"/>
                      </a:lnTo>
                      <a:lnTo>
                        <a:pt x="3420" y="1380"/>
                      </a:lnTo>
                      <a:lnTo>
                        <a:pt x="3436" y="1464"/>
                      </a:lnTo>
                      <a:lnTo>
                        <a:pt x="3446" y="1552"/>
                      </a:lnTo>
                      <a:lnTo>
                        <a:pt x="3454" y="1638"/>
                      </a:lnTo>
                      <a:lnTo>
                        <a:pt x="3456" y="1728"/>
                      </a:lnTo>
                      <a:lnTo>
                        <a:pt x="0" y="1728"/>
                      </a:lnTo>
                      <a:close/>
                    </a:path>
                  </a:pathLst>
                </a:custGeom>
                <a:gradFill rotWithShape="1">
                  <a:gsLst>
                    <a:gs pos="0">
                      <a:srgbClr val="FFFFFF">
                        <a:alpha val="50000"/>
                      </a:srgbClr>
                    </a:gs>
                    <a:gs pos="100000">
                      <a:srgbClr val="FFFFFF">
                        <a:gamma/>
                        <a:shade val="46275"/>
                        <a:invGamma/>
                        <a:alpha val="0"/>
                      </a:srgbClr>
                    </a:gs>
                  </a:gsLst>
                  <a:lin ang="5400000" scaled="1"/>
                </a:gradFill>
                <a:ln>
                  <a:noFill/>
                </a:ln>
                <a:effectLst/>
                <a:extLst>
                  <a:ext uri="{91240B29-F687-4F45-9708-019B960494DF}">
                    <a14:hiddenLine xmlns:a14="http://schemas.microsoft.com/office/drawing/2010/main" w="12700">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sp>
          <p:nvSpPr>
            <p:cNvPr id="27" name="Text Box 111"/>
            <p:cNvSpPr txBox="1">
              <a:spLocks noChangeArrowheads="1"/>
            </p:cNvSpPr>
            <p:nvPr/>
          </p:nvSpPr>
          <p:spPr bwMode="auto">
            <a:xfrm>
              <a:off x="3457068" y="2852762"/>
              <a:ext cx="287972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3"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750" fill="hold"/>
                                        <p:tgtEl>
                                          <p:spTgt spid="6"/>
                                        </p:tgtEl>
                                        <p:attrNameLst>
                                          <p:attrName>ppt_x</p:attrName>
                                        </p:attrNameLst>
                                      </p:cBhvr>
                                      <p:tavLst>
                                        <p:tav tm="0">
                                          <p:val>
                                            <p:strVal val="1+#ppt_w/2"/>
                                          </p:val>
                                        </p:tav>
                                        <p:tav tm="100000">
                                          <p:val>
                                            <p:strVal val="#ppt_x"/>
                                          </p:val>
                                        </p:tav>
                                      </p:tavLst>
                                    </p:anim>
                                    <p:anim calcmode="lin" valueType="num">
                                      <p:cBhvr additive="base">
                                        <p:cTn id="13" dur="750" fill="hold"/>
                                        <p:tgtEl>
                                          <p:spTgt spid="6"/>
                                        </p:tgtEl>
                                        <p:attrNameLst>
                                          <p:attrName>ppt_y</p:attrName>
                                        </p:attrNameLst>
                                      </p:cBhvr>
                                      <p:tavLst>
                                        <p:tav tm="0">
                                          <p:val>
                                            <p:strVal val="0-#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750" fill="hold"/>
                                        <p:tgtEl>
                                          <p:spTgt spid="7"/>
                                        </p:tgtEl>
                                        <p:attrNameLst>
                                          <p:attrName>ppt_x</p:attrName>
                                        </p:attrNameLst>
                                      </p:cBhvr>
                                      <p:tavLst>
                                        <p:tav tm="0">
                                          <p:val>
                                            <p:strVal val="#ppt_x"/>
                                          </p:val>
                                        </p:tav>
                                        <p:tav tm="100000">
                                          <p:val>
                                            <p:strVal val="#ppt_x"/>
                                          </p:val>
                                        </p:tav>
                                      </p:tavLst>
                                    </p:anim>
                                    <p:anim calcmode="lin" valueType="num">
                                      <p:cBhvr additive="base">
                                        <p:cTn id="18" dur="750" fill="hold"/>
                                        <p:tgtEl>
                                          <p:spTgt spid="7"/>
                                        </p:tgtEl>
                                        <p:attrNameLst>
                                          <p:attrName>ppt_y</p:attrName>
                                        </p:attrNameLst>
                                      </p:cBhvr>
                                      <p:tavLst>
                                        <p:tav tm="0">
                                          <p:val>
                                            <p:strVal val="1+#ppt_h/2"/>
                                          </p:val>
                                        </p:tav>
                                        <p:tav tm="100000">
                                          <p:val>
                                            <p:strVal val="#ppt_y"/>
                                          </p:val>
                                        </p:tav>
                                      </p:tavLst>
                                    </p:anim>
                                  </p:childTnLst>
                                </p:cTn>
                              </p:par>
                            </p:childTnLst>
                          </p:cTn>
                        </p:par>
                        <p:par>
                          <p:cTn id="19" fill="hold">
                            <p:stCondLst>
                              <p:cond delay="3000"/>
                            </p:stCondLst>
                            <p:childTnLst>
                              <p:par>
                                <p:cTn id="20" presetID="42" presetClass="entr" presetSubtype="0" fill="hold" grpId="0" nodeType="after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anim calcmode="lin" valueType="num">
                                      <p:cBhvr>
                                        <p:cTn id="23" dur="500" fill="hold"/>
                                        <p:tgtEl>
                                          <p:spTgt spid="28"/>
                                        </p:tgtEl>
                                        <p:attrNameLst>
                                          <p:attrName>ppt_x</p:attrName>
                                        </p:attrNameLst>
                                      </p:cBhvr>
                                      <p:tavLst>
                                        <p:tav tm="0">
                                          <p:val>
                                            <p:strVal val="#ppt_x"/>
                                          </p:val>
                                        </p:tav>
                                        <p:tav tm="100000">
                                          <p:val>
                                            <p:strVal val="#ppt_x"/>
                                          </p:val>
                                        </p:tav>
                                      </p:tavLst>
                                    </p:anim>
                                    <p:anim calcmode="lin" valueType="num">
                                      <p:cBhvr>
                                        <p:cTn id="24" dur="500" fill="hold"/>
                                        <p:tgtEl>
                                          <p:spTgt spid="28"/>
                                        </p:tgtEl>
                                        <p:attrNameLst>
                                          <p:attrName>ppt_y</p:attrName>
                                        </p:attrNameLst>
                                      </p:cBhvr>
                                      <p:tavLst>
                                        <p:tav tm="0">
                                          <p:val>
                                            <p:strVal val="#ppt_y+.1"/>
                                          </p:val>
                                        </p:tav>
                                        <p:tav tm="100000">
                                          <p:val>
                                            <p:strVal val="#ppt_y"/>
                                          </p:val>
                                        </p:tav>
                                      </p:tavLst>
                                    </p:anim>
                                  </p:childTnLst>
                                </p:cTn>
                              </p:par>
                            </p:childTnLst>
                          </p:cTn>
                        </p:par>
                        <p:par>
                          <p:cTn id="25" fill="hold">
                            <p:stCondLst>
                              <p:cond delay="3500"/>
                            </p:stCondLst>
                            <p:childTnLst>
                              <p:par>
                                <p:cTn id="26" presetID="42" presetClass="entr" presetSubtype="0" fill="hold" grpId="0"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anim calcmode="lin" valueType="num">
                                      <p:cBhvr>
                                        <p:cTn id="29" dur="500" fill="hold"/>
                                        <p:tgtEl>
                                          <p:spTgt spid="29"/>
                                        </p:tgtEl>
                                        <p:attrNameLst>
                                          <p:attrName>ppt_x</p:attrName>
                                        </p:attrNameLst>
                                      </p:cBhvr>
                                      <p:tavLst>
                                        <p:tav tm="0">
                                          <p:val>
                                            <p:strVal val="#ppt_x"/>
                                          </p:val>
                                        </p:tav>
                                        <p:tav tm="100000">
                                          <p:val>
                                            <p:strVal val="#ppt_x"/>
                                          </p:val>
                                        </p:tav>
                                      </p:tavLst>
                                    </p:anim>
                                    <p:anim calcmode="lin" valueType="num">
                                      <p:cBhvr>
                                        <p:cTn id="30" dur="500" fill="hold"/>
                                        <p:tgtEl>
                                          <p:spTgt spid="29"/>
                                        </p:tgtEl>
                                        <p:attrNameLst>
                                          <p:attrName>ppt_y</p:attrName>
                                        </p:attrNameLst>
                                      </p:cBhvr>
                                      <p:tavLst>
                                        <p:tav tm="0">
                                          <p:val>
                                            <p:strVal val="#ppt_y+.1"/>
                                          </p:val>
                                        </p:tav>
                                        <p:tav tm="100000">
                                          <p:val>
                                            <p:strVal val="#ppt_y"/>
                                          </p:val>
                                        </p:tav>
                                      </p:tavLst>
                                    </p:anim>
                                  </p:childTnLst>
                                </p:cTn>
                              </p:par>
                            </p:childTnLst>
                          </p:cTn>
                        </p:par>
                        <p:par>
                          <p:cTn id="31" fill="hold">
                            <p:stCondLst>
                              <p:cond delay="4000"/>
                            </p:stCondLst>
                            <p:childTnLst>
                              <p:par>
                                <p:cTn id="32" presetID="42"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anim calcmode="lin" valueType="num">
                                      <p:cBhvr>
                                        <p:cTn id="35" dur="500" fill="hold"/>
                                        <p:tgtEl>
                                          <p:spTgt spid="30"/>
                                        </p:tgtEl>
                                        <p:attrNameLst>
                                          <p:attrName>ppt_x</p:attrName>
                                        </p:attrNameLst>
                                      </p:cBhvr>
                                      <p:tavLst>
                                        <p:tav tm="0">
                                          <p:val>
                                            <p:strVal val="#ppt_x"/>
                                          </p:val>
                                        </p:tav>
                                        <p:tav tm="100000">
                                          <p:val>
                                            <p:strVal val="#ppt_x"/>
                                          </p:val>
                                        </p:tav>
                                      </p:tavLst>
                                    </p:anim>
                                    <p:anim calcmode="lin" valueType="num">
                                      <p:cBhvr>
                                        <p:cTn id="36" dur="5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07504" y="1850008"/>
            <a:ext cx="8210203" cy="936625"/>
            <a:chOff x="0" y="1850008"/>
            <a:chExt cx="8317706" cy="936625"/>
          </a:xfrm>
        </p:grpSpPr>
        <p:sp>
          <p:nvSpPr>
            <p:cNvPr id="3" name="AutoShape 3"/>
            <p:cNvSpPr>
              <a:spLocks noChangeArrowheads="1"/>
            </p:cNvSpPr>
            <p:nvPr/>
          </p:nvSpPr>
          <p:spPr bwMode="auto">
            <a:xfrm rot="5400000">
              <a:off x="7507287" y="1976214"/>
              <a:ext cx="936625" cy="684213"/>
            </a:xfrm>
            <a:prstGeom prst="triangle">
              <a:avLst>
                <a:gd name="adj" fmla="val 50000"/>
              </a:avLst>
            </a:prstGeom>
            <a:solidFill>
              <a:srgbClr val="03A550"/>
            </a:solidFill>
            <a:ln>
              <a:noFill/>
            </a:ln>
            <a:effectLst/>
            <a:scene3d>
              <a:camera prst="legacyObliqueTop"/>
              <a:lightRig rig="legacyFlat2" dir="b"/>
            </a:scene3d>
            <a:sp3d extrusionH="201600" prstMaterial="legacyMatte">
              <a:bevelT w="13500" h="13500" prst="angle"/>
              <a:bevelB w="13500" h="13500" prst="angle"/>
              <a:extrusionClr>
                <a:schemeClr val="bg2">
                  <a:lumMod val="75000"/>
                </a:schemeClr>
              </a:extrusionClr>
            </a:sp3d>
            <a:extLst>
              <a:ext uri="{91240B29-F687-4F45-9708-019B960494DF}">
                <a14:hiddenLine xmlns:a14="http://schemas.microsoft.com/office/drawing/2010/main" w="9525">
                  <a:no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zh-CN" altLang="en-US"/>
            </a:p>
          </p:txBody>
        </p:sp>
        <p:sp>
          <p:nvSpPr>
            <p:cNvPr id="4" name="Rectangle 4"/>
            <p:cNvSpPr>
              <a:spLocks noChangeArrowheads="1"/>
            </p:cNvSpPr>
            <p:nvPr/>
          </p:nvSpPr>
          <p:spPr bwMode="auto">
            <a:xfrm>
              <a:off x="0" y="1993676"/>
              <a:ext cx="7632700" cy="649288"/>
            </a:xfrm>
            <a:prstGeom prst="rect">
              <a:avLst/>
            </a:prstGeom>
            <a:gradFill rotWithShape="1">
              <a:gsLst>
                <a:gs pos="0">
                  <a:schemeClr val="bg1">
                    <a:lumMod val="95000"/>
                  </a:schemeClr>
                </a:gs>
                <a:gs pos="100000">
                  <a:srgbClr val="03A550"/>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 name="Rectangle 5"/>
            <p:cNvSpPr>
              <a:spLocks noChangeArrowheads="1"/>
            </p:cNvSpPr>
            <p:nvPr/>
          </p:nvSpPr>
          <p:spPr bwMode="auto">
            <a:xfrm>
              <a:off x="0" y="1850801"/>
              <a:ext cx="7632700" cy="142875"/>
            </a:xfrm>
            <a:prstGeom prst="rect">
              <a:avLst/>
            </a:prstGeom>
            <a:gradFill rotWithShape="1">
              <a:gsLst>
                <a:gs pos="0">
                  <a:schemeClr val="tx1">
                    <a:lumMod val="95000"/>
                  </a:schemeClr>
                </a:gs>
                <a:gs pos="100000">
                  <a:schemeClr val="bg2">
                    <a:lumMod val="7500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
        <p:nvSpPr>
          <p:cNvPr id="7" name="WordArt 7"/>
          <p:cNvSpPr>
            <a:spLocks noChangeArrowheads="1" noChangeShapeType="1" noTextEdit="1"/>
          </p:cNvSpPr>
          <p:nvPr/>
        </p:nvSpPr>
        <p:spPr bwMode="auto">
          <a:xfrm>
            <a:off x="1619250" y="2207989"/>
            <a:ext cx="792163" cy="21907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a:solidFill>
                  <a:schemeClr val="bg1"/>
                </a:solidFill>
                <a:latin typeface="Arial Black" panose="020B0A04020102020204"/>
              </a:rPr>
              <a:t>1980</a:t>
            </a:r>
            <a:endParaRPr lang="zh-CN" altLang="en-US" kern="10" spc="-45" dirty="0">
              <a:solidFill>
                <a:schemeClr val="bg1"/>
              </a:solidFill>
              <a:latin typeface="Arial Black" panose="020B0A04020102020204"/>
            </a:endParaRPr>
          </a:p>
        </p:txBody>
      </p:sp>
      <p:sp>
        <p:nvSpPr>
          <p:cNvPr id="8" name="WordArt 8"/>
          <p:cNvSpPr>
            <a:spLocks noChangeArrowheads="1" noChangeShapeType="1" noTextEdit="1"/>
          </p:cNvSpPr>
          <p:nvPr/>
        </p:nvSpPr>
        <p:spPr bwMode="auto">
          <a:xfrm>
            <a:off x="2771775" y="2207989"/>
            <a:ext cx="792163" cy="21907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dirty="0">
                <a:solidFill>
                  <a:schemeClr val="bg1"/>
                </a:solidFill>
                <a:latin typeface="Arial Black" panose="020B0A04020102020204"/>
              </a:rPr>
              <a:t>1990</a:t>
            </a:r>
            <a:endParaRPr lang="zh-CN" altLang="en-US" kern="10" spc="-45" dirty="0">
              <a:solidFill>
                <a:schemeClr val="bg1"/>
              </a:solidFill>
              <a:latin typeface="Arial Black" panose="020B0A04020102020204"/>
            </a:endParaRPr>
          </a:p>
        </p:txBody>
      </p:sp>
      <p:sp>
        <p:nvSpPr>
          <p:cNvPr id="9" name="WordArt 9"/>
          <p:cNvSpPr>
            <a:spLocks noChangeArrowheads="1" noChangeShapeType="1" noTextEdit="1"/>
          </p:cNvSpPr>
          <p:nvPr/>
        </p:nvSpPr>
        <p:spPr bwMode="auto">
          <a:xfrm>
            <a:off x="3924300" y="2207989"/>
            <a:ext cx="792163" cy="21907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dirty="0">
                <a:solidFill>
                  <a:schemeClr val="bg1"/>
                </a:solidFill>
                <a:latin typeface="Arial Black" panose="020B0A04020102020204"/>
              </a:rPr>
              <a:t>2000</a:t>
            </a:r>
            <a:endParaRPr lang="zh-CN" altLang="en-US" kern="10" spc="-45" dirty="0">
              <a:solidFill>
                <a:schemeClr val="bg1"/>
              </a:solidFill>
              <a:latin typeface="Arial Black" panose="020B0A04020102020204"/>
            </a:endParaRPr>
          </a:p>
        </p:txBody>
      </p:sp>
      <p:sp>
        <p:nvSpPr>
          <p:cNvPr id="10" name="WordArt 10"/>
          <p:cNvSpPr>
            <a:spLocks noChangeArrowheads="1" noChangeShapeType="1" noTextEdit="1"/>
          </p:cNvSpPr>
          <p:nvPr/>
        </p:nvSpPr>
        <p:spPr bwMode="auto">
          <a:xfrm>
            <a:off x="5075238" y="2207989"/>
            <a:ext cx="792163" cy="21907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dirty="0">
                <a:solidFill>
                  <a:schemeClr val="bg1"/>
                </a:solidFill>
                <a:latin typeface="Arial Black" panose="020B0A04020102020204"/>
              </a:rPr>
              <a:t>2010</a:t>
            </a:r>
            <a:endParaRPr lang="zh-CN" altLang="en-US" kern="10" spc="-45" dirty="0">
              <a:solidFill>
                <a:schemeClr val="bg1"/>
              </a:solidFill>
              <a:latin typeface="Arial Black" panose="020B0A04020102020204"/>
            </a:endParaRPr>
          </a:p>
        </p:txBody>
      </p:sp>
      <p:sp>
        <p:nvSpPr>
          <p:cNvPr id="11" name="WordArt 11"/>
          <p:cNvSpPr>
            <a:spLocks noChangeArrowheads="1" noChangeShapeType="1" noTextEdit="1"/>
          </p:cNvSpPr>
          <p:nvPr/>
        </p:nvSpPr>
        <p:spPr bwMode="auto">
          <a:xfrm>
            <a:off x="6227763" y="2207989"/>
            <a:ext cx="792163" cy="219075"/>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a:solidFill>
                  <a:schemeClr val="bg1"/>
                </a:solidFill>
                <a:latin typeface="Arial Black" panose="020B0A04020102020204"/>
              </a:rPr>
              <a:t>2020</a:t>
            </a:r>
            <a:endParaRPr lang="zh-CN" altLang="en-US" kern="10" spc="-45">
              <a:solidFill>
                <a:schemeClr val="bg1"/>
              </a:solidFill>
              <a:latin typeface="Arial Black" panose="020B0A04020102020204"/>
            </a:endParaRPr>
          </a:p>
        </p:txBody>
      </p:sp>
      <p:sp>
        <p:nvSpPr>
          <p:cNvPr id="12" name="Line 12"/>
          <p:cNvSpPr>
            <a:spLocks noChangeShapeType="1"/>
          </p:cNvSpPr>
          <p:nvPr/>
        </p:nvSpPr>
        <p:spPr bwMode="auto">
          <a:xfrm flipH="1" flipV="1">
            <a:off x="2015331" y="1020092"/>
            <a:ext cx="794" cy="975171"/>
          </a:xfrm>
          <a:prstGeom prst="line">
            <a:avLst/>
          </a:prstGeom>
          <a:noFill/>
          <a:ln w="19050" cap="rnd">
            <a:solidFill>
              <a:srgbClr val="333333"/>
            </a:solidFill>
            <a:prstDash val="sysDot"/>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13" name="Line 13"/>
          <p:cNvSpPr>
            <a:spLocks noChangeShapeType="1"/>
          </p:cNvSpPr>
          <p:nvPr/>
        </p:nvSpPr>
        <p:spPr bwMode="auto">
          <a:xfrm flipV="1">
            <a:off x="4319587" y="1020091"/>
            <a:ext cx="793" cy="975172"/>
          </a:xfrm>
          <a:prstGeom prst="line">
            <a:avLst/>
          </a:prstGeom>
          <a:noFill/>
          <a:ln w="19050" cap="rnd">
            <a:solidFill>
              <a:srgbClr val="333333"/>
            </a:solidFill>
            <a:prstDash val="sysDot"/>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14" name="Line 14"/>
          <p:cNvSpPr>
            <a:spLocks noChangeShapeType="1"/>
          </p:cNvSpPr>
          <p:nvPr/>
        </p:nvSpPr>
        <p:spPr bwMode="auto">
          <a:xfrm flipV="1">
            <a:off x="6624637" y="1020092"/>
            <a:ext cx="34925" cy="975171"/>
          </a:xfrm>
          <a:prstGeom prst="line">
            <a:avLst/>
          </a:prstGeom>
          <a:noFill/>
          <a:ln w="19050" cap="rnd">
            <a:solidFill>
              <a:srgbClr val="333333"/>
            </a:solidFill>
            <a:prstDash val="sysDot"/>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15" name="Line 15"/>
          <p:cNvSpPr>
            <a:spLocks noChangeShapeType="1"/>
          </p:cNvSpPr>
          <p:nvPr/>
        </p:nvSpPr>
        <p:spPr bwMode="auto">
          <a:xfrm flipV="1">
            <a:off x="5472113" y="2642964"/>
            <a:ext cx="0" cy="900112"/>
          </a:xfrm>
          <a:prstGeom prst="line">
            <a:avLst/>
          </a:prstGeom>
          <a:noFill/>
          <a:ln w="19050" cap="rnd">
            <a:solidFill>
              <a:srgbClr val="333333"/>
            </a:solidFill>
            <a:prstDash val="sysDot"/>
            <a:rou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16" name="AutoShape 16"/>
          <p:cNvSpPr>
            <a:spLocks noChangeArrowheads="1"/>
          </p:cNvSpPr>
          <p:nvPr/>
        </p:nvSpPr>
        <p:spPr bwMode="auto">
          <a:xfrm>
            <a:off x="539750" y="2931641"/>
            <a:ext cx="2376488" cy="1584325"/>
          </a:xfrm>
          <a:prstGeom prst="roundRect">
            <a:avLst>
              <a:gd name="adj" fmla="val 5528"/>
            </a:avLst>
          </a:prstGeom>
          <a:solidFill>
            <a:schemeClr val="tx1">
              <a:alpha val="10001"/>
            </a:schemeClr>
          </a:solidFill>
          <a:ln w="19050" cap="rnd" algn="ctr">
            <a:solidFill>
              <a:srgbClr val="808080"/>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2" name="WordArt 22"/>
          <p:cNvSpPr>
            <a:spLocks noChangeArrowheads="1" noChangeShapeType="1" noTextEdit="1"/>
          </p:cNvSpPr>
          <p:nvPr/>
        </p:nvSpPr>
        <p:spPr bwMode="auto">
          <a:xfrm>
            <a:off x="719138" y="3038251"/>
            <a:ext cx="504825" cy="144463"/>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a:solidFill>
                  <a:schemeClr val="bg1"/>
                </a:solidFill>
                <a:latin typeface="Arial Black" panose="020B0A04020102020204"/>
              </a:rPr>
              <a:t>1980</a:t>
            </a:r>
            <a:endParaRPr lang="zh-CN" altLang="en-US" kern="10" spc="-45">
              <a:solidFill>
                <a:schemeClr val="bg1"/>
              </a:solidFill>
              <a:latin typeface="Arial Black" panose="020B0A04020102020204"/>
            </a:endParaRPr>
          </a:p>
        </p:txBody>
      </p:sp>
      <p:sp>
        <p:nvSpPr>
          <p:cNvPr id="23" name="WordArt 23"/>
          <p:cNvSpPr>
            <a:spLocks noChangeArrowheads="1" noChangeShapeType="1" noTextEdit="1"/>
          </p:cNvSpPr>
          <p:nvPr/>
        </p:nvSpPr>
        <p:spPr bwMode="auto">
          <a:xfrm>
            <a:off x="719138" y="3290664"/>
            <a:ext cx="504825" cy="144463"/>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a:solidFill>
                  <a:schemeClr val="bg1"/>
                </a:solidFill>
                <a:latin typeface="Arial Black" panose="020B0A04020102020204"/>
              </a:rPr>
              <a:t>1990</a:t>
            </a:r>
            <a:endParaRPr lang="zh-CN" altLang="en-US" kern="10" spc="-45">
              <a:solidFill>
                <a:schemeClr val="bg1"/>
              </a:solidFill>
              <a:latin typeface="Arial Black" panose="020B0A04020102020204"/>
            </a:endParaRPr>
          </a:p>
        </p:txBody>
      </p:sp>
      <p:sp>
        <p:nvSpPr>
          <p:cNvPr id="24" name="WordArt 24"/>
          <p:cNvSpPr>
            <a:spLocks noChangeArrowheads="1" noChangeShapeType="1" noTextEdit="1"/>
          </p:cNvSpPr>
          <p:nvPr/>
        </p:nvSpPr>
        <p:spPr bwMode="auto">
          <a:xfrm>
            <a:off x="719138" y="3543076"/>
            <a:ext cx="504825" cy="144463"/>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a:solidFill>
                  <a:schemeClr val="bg1"/>
                </a:solidFill>
                <a:latin typeface="Arial Black" panose="020B0A04020102020204"/>
              </a:rPr>
              <a:t>2000</a:t>
            </a:r>
            <a:endParaRPr lang="zh-CN" altLang="en-US" kern="10" spc="-45">
              <a:solidFill>
                <a:schemeClr val="bg1"/>
              </a:solidFill>
              <a:latin typeface="Arial Black" panose="020B0A04020102020204"/>
            </a:endParaRPr>
          </a:p>
        </p:txBody>
      </p:sp>
      <p:sp>
        <p:nvSpPr>
          <p:cNvPr id="25" name="WordArt 25"/>
          <p:cNvSpPr>
            <a:spLocks noChangeArrowheads="1" noChangeShapeType="1" noTextEdit="1"/>
          </p:cNvSpPr>
          <p:nvPr/>
        </p:nvSpPr>
        <p:spPr bwMode="auto">
          <a:xfrm>
            <a:off x="719138" y="3795489"/>
            <a:ext cx="504825" cy="144463"/>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kern="10" spc="-45">
                <a:solidFill>
                  <a:schemeClr val="bg1"/>
                </a:solidFill>
                <a:latin typeface="Arial Black" panose="020B0A04020102020204"/>
              </a:rPr>
              <a:t>2010</a:t>
            </a:r>
            <a:endParaRPr lang="zh-CN" altLang="en-US" kern="10" spc="-45">
              <a:solidFill>
                <a:schemeClr val="bg1"/>
              </a:solidFill>
              <a:latin typeface="Arial Black" panose="020B0A04020102020204"/>
            </a:endParaRPr>
          </a:p>
        </p:txBody>
      </p:sp>
      <p:sp>
        <p:nvSpPr>
          <p:cNvPr id="26" name="WordArt 26"/>
          <p:cNvSpPr>
            <a:spLocks noChangeArrowheads="1" noChangeShapeType="1" noTextEdit="1"/>
          </p:cNvSpPr>
          <p:nvPr/>
        </p:nvSpPr>
        <p:spPr bwMode="auto">
          <a:xfrm>
            <a:off x="755576" y="3147367"/>
            <a:ext cx="792857" cy="215528"/>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sz="3200" kern="10" spc="-45" dirty="0">
                <a:solidFill>
                  <a:schemeClr val="bg2"/>
                </a:solidFill>
                <a:latin typeface="Arial Black" panose="020B0A04020102020204"/>
              </a:rPr>
              <a:t>2020</a:t>
            </a:r>
            <a:endParaRPr lang="zh-CN" altLang="en-US" sz="3200" kern="10" spc="-45" dirty="0">
              <a:solidFill>
                <a:schemeClr val="bg2"/>
              </a:solidFill>
              <a:latin typeface="Arial Black" panose="020B0A04020102020204"/>
            </a:endParaRPr>
          </a:p>
        </p:txBody>
      </p:sp>
      <p:sp>
        <p:nvSpPr>
          <p:cNvPr id="28" name="Oval 28"/>
          <p:cNvSpPr>
            <a:spLocks noChangeArrowheads="1"/>
          </p:cNvSpPr>
          <p:nvPr/>
        </p:nvSpPr>
        <p:spPr bwMode="auto">
          <a:xfrm>
            <a:off x="935038" y="4336826"/>
            <a:ext cx="71438" cy="71438"/>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9" name="Oval 29"/>
          <p:cNvSpPr>
            <a:spLocks noChangeArrowheads="1"/>
          </p:cNvSpPr>
          <p:nvPr/>
        </p:nvSpPr>
        <p:spPr bwMode="auto">
          <a:xfrm>
            <a:off x="935038" y="4479701"/>
            <a:ext cx="71438" cy="71438"/>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0" name="Oval 30"/>
          <p:cNvSpPr>
            <a:spLocks noChangeArrowheads="1"/>
          </p:cNvSpPr>
          <p:nvPr/>
        </p:nvSpPr>
        <p:spPr bwMode="auto">
          <a:xfrm>
            <a:off x="935038" y="4624164"/>
            <a:ext cx="71438" cy="71438"/>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1" name="Line 31"/>
          <p:cNvSpPr>
            <a:spLocks noChangeShapeType="1"/>
          </p:cNvSpPr>
          <p:nvPr/>
        </p:nvSpPr>
        <p:spPr bwMode="auto">
          <a:xfrm flipV="1">
            <a:off x="3167063" y="2642964"/>
            <a:ext cx="0" cy="900112"/>
          </a:xfrm>
          <a:prstGeom prst="line">
            <a:avLst/>
          </a:prstGeom>
          <a:noFill/>
          <a:ln w="19050" cap="rnd">
            <a:solidFill>
              <a:srgbClr val="333333"/>
            </a:solidFill>
            <a:prstDash val="sysDot"/>
            <a:rou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sp>
        <p:nvSpPr>
          <p:cNvPr id="33" name="Text Box 45"/>
          <p:cNvSpPr txBox="1">
            <a:spLocks noChangeArrowheads="1"/>
          </p:cNvSpPr>
          <p:nvPr/>
        </p:nvSpPr>
        <p:spPr bwMode="auto">
          <a:xfrm>
            <a:off x="3311364" y="2911212"/>
            <a:ext cx="2016448" cy="61555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2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4" name="Text Box 45"/>
          <p:cNvSpPr txBox="1">
            <a:spLocks noChangeArrowheads="1"/>
          </p:cNvSpPr>
          <p:nvPr/>
        </p:nvSpPr>
        <p:spPr bwMode="auto">
          <a:xfrm>
            <a:off x="2123728" y="1020093"/>
            <a:ext cx="2016448" cy="61555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2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5" name="Text Box 45"/>
          <p:cNvSpPr txBox="1">
            <a:spLocks noChangeArrowheads="1"/>
          </p:cNvSpPr>
          <p:nvPr/>
        </p:nvSpPr>
        <p:spPr bwMode="auto">
          <a:xfrm>
            <a:off x="4463095" y="1049584"/>
            <a:ext cx="2016448" cy="61555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2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6" name="Text Box 45"/>
          <p:cNvSpPr txBox="1">
            <a:spLocks noChangeArrowheads="1"/>
          </p:cNvSpPr>
          <p:nvPr/>
        </p:nvSpPr>
        <p:spPr bwMode="auto">
          <a:xfrm>
            <a:off x="5655121" y="2911212"/>
            <a:ext cx="2016448" cy="61555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2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7" name="Text Box 45"/>
          <p:cNvSpPr txBox="1">
            <a:spLocks noChangeArrowheads="1"/>
          </p:cNvSpPr>
          <p:nvPr/>
        </p:nvSpPr>
        <p:spPr bwMode="auto">
          <a:xfrm>
            <a:off x="6804248" y="1020091"/>
            <a:ext cx="2016448" cy="61555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2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8" name="Text Box 45"/>
          <p:cNvSpPr txBox="1">
            <a:spLocks noChangeArrowheads="1"/>
          </p:cNvSpPr>
          <p:nvPr/>
        </p:nvSpPr>
        <p:spPr bwMode="auto">
          <a:xfrm>
            <a:off x="683344" y="3507854"/>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500"/>
                            </p:stCondLst>
                            <p:childTnLst>
                              <p:par>
                                <p:cTn id="13" presetID="22" presetClass="entr" presetSubtype="4"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anim calcmode="lin" valueType="num">
                                      <p:cBhvr>
                                        <p:cTn id="20" dur="500" fill="hold"/>
                                        <p:tgtEl>
                                          <p:spTgt spid="34"/>
                                        </p:tgtEl>
                                        <p:attrNameLst>
                                          <p:attrName>ppt_x</p:attrName>
                                        </p:attrNameLst>
                                      </p:cBhvr>
                                      <p:tavLst>
                                        <p:tav tm="0">
                                          <p:val>
                                            <p:strVal val="#ppt_x"/>
                                          </p:val>
                                        </p:tav>
                                        <p:tav tm="100000">
                                          <p:val>
                                            <p:strVal val="#ppt_x"/>
                                          </p:val>
                                        </p:tav>
                                      </p:tavLst>
                                    </p:anim>
                                    <p:anim calcmode="lin" valueType="num">
                                      <p:cBhvr>
                                        <p:cTn id="21" dur="500" fill="hold"/>
                                        <p:tgtEl>
                                          <p:spTgt spid="34"/>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childTnLst>
                          </p:cTn>
                        </p:par>
                        <p:par>
                          <p:cTn id="26" fill="hold">
                            <p:stCondLst>
                              <p:cond delay="3000"/>
                            </p:stCondLst>
                            <p:childTnLst>
                              <p:par>
                                <p:cTn id="27" presetID="22" presetClass="entr" presetSubtype="1" fill="hold" grpId="0" nodeType="after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wipe(up)">
                                      <p:cBhvr>
                                        <p:cTn id="29" dur="500"/>
                                        <p:tgtEl>
                                          <p:spTgt spid="31"/>
                                        </p:tgtEl>
                                      </p:cBhvr>
                                    </p:animEffect>
                                  </p:childTnLst>
                                </p:cTn>
                              </p:par>
                            </p:childTnLst>
                          </p:cTn>
                        </p:par>
                        <p:par>
                          <p:cTn id="30" fill="hold">
                            <p:stCondLst>
                              <p:cond delay="3500"/>
                            </p:stCondLst>
                            <p:childTnLst>
                              <p:par>
                                <p:cTn id="31" presetID="42" presetClass="entr" presetSubtype="0" fill="hold" grpId="0" nodeType="after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anim calcmode="lin" valueType="num">
                                      <p:cBhvr>
                                        <p:cTn id="34" dur="500" fill="hold"/>
                                        <p:tgtEl>
                                          <p:spTgt spid="33"/>
                                        </p:tgtEl>
                                        <p:attrNameLst>
                                          <p:attrName>ppt_x</p:attrName>
                                        </p:attrNameLst>
                                      </p:cBhvr>
                                      <p:tavLst>
                                        <p:tav tm="0">
                                          <p:val>
                                            <p:strVal val="#ppt_x"/>
                                          </p:val>
                                        </p:tav>
                                        <p:tav tm="100000">
                                          <p:val>
                                            <p:strVal val="#ppt_x"/>
                                          </p:val>
                                        </p:tav>
                                      </p:tavLst>
                                    </p:anim>
                                    <p:anim calcmode="lin" valueType="num">
                                      <p:cBhvr>
                                        <p:cTn id="35" dur="500" fill="hold"/>
                                        <p:tgtEl>
                                          <p:spTgt spid="33"/>
                                        </p:tgtEl>
                                        <p:attrNameLst>
                                          <p:attrName>ppt_y</p:attrName>
                                        </p:attrNameLst>
                                      </p:cBhvr>
                                      <p:tavLst>
                                        <p:tav tm="0">
                                          <p:val>
                                            <p:strVal val="#ppt_y+.1"/>
                                          </p:val>
                                        </p:tav>
                                        <p:tav tm="100000">
                                          <p:val>
                                            <p:strVal val="#ppt_y"/>
                                          </p:val>
                                        </p:tav>
                                      </p:tavLst>
                                    </p:anim>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22" presetClass="entr" presetSubtype="4"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down)">
                                      <p:cBhvr>
                                        <p:cTn id="43" dur="500"/>
                                        <p:tgtEl>
                                          <p:spTgt spid="13"/>
                                        </p:tgtEl>
                                      </p:cBhvr>
                                    </p:animEffect>
                                  </p:childTnLst>
                                </p:cTn>
                              </p:par>
                            </p:childTnLst>
                          </p:cTn>
                        </p:par>
                        <p:par>
                          <p:cTn id="44" fill="hold">
                            <p:stCondLst>
                              <p:cond delay="5000"/>
                            </p:stCondLst>
                            <p:childTnLst>
                              <p:par>
                                <p:cTn id="45" presetID="42" presetClass="entr" presetSubtype="0" fill="hold" grpId="0" nodeType="after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anim calcmode="lin" valueType="num">
                                      <p:cBhvr>
                                        <p:cTn id="48" dur="500" fill="hold"/>
                                        <p:tgtEl>
                                          <p:spTgt spid="35"/>
                                        </p:tgtEl>
                                        <p:attrNameLst>
                                          <p:attrName>ppt_x</p:attrName>
                                        </p:attrNameLst>
                                      </p:cBhvr>
                                      <p:tavLst>
                                        <p:tav tm="0">
                                          <p:val>
                                            <p:strVal val="#ppt_x"/>
                                          </p:val>
                                        </p:tav>
                                        <p:tav tm="100000">
                                          <p:val>
                                            <p:strVal val="#ppt_x"/>
                                          </p:val>
                                        </p:tav>
                                      </p:tavLst>
                                    </p:anim>
                                    <p:anim calcmode="lin" valueType="num">
                                      <p:cBhvr>
                                        <p:cTn id="49" dur="500" fill="hold"/>
                                        <p:tgtEl>
                                          <p:spTgt spid="35"/>
                                        </p:tgtEl>
                                        <p:attrNameLst>
                                          <p:attrName>ppt_y</p:attrName>
                                        </p:attrNameLst>
                                      </p:cBhvr>
                                      <p:tavLst>
                                        <p:tav tm="0">
                                          <p:val>
                                            <p:strVal val="#ppt_y+.1"/>
                                          </p:val>
                                        </p:tav>
                                        <p:tav tm="100000">
                                          <p:val>
                                            <p:strVal val="#ppt_y"/>
                                          </p:val>
                                        </p:tav>
                                      </p:tavLst>
                                    </p:anim>
                                  </p:childTnLst>
                                </p:cTn>
                              </p:par>
                            </p:childTnLst>
                          </p:cTn>
                        </p:par>
                        <p:par>
                          <p:cTn id="50" fill="hold">
                            <p:stCondLst>
                              <p:cond delay="5500"/>
                            </p:stCondLst>
                            <p:childTnLst>
                              <p:par>
                                <p:cTn id="51" presetID="10" presetClass="entr" presetSubtype="0" fill="hold" grpId="0" nodeType="after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500"/>
                                        <p:tgtEl>
                                          <p:spTgt spid="10"/>
                                        </p:tgtEl>
                                      </p:cBhvr>
                                    </p:animEffect>
                                  </p:childTnLst>
                                </p:cTn>
                              </p:par>
                            </p:childTnLst>
                          </p:cTn>
                        </p:par>
                        <p:par>
                          <p:cTn id="54" fill="hold">
                            <p:stCondLst>
                              <p:cond delay="6000"/>
                            </p:stCondLst>
                            <p:childTnLst>
                              <p:par>
                                <p:cTn id="55" presetID="22" presetClass="entr" presetSubtype="1" fill="hold" grpId="0" nodeType="after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wipe(up)">
                                      <p:cBhvr>
                                        <p:cTn id="57" dur="500"/>
                                        <p:tgtEl>
                                          <p:spTgt spid="15"/>
                                        </p:tgtEl>
                                      </p:cBhvr>
                                    </p:animEffect>
                                  </p:childTnLst>
                                </p:cTn>
                              </p:par>
                            </p:childTnLst>
                          </p:cTn>
                        </p:par>
                        <p:par>
                          <p:cTn id="58" fill="hold">
                            <p:stCondLst>
                              <p:cond delay="6500"/>
                            </p:stCondLst>
                            <p:childTnLst>
                              <p:par>
                                <p:cTn id="59" presetID="42" presetClass="entr" presetSubtype="0"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anim calcmode="lin" valueType="num">
                                      <p:cBhvr>
                                        <p:cTn id="62" dur="500" fill="hold"/>
                                        <p:tgtEl>
                                          <p:spTgt spid="36"/>
                                        </p:tgtEl>
                                        <p:attrNameLst>
                                          <p:attrName>ppt_x</p:attrName>
                                        </p:attrNameLst>
                                      </p:cBhvr>
                                      <p:tavLst>
                                        <p:tav tm="0">
                                          <p:val>
                                            <p:strVal val="#ppt_x"/>
                                          </p:val>
                                        </p:tav>
                                        <p:tav tm="100000">
                                          <p:val>
                                            <p:strVal val="#ppt_x"/>
                                          </p:val>
                                        </p:tav>
                                      </p:tavLst>
                                    </p:anim>
                                    <p:anim calcmode="lin" valueType="num">
                                      <p:cBhvr>
                                        <p:cTn id="63" dur="500" fill="hold"/>
                                        <p:tgtEl>
                                          <p:spTgt spid="36"/>
                                        </p:tgtEl>
                                        <p:attrNameLst>
                                          <p:attrName>ppt_y</p:attrName>
                                        </p:attrNameLst>
                                      </p:cBhvr>
                                      <p:tavLst>
                                        <p:tav tm="0">
                                          <p:val>
                                            <p:strVal val="#ppt_y+.1"/>
                                          </p:val>
                                        </p:tav>
                                        <p:tav tm="100000">
                                          <p:val>
                                            <p:strVal val="#ppt_y"/>
                                          </p:val>
                                        </p:tav>
                                      </p:tavLst>
                                    </p:anim>
                                  </p:childTnLst>
                                </p:cTn>
                              </p:par>
                            </p:childTnLst>
                          </p:cTn>
                        </p:par>
                        <p:par>
                          <p:cTn id="64" fill="hold">
                            <p:stCondLst>
                              <p:cond delay="7000"/>
                            </p:stCondLst>
                            <p:childTnLst>
                              <p:par>
                                <p:cTn id="65" presetID="10" presetClass="entr" presetSubtype="0" fill="hold" grpId="0" nodeType="after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500"/>
                                        <p:tgtEl>
                                          <p:spTgt spid="11"/>
                                        </p:tgtEl>
                                      </p:cBhvr>
                                    </p:animEffect>
                                  </p:childTnLst>
                                </p:cTn>
                              </p:par>
                            </p:childTnLst>
                          </p:cTn>
                        </p:par>
                        <p:par>
                          <p:cTn id="68" fill="hold">
                            <p:stCondLst>
                              <p:cond delay="7500"/>
                            </p:stCondLst>
                            <p:childTnLst>
                              <p:par>
                                <p:cTn id="69" presetID="22" presetClass="entr" presetSubtype="4" fill="hold" grpId="0" nodeType="after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wipe(down)">
                                      <p:cBhvr>
                                        <p:cTn id="71" dur="500"/>
                                        <p:tgtEl>
                                          <p:spTgt spid="14"/>
                                        </p:tgtEl>
                                      </p:cBhvr>
                                    </p:animEffect>
                                  </p:childTnLst>
                                </p:cTn>
                              </p:par>
                            </p:childTnLst>
                          </p:cTn>
                        </p:par>
                        <p:par>
                          <p:cTn id="72" fill="hold">
                            <p:stCondLst>
                              <p:cond delay="8000"/>
                            </p:stCondLst>
                            <p:childTnLst>
                              <p:par>
                                <p:cTn id="73" presetID="10" presetClass="entr" presetSubtype="0" fill="hold" grpId="0" nodeType="afterEffect">
                                  <p:stCondLst>
                                    <p:cond delay="0"/>
                                  </p:stCondLst>
                                  <p:childTnLst>
                                    <p:set>
                                      <p:cBhvr>
                                        <p:cTn id="74" dur="1" fill="hold">
                                          <p:stCondLst>
                                            <p:cond delay="0"/>
                                          </p:stCondLst>
                                        </p:cTn>
                                        <p:tgtEl>
                                          <p:spTgt spid="16"/>
                                        </p:tgtEl>
                                        <p:attrNameLst>
                                          <p:attrName>style.visibility</p:attrName>
                                        </p:attrNameLst>
                                      </p:cBhvr>
                                      <p:to>
                                        <p:strVal val="visible"/>
                                      </p:to>
                                    </p:set>
                                    <p:animEffect transition="in" filter="fade">
                                      <p:cBhvr>
                                        <p:cTn id="75" dur="500"/>
                                        <p:tgtEl>
                                          <p:spTgt spid="16"/>
                                        </p:tgtEl>
                                      </p:cBhvr>
                                    </p:animEffect>
                                  </p:childTnLst>
                                </p:cTn>
                              </p:par>
                            </p:childTnLst>
                          </p:cTn>
                        </p:par>
                        <p:par>
                          <p:cTn id="76" fill="hold">
                            <p:stCondLst>
                              <p:cond delay="8500"/>
                            </p:stCondLst>
                            <p:childTnLst>
                              <p:par>
                                <p:cTn id="77" presetID="42" presetClass="entr" presetSubtype="0" fill="hold" grpId="0" nodeType="afterEffect">
                                  <p:stCondLst>
                                    <p:cond delay="0"/>
                                  </p:stCondLst>
                                  <p:childTnLst>
                                    <p:set>
                                      <p:cBhvr>
                                        <p:cTn id="78" dur="1" fill="hold">
                                          <p:stCondLst>
                                            <p:cond delay="0"/>
                                          </p:stCondLst>
                                        </p:cTn>
                                        <p:tgtEl>
                                          <p:spTgt spid="37"/>
                                        </p:tgtEl>
                                        <p:attrNameLst>
                                          <p:attrName>style.visibility</p:attrName>
                                        </p:attrNameLst>
                                      </p:cBhvr>
                                      <p:to>
                                        <p:strVal val="visible"/>
                                      </p:to>
                                    </p:set>
                                    <p:animEffect transition="in" filter="fade">
                                      <p:cBhvr>
                                        <p:cTn id="79" dur="500"/>
                                        <p:tgtEl>
                                          <p:spTgt spid="37"/>
                                        </p:tgtEl>
                                      </p:cBhvr>
                                    </p:animEffect>
                                    <p:anim calcmode="lin" valueType="num">
                                      <p:cBhvr>
                                        <p:cTn id="80" dur="500" fill="hold"/>
                                        <p:tgtEl>
                                          <p:spTgt spid="37"/>
                                        </p:tgtEl>
                                        <p:attrNameLst>
                                          <p:attrName>ppt_x</p:attrName>
                                        </p:attrNameLst>
                                      </p:cBhvr>
                                      <p:tavLst>
                                        <p:tav tm="0">
                                          <p:val>
                                            <p:strVal val="#ppt_x"/>
                                          </p:val>
                                        </p:tav>
                                        <p:tav tm="100000">
                                          <p:val>
                                            <p:strVal val="#ppt_x"/>
                                          </p:val>
                                        </p:tav>
                                      </p:tavLst>
                                    </p:anim>
                                    <p:anim calcmode="lin" valueType="num">
                                      <p:cBhvr>
                                        <p:cTn id="81" dur="500" fill="hold"/>
                                        <p:tgtEl>
                                          <p:spTgt spid="37"/>
                                        </p:tgtEl>
                                        <p:attrNameLst>
                                          <p:attrName>ppt_y</p:attrName>
                                        </p:attrNameLst>
                                      </p:cBhvr>
                                      <p:tavLst>
                                        <p:tav tm="0">
                                          <p:val>
                                            <p:strVal val="#ppt_y+.1"/>
                                          </p:val>
                                        </p:tav>
                                        <p:tav tm="100000">
                                          <p:val>
                                            <p:strVal val="#ppt_y"/>
                                          </p:val>
                                        </p:tav>
                                      </p:tavLst>
                                    </p:anim>
                                  </p:childTnLst>
                                </p:cTn>
                              </p:par>
                            </p:childTnLst>
                          </p:cTn>
                        </p:par>
                        <p:par>
                          <p:cTn id="82" fill="hold">
                            <p:stCondLst>
                              <p:cond delay="9000"/>
                            </p:stCondLst>
                            <p:childTnLst>
                              <p:par>
                                <p:cTn id="83" presetID="10" presetClass="entr" presetSubtype="0" fill="hold" grpId="0" nodeType="afterEffect">
                                  <p:stCondLst>
                                    <p:cond delay="0"/>
                                  </p:stCondLst>
                                  <p:childTnLst>
                                    <p:set>
                                      <p:cBhvr>
                                        <p:cTn id="84" dur="1" fill="hold">
                                          <p:stCondLst>
                                            <p:cond delay="0"/>
                                          </p:stCondLst>
                                        </p:cTn>
                                        <p:tgtEl>
                                          <p:spTgt spid="26"/>
                                        </p:tgtEl>
                                        <p:attrNameLst>
                                          <p:attrName>style.visibility</p:attrName>
                                        </p:attrNameLst>
                                      </p:cBhvr>
                                      <p:to>
                                        <p:strVal val="visible"/>
                                      </p:to>
                                    </p:set>
                                    <p:animEffect transition="in" filter="fade">
                                      <p:cBhvr>
                                        <p:cTn id="85" dur="500"/>
                                        <p:tgtEl>
                                          <p:spTgt spid="26"/>
                                        </p:tgtEl>
                                      </p:cBhvr>
                                    </p:animEffect>
                                  </p:childTnLst>
                                </p:cTn>
                              </p:par>
                            </p:childTnLst>
                          </p:cTn>
                        </p:par>
                        <p:par>
                          <p:cTn id="86" fill="hold">
                            <p:stCondLst>
                              <p:cond delay="9500"/>
                            </p:stCondLst>
                            <p:childTnLst>
                              <p:par>
                                <p:cTn id="87" presetID="42" presetClass="entr" presetSubtype="0" fill="hold" grpId="0" nodeType="after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fade">
                                      <p:cBhvr>
                                        <p:cTn id="89" dur="750"/>
                                        <p:tgtEl>
                                          <p:spTgt spid="38"/>
                                        </p:tgtEl>
                                      </p:cBhvr>
                                    </p:animEffect>
                                    <p:anim calcmode="lin" valueType="num">
                                      <p:cBhvr>
                                        <p:cTn id="90" dur="750" fill="hold"/>
                                        <p:tgtEl>
                                          <p:spTgt spid="38"/>
                                        </p:tgtEl>
                                        <p:attrNameLst>
                                          <p:attrName>ppt_x</p:attrName>
                                        </p:attrNameLst>
                                      </p:cBhvr>
                                      <p:tavLst>
                                        <p:tav tm="0">
                                          <p:val>
                                            <p:strVal val="#ppt_x"/>
                                          </p:val>
                                        </p:tav>
                                        <p:tav tm="100000">
                                          <p:val>
                                            <p:strVal val="#ppt_x"/>
                                          </p:val>
                                        </p:tav>
                                      </p:tavLst>
                                    </p:anim>
                                    <p:anim calcmode="lin" valueType="num">
                                      <p:cBhvr>
                                        <p:cTn id="91" dur="75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animBg="1"/>
      <p:bldP spid="13" grpId="0" animBg="1"/>
      <p:bldP spid="14" grpId="0" animBg="1"/>
      <p:bldP spid="15" grpId="0" animBg="1"/>
      <p:bldP spid="16" grpId="0" animBg="1"/>
      <p:bldP spid="26" grpId="0"/>
      <p:bldP spid="31" grpId="0" animBg="1"/>
      <p:bldP spid="33" grpId="0"/>
      <p:bldP spid="34" grpId="0"/>
      <p:bldP spid="35" grpId="0"/>
      <p:bldP spid="36" grpId="0"/>
      <p:bldP spid="37" grpId="0"/>
      <p:bldP spid="3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圆角矩形 27"/>
          <p:cNvSpPr/>
          <p:nvPr/>
        </p:nvSpPr>
        <p:spPr>
          <a:xfrm>
            <a:off x="755576" y="987974"/>
            <a:ext cx="7560000" cy="3600000"/>
          </a:xfrm>
          <a:prstGeom prst="roundRect">
            <a:avLst>
              <a:gd name="adj" fmla="val 0"/>
            </a:avLst>
          </a:prstGeom>
          <a:gradFill flip="none" rotWithShape="1">
            <a:gsLst>
              <a:gs pos="0">
                <a:schemeClr val="bg1">
                  <a:lumMod val="75000"/>
                </a:schemeClr>
              </a:gs>
              <a:gs pos="100000">
                <a:schemeClr val="bg1">
                  <a:lumMod val="95000"/>
                </a:schemeClr>
              </a:gs>
            </a:gsLst>
            <a:lin ang="13500000" scaled="1"/>
            <a:tileRect/>
          </a:gradFill>
          <a:ln w="25400">
            <a:noFill/>
          </a:ln>
          <a:effectLst>
            <a:outerShdw blurRad="44450" dist="27940" dir="600000" sx="13000" sy="13000" algn="ctr">
              <a:srgbClr val="000000">
                <a:alpha val="32000"/>
              </a:srgbClr>
            </a:outerShdw>
          </a:effectLst>
          <a:scene3d>
            <a:camera prst="orthographicFront">
              <a:rot lat="0" lon="0" rev="0"/>
            </a:camera>
            <a:lightRig rig="balanced" dir="t">
              <a:rot lat="0" lon="0" rev="8700000"/>
            </a:lightRig>
          </a:scene3d>
          <a:sp3d>
            <a:bevelT w="95250" h="127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29" name="AutoShape 3"/>
          <p:cNvSpPr>
            <a:spLocks noChangeArrowheads="1"/>
          </p:cNvSpPr>
          <p:nvPr/>
        </p:nvSpPr>
        <p:spPr bwMode="auto">
          <a:xfrm>
            <a:off x="1612391" y="1482602"/>
            <a:ext cx="3572082" cy="288000"/>
          </a:xfrm>
          <a:prstGeom prst="roundRect">
            <a:avLst/>
          </a:prstGeom>
          <a:solidFill>
            <a:srgbClr val="03A55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a:solidFill>
                <a:schemeClr val="accent2"/>
              </a:solidFill>
              <a:latin typeface="微软雅黑" panose="020B0503020204020204" pitchFamily="34" charset="-122"/>
              <a:ea typeface="微软雅黑" panose="020B0503020204020204" pitchFamily="34" charset="-122"/>
            </a:endParaRPr>
          </a:p>
        </p:txBody>
      </p:sp>
      <p:sp>
        <p:nvSpPr>
          <p:cNvPr id="30" name="矩形 19"/>
          <p:cNvSpPr>
            <a:spLocks noChangeArrowheads="1"/>
          </p:cNvSpPr>
          <p:nvPr/>
        </p:nvSpPr>
        <p:spPr bwMode="auto">
          <a:xfrm>
            <a:off x="937601" y="1462641"/>
            <a:ext cx="635000" cy="307975"/>
          </a:xfrm>
          <a:prstGeom prst="rect">
            <a:avLst/>
          </a:prstGeom>
          <a:noFill/>
          <a:ln w="9525">
            <a:noFill/>
            <a:miter lim="800000"/>
          </a:ln>
          <a:effectLst/>
        </p:spPr>
        <p:txBody>
          <a:bodyPr>
            <a:spAutoFit/>
          </a:bodyPr>
          <a:lstStyle/>
          <a:p>
            <a:pPr algn="r"/>
            <a:r>
              <a:rPr lang="zh-CN" altLang="en-US" sz="1400" dirty="0">
                <a:solidFill>
                  <a:schemeClr val="accent2"/>
                </a:solidFill>
                <a:latin typeface="Calibri" panose="020F0502020204030204" charset="0"/>
                <a:ea typeface="微软雅黑" panose="020B0503020204020204" pitchFamily="34" charset="-122"/>
              </a:rPr>
              <a:t>北京</a:t>
            </a:r>
          </a:p>
        </p:txBody>
      </p:sp>
      <p:sp>
        <p:nvSpPr>
          <p:cNvPr id="31" name="AutoShape 3"/>
          <p:cNvSpPr>
            <a:spLocks noChangeArrowheads="1"/>
          </p:cNvSpPr>
          <p:nvPr/>
        </p:nvSpPr>
        <p:spPr bwMode="auto">
          <a:xfrm>
            <a:off x="1612391" y="2073778"/>
            <a:ext cx="2988000" cy="288000"/>
          </a:xfrm>
          <a:prstGeom prst="roundRect">
            <a:avLst/>
          </a:prstGeom>
          <a:solidFill>
            <a:srgbClr val="03A55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b="1">
              <a:solidFill>
                <a:schemeClr val="accent2"/>
              </a:solidFill>
              <a:latin typeface="微软雅黑" panose="020B0503020204020204" pitchFamily="34" charset="-122"/>
              <a:ea typeface="微软雅黑" panose="020B0503020204020204" pitchFamily="34" charset="-122"/>
            </a:endParaRPr>
          </a:p>
        </p:txBody>
      </p:sp>
      <p:sp>
        <p:nvSpPr>
          <p:cNvPr id="32" name="AutoShape 3"/>
          <p:cNvSpPr>
            <a:spLocks noChangeArrowheads="1"/>
          </p:cNvSpPr>
          <p:nvPr/>
        </p:nvSpPr>
        <p:spPr bwMode="auto">
          <a:xfrm>
            <a:off x="1612391" y="2664953"/>
            <a:ext cx="1908000" cy="288000"/>
          </a:xfrm>
          <a:prstGeom prst="roundRect">
            <a:avLst/>
          </a:prstGeom>
          <a:solidFill>
            <a:srgbClr val="03A55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a:solidFill>
                <a:schemeClr val="accent2"/>
              </a:solidFill>
              <a:latin typeface="微软雅黑" panose="020B0503020204020204" pitchFamily="34" charset="-122"/>
              <a:ea typeface="微软雅黑" panose="020B0503020204020204" pitchFamily="34" charset="-122"/>
            </a:endParaRPr>
          </a:p>
        </p:txBody>
      </p:sp>
      <p:sp>
        <p:nvSpPr>
          <p:cNvPr id="33" name="AutoShape 3"/>
          <p:cNvSpPr>
            <a:spLocks noChangeArrowheads="1"/>
          </p:cNvSpPr>
          <p:nvPr/>
        </p:nvSpPr>
        <p:spPr bwMode="auto">
          <a:xfrm>
            <a:off x="1612391" y="3256129"/>
            <a:ext cx="2340000" cy="288000"/>
          </a:xfrm>
          <a:prstGeom prst="roundRect">
            <a:avLst/>
          </a:prstGeom>
          <a:solidFill>
            <a:srgbClr val="03A55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buClr>
                <a:srgbClr val="FF0000"/>
              </a:buClr>
              <a:buSzPct val="70000"/>
            </a:pPr>
            <a:endParaRPr lang="zh-CN" altLang="zh-CN" sz="1600" b="1">
              <a:solidFill>
                <a:schemeClr val="accent2"/>
              </a:solidFill>
              <a:latin typeface="微软雅黑" panose="020B0503020204020204" pitchFamily="34" charset="-122"/>
              <a:ea typeface="微软雅黑" panose="020B0503020204020204" pitchFamily="34" charset="-122"/>
            </a:endParaRPr>
          </a:p>
        </p:txBody>
      </p:sp>
      <p:cxnSp>
        <p:nvCxnSpPr>
          <p:cNvPr id="34" name="直接连接符 33"/>
          <p:cNvCxnSpPr/>
          <p:nvPr/>
        </p:nvCxnSpPr>
        <p:spPr>
          <a:xfrm rot="5400000">
            <a:off x="4006238" y="2794554"/>
            <a:ext cx="3527425" cy="0"/>
          </a:xfrm>
          <a:prstGeom prst="line">
            <a:avLst/>
          </a:prstGeom>
          <a:ln w="9525">
            <a:solidFill>
              <a:schemeClr val="tx1">
                <a:lumMod val="65000"/>
                <a:lumOff val="35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5" name="AutoShape 3"/>
          <p:cNvSpPr>
            <a:spLocks noChangeArrowheads="1"/>
          </p:cNvSpPr>
          <p:nvPr/>
        </p:nvSpPr>
        <p:spPr bwMode="auto">
          <a:xfrm>
            <a:off x="1612391" y="3847304"/>
            <a:ext cx="828000" cy="288000"/>
          </a:xfrm>
          <a:prstGeom prst="roundRect">
            <a:avLst/>
          </a:prstGeom>
          <a:solidFill>
            <a:srgbClr val="03A550"/>
          </a:solidFill>
          <a:ln w="25400">
            <a:noFill/>
          </a:ln>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zh-CN" sz="1600">
              <a:solidFill>
                <a:schemeClr val="accent2"/>
              </a:solidFill>
              <a:latin typeface="微软雅黑" panose="020B0503020204020204" pitchFamily="34" charset="-122"/>
              <a:ea typeface="微软雅黑" panose="020B0503020204020204" pitchFamily="34" charset="-122"/>
            </a:endParaRPr>
          </a:p>
        </p:txBody>
      </p:sp>
      <p:sp>
        <p:nvSpPr>
          <p:cNvPr id="36" name="矩形 19"/>
          <p:cNvSpPr>
            <a:spLocks noChangeArrowheads="1"/>
          </p:cNvSpPr>
          <p:nvPr/>
        </p:nvSpPr>
        <p:spPr bwMode="auto">
          <a:xfrm>
            <a:off x="937601" y="2053191"/>
            <a:ext cx="635000" cy="306388"/>
          </a:xfrm>
          <a:prstGeom prst="rect">
            <a:avLst/>
          </a:prstGeom>
          <a:noFill/>
          <a:ln w="9525">
            <a:noFill/>
            <a:miter lim="800000"/>
          </a:ln>
          <a:effectLst/>
        </p:spPr>
        <p:txBody>
          <a:bodyPr>
            <a:spAutoFit/>
          </a:bodyPr>
          <a:lstStyle/>
          <a:p>
            <a:pPr algn="r"/>
            <a:r>
              <a:rPr lang="zh-CN" altLang="en-US" sz="1400" dirty="0">
                <a:solidFill>
                  <a:schemeClr val="accent2"/>
                </a:solidFill>
                <a:latin typeface="Calibri" panose="020F0502020204030204" charset="0"/>
                <a:ea typeface="微软雅黑" panose="020B0503020204020204" pitchFamily="34" charset="-122"/>
              </a:rPr>
              <a:t>天津</a:t>
            </a:r>
          </a:p>
        </p:txBody>
      </p:sp>
      <p:sp>
        <p:nvSpPr>
          <p:cNvPr id="37" name="矩形 19"/>
          <p:cNvSpPr>
            <a:spLocks noChangeArrowheads="1"/>
          </p:cNvSpPr>
          <p:nvPr/>
        </p:nvSpPr>
        <p:spPr bwMode="auto">
          <a:xfrm>
            <a:off x="937601" y="2642154"/>
            <a:ext cx="635000" cy="307975"/>
          </a:xfrm>
          <a:prstGeom prst="rect">
            <a:avLst/>
          </a:prstGeom>
          <a:noFill/>
          <a:ln w="9525">
            <a:noFill/>
            <a:miter lim="800000"/>
          </a:ln>
          <a:effectLst/>
        </p:spPr>
        <p:txBody>
          <a:bodyPr>
            <a:spAutoFit/>
          </a:bodyPr>
          <a:lstStyle/>
          <a:p>
            <a:pPr algn="r"/>
            <a:r>
              <a:rPr lang="zh-CN" altLang="en-US" sz="1400" dirty="0">
                <a:solidFill>
                  <a:schemeClr val="accent2"/>
                </a:solidFill>
                <a:latin typeface="Calibri" panose="020F0502020204030204" charset="0"/>
                <a:ea typeface="微软雅黑" panose="020B0503020204020204" pitchFamily="34" charset="-122"/>
              </a:rPr>
              <a:t>上海</a:t>
            </a:r>
          </a:p>
        </p:txBody>
      </p:sp>
      <p:sp>
        <p:nvSpPr>
          <p:cNvPr id="38" name="矩形 19"/>
          <p:cNvSpPr>
            <a:spLocks noChangeArrowheads="1"/>
          </p:cNvSpPr>
          <p:nvPr/>
        </p:nvSpPr>
        <p:spPr bwMode="auto">
          <a:xfrm>
            <a:off x="937601" y="3231116"/>
            <a:ext cx="635000" cy="307777"/>
          </a:xfrm>
          <a:prstGeom prst="rect">
            <a:avLst/>
          </a:prstGeom>
          <a:noFill/>
          <a:ln w="9525">
            <a:noFill/>
            <a:miter lim="800000"/>
          </a:ln>
          <a:effectLst/>
        </p:spPr>
        <p:txBody>
          <a:bodyPr>
            <a:spAutoFit/>
          </a:bodyPr>
          <a:lstStyle/>
          <a:p>
            <a:pPr algn="r"/>
            <a:r>
              <a:rPr lang="zh-CN" altLang="en-US" sz="1400" dirty="0">
                <a:solidFill>
                  <a:schemeClr val="accent2"/>
                </a:solidFill>
                <a:latin typeface="Calibri" panose="020F0502020204030204" charset="0"/>
                <a:ea typeface="微软雅黑" panose="020B0503020204020204" pitchFamily="34" charset="-122"/>
              </a:rPr>
              <a:t>广州</a:t>
            </a:r>
          </a:p>
        </p:txBody>
      </p:sp>
      <p:sp>
        <p:nvSpPr>
          <p:cNvPr id="39" name="矩形 19"/>
          <p:cNvSpPr>
            <a:spLocks noChangeArrowheads="1"/>
          </p:cNvSpPr>
          <p:nvPr/>
        </p:nvSpPr>
        <p:spPr bwMode="auto">
          <a:xfrm>
            <a:off x="937601" y="3820079"/>
            <a:ext cx="635000" cy="307975"/>
          </a:xfrm>
          <a:prstGeom prst="rect">
            <a:avLst/>
          </a:prstGeom>
          <a:noFill/>
          <a:ln w="9525">
            <a:noFill/>
            <a:miter lim="800000"/>
          </a:ln>
          <a:effectLst/>
        </p:spPr>
        <p:txBody>
          <a:bodyPr>
            <a:spAutoFit/>
          </a:bodyPr>
          <a:lstStyle/>
          <a:p>
            <a:pPr algn="r"/>
            <a:r>
              <a:rPr lang="zh-CN" altLang="en-US" sz="1400">
                <a:solidFill>
                  <a:schemeClr val="accent2"/>
                </a:solidFill>
                <a:latin typeface="Calibri" panose="020F0502020204030204" charset="0"/>
                <a:ea typeface="微软雅黑" panose="020B0503020204020204" pitchFamily="34" charset="-122"/>
              </a:rPr>
              <a:t>重庆</a:t>
            </a:r>
          </a:p>
        </p:txBody>
      </p:sp>
      <p:sp>
        <p:nvSpPr>
          <p:cNvPr id="40" name="矩形 19"/>
          <p:cNvSpPr>
            <a:spLocks noChangeArrowheads="1"/>
          </p:cNvSpPr>
          <p:nvPr/>
        </p:nvSpPr>
        <p:spPr bwMode="auto">
          <a:xfrm>
            <a:off x="6265251" y="1488041"/>
            <a:ext cx="1516063" cy="307975"/>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点击添加文本</a:t>
            </a:r>
            <a:endParaRPr lang="zh-CN" altLang="en-US" sz="1400" dirty="0">
              <a:solidFill>
                <a:schemeClr val="accent2"/>
              </a:solidFill>
              <a:ea typeface="微软雅黑" panose="020B0503020204020204" pitchFamily="34" charset="-122"/>
            </a:endParaRPr>
          </a:p>
        </p:txBody>
      </p:sp>
      <p:sp>
        <p:nvSpPr>
          <p:cNvPr id="41" name="矩形 19"/>
          <p:cNvSpPr>
            <a:spLocks noChangeArrowheads="1"/>
          </p:cNvSpPr>
          <p:nvPr/>
        </p:nvSpPr>
        <p:spPr bwMode="auto">
          <a:xfrm>
            <a:off x="6265251" y="2088116"/>
            <a:ext cx="1516063" cy="307975"/>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点击添加文本</a:t>
            </a:r>
            <a:endParaRPr lang="zh-CN" altLang="en-US" sz="1400" dirty="0">
              <a:solidFill>
                <a:schemeClr val="accent2"/>
              </a:solidFill>
              <a:ea typeface="微软雅黑" panose="020B0503020204020204" pitchFamily="34" charset="-122"/>
            </a:endParaRPr>
          </a:p>
        </p:txBody>
      </p:sp>
      <p:sp>
        <p:nvSpPr>
          <p:cNvPr id="42" name="矩形 19"/>
          <p:cNvSpPr>
            <a:spLocks noChangeArrowheads="1"/>
          </p:cNvSpPr>
          <p:nvPr/>
        </p:nvSpPr>
        <p:spPr bwMode="auto">
          <a:xfrm>
            <a:off x="6265251" y="2689779"/>
            <a:ext cx="1516063" cy="307975"/>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点击添加文本</a:t>
            </a:r>
            <a:endParaRPr lang="zh-CN" altLang="en-US" sz="1400" dirty="0">
              <a:solidFill>
                <a:schemeClr val="accent2"/>
              </a:solidFill>
              <a:ea typeface="微软雅黑" panose="020B0503020204020204" pitchFamily="34" charset="-122"/>
            </a:endParaRPr>
          </a:p>
        </p:txBody>
      </p:sp>
      <p:sp>
        <p:nvSpPr>
          <p:cNvPr id="43" name="矩形 42"/>
          <p:cNvSpPr>
            <a:spLocks noChangeArrowheads="1"/>
          </p:cNvSpPr>
          <p:nvPr/>
        </p:nvSpPr>
        <p:spPr bwMode="auto">
          <a:xfrm>
            <a:off x="6265251" y="3291441"/>
            <a:ext cx="1516063" cy="306388"/>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点击添加文本</a:t>
            </a:r>
            <a:endParaRPr lang="zh-CN" altLang="en-US" sz="1400" dirty="0">
              <a:solidFill>
                <a:schemeClr val="accent2"/>
              </a:solidFill>
              <a:ea typeface="微软雅黑" panose="020B0503020204020204" pitchFamily="34" charset="-122"/>
            </a:endParaRPr>
          </a:p>
        </p:txBody>
      </p:sp>
      <p:sp>
        <p:nvSpPr>
          <p:cNvPr id="44" name="矩形 19"/>
          <p:cNvSpPr>
            <a:spLocks noChangeArrowheads="1"/>
          </p:cNvSpPr>
          <p:nvPr/>
        </p:nvSpPr>
        <p:spPr bwMode="auto">
          <a:xfrm>
            <a:off x="6265251" y="3891516"/>
            <a:ext cx="1516063" cy="307975"/>
          </a:xfrm>
          <a:prstGeom prst="rect">
            <a:avLst/>
          </a:prstGeom>
          <a:noFill/>
          <a:ln w="9525">
            <a:noFill/>
            <a:miter lim="800000"/>
          </a:ln>
          <a:effectLst/>
        </p:spPr>
        <p:txBody>
          <a:bodyPr>
            <a:spAutoFit/>
          </a:bodyPr>
          <a:lstStyle/>
          <a:p>
            <a:pPr algn="ctr" fontAlgn="auto">
              <a:spcBef>
                <a:spcPts val="0"/>
              </a:spcBef>
              <a:spcAft>
                <a:spcPts val="0"/>
              </a:spcAft>
              <a:defRPr/>
            </a:pPr>
            <a:r>
              <a:rPr lang="zh-CN" altLang="en-US" sz="1400" spc="50" dirty="0">
                <a:ln w="11430"/>
                <a:solidFill>
                  <a:schemeClr val="accent2"/>
                </a:solidFill>
                <a:latin typeface="微软雅黑" panose="020B0503020204020204" pitchFamily="34" charset="-122"/>
                <a:ea typeface="微软雅黑" panose="020B0503020204020204" pitchFamily="34" charset="-122"/>
              </a:rPr>
              <a:t>点击添加文本</a:t>
            </a:r>
            <a:endParaRPr lang="zh-CN" altLang="en-US" sz="1400" dirty="0">
              <a:solidFill>
                <a:schemeClr val="accent2"/>
              </a:solidFill>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1000" fill="hold"/>
                                        <p:tgtEl>
                                          <p:spTgt spid="28"/>
                                        </p:tgtEl>
                                        <p:attrNameLst>
                                          <p:attrName>ppt_w</p:attrName>
                                        </p:attrNameLst>
                                      </p:cBhvr>
                                      <p:tavLst>
                                        <p:tav tm="0">
                                          <p:val>
                                            <p:fltVal val="0"/>
                                          </p:val>
                                        </p:tav>
                                        <p:tav tm="100000">
                                          <p:val>
                                            <p:strVal val="#ppt_w"/>
                                          </p:val>
                                        </p:tav>
                                      </p:tavLst>
                                    </p:anim>
                                    <p:anim calcmode="lin" valueType="num">
                                      <p:cBhvr>
                                        <p:cTn id="8" dur="1000" fill="hold"/>
                                        <p:tgtEl>
                                          <p:spTgt spid="28"/>
                                        </p:tgtEl>
                                        <p:attrNameLst>
                                          <p:attrName>ppt_h</p:attrName>
                                        </p:attrNameLst>
                                      </p:cBhvr>
                                      <p:tavLst>
                                        <p:tav tm="0">
                                          <p:val>
                                            <p:fltVal val="0"/>
                                          </p:val>
                                        </p:tav>
                                        <p:tav tm="100000">
                                          <p:val>
                                            <p:strVal val="#ppt_h"/>
                                          </p:val>
                                        </p:tav>
                                      </p:tavLst>
                                    </p:anim>
                                  </p:childTnLst>
                                </p:cTn>
                              </p:par>
                            </p:childTnLst>
                          </p:cTn>
                        </p:par>
                        <p:par>
                          <p:cTn id="9" fill="hold">
                            <p:stCondLst>
                              <p:cond delay="1000"/>
                            </p:stCondLst>
                            <p:childTnLst>
                              <p:par>
                                <p:cTn id="10" presetID="23" presetClass="entr" presetSubtype="16" fill="hold" nodeType="afterEffect">
                                  <p:stCondLst>
                                    <p:cond delay="0"/>
                                  </p:stCondLst>
                                  <p:childTnLst>
                                    <p:set>
                                      <p:cBhvr>
                                        <p:cTn id="11" dur="1" fill="hold">
                                          <p:stCondLst>
                                            <p:cond delay="0"/>
                                          </p:stCondLst>
                                        </p:cTn>
                                        <p:tgtEl>
                                          <p:spTgt spid="34"/>
                                        </p:tgtEl>
                                        <p:attrNameLst>
                                          <p:attrName>style.visibility</p:attrName>
                                        </p:attrNameLst>
                                      </p:cBhvr>
                                      <p:to>
                                        <p:strVal val="visible"/>
                                      </p:to>
                                    </p:set>
                                    <p:anim calcmode="lin" valueType="num">
                                      <p:cBhvr>
                                        <p:cTn id="12" dur="1000" fill="hold"/>
                                        <p:tgtEl>
                                          <p:spTgt spid="34"/>
                                        </p:tgtEl>
                                        <p:attrNameLst>
                                          <p:attrName>ppt_w</p:attrName>
                                        </p:attrNameLst>
                                      </p:cBhvr>
                                      <p:tavLst>
                                        <p:tav tm="0">
                                          <p:val>
                                            <p:fltVal val="0"/>
                                          </p:val>
                                        </p:tav>
                                        <p:tav tm="100000">
                                          <p:val>
                                            <p:strVal val="#ppt_w"/>
                                          </p:val>
                                        </p:tav>
                                      </p:tavLst>
                                    </p:anim>
                                    <p:anim calcmode="lin" valueType="num">
                                      <p:cBhvr>
                                        <p:cTn id="13" dur="1000" fill="hold"/>
                                        <p:tgtEl>
                                          <p:spTgt spid="34"/>
                                        </p:tgtEl>
                                        <p:attrNameLst>
                                          <p:attrName>ppt_h</p:attrName>
                                        </p:attrNameLst>
                                      </p:cBhvr>
                                      <p:tavLst>
                                        <p:tav tm="0">
                                          <p:val>
                                            <p:fltVal val="0"/>
                                          </p:val>
                                        </p:tav>
                                        <p:tav tm="100000">
                                          <p:val>
                                            <p:strVal val="#ppt_h"/>
                                          </p:val>
                                        </p:tav>
                                      </p:tavLst>
                                    </p:anim>
                                  </p:childTnLst>
                                </p:cTn>
                              </p:par>
                            </p:childTnLst>
                          </p:cTn>
                        </p:par>
                        <p:par>
                          <p:cTn id="14" fill="hold">
                            <p:stCondLst>
                              <p:cond delay="2000"/>
                            </p:stCondLst>
                            <p:childTnLst>
                              <p:par>
                                <p:cTn id="15" presetID="22" presetClass="entr" presetSubtype="8" fill="hold" grpId="0" nodeType="after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left)">
                                      <p:cBhvr>
                                        <p:cTn id="17" dur="500"/>
                                        <p:tgtEl>
                                          <p:spTgt spid="30"/>
                                        </p:tgtEl>
                                      </p:cBhvr>
                                    </p:animEffect>
                                  </p:childTnLst>
                                </p:cTn>
                              </p:par>
                            </p:childTnLst>
                          </p:cTn>
                        </p:par>
                        <p:par>
                          <p:cTn id="18" fill="hold">
                            <p:stCondLst>
                              <p:cond delay="2500"/>
                            </p:stCondLst>
                            <p:childTnLst>
                              <p:par>
                                <p:cTn id="19" presetID="22" presetClass="entr" presetSubtype="8"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wipe(left)">
                                      <p:cBhvr>
                                        <p:cTn id="21" dur="750"/>
                                        <p:tgtEl>
                                          <p:spTgt spid="29"/>
                                        </p:tgtEl>
                                      </p:cBhvr>
                                    </p:animEffect>
                                  </p:childTnLst>
                                </p:cTn>
                              </p:par>
                            </p:childTnLst>
                          </p:cTn>
                        </p:par>
                        <p:par>
                          <p:cTn id="22" fill="hold">
                            <p:stCondLst>
                              <p:cond delay="3500"/>
                            </p:stCondLst>
                            <p:childTnLst>
                              <p:par>
                                <p:cTn id="23" presetID="22" presetClass="entr" presetSubtype="8" fill="hold" grpId="0" nodeType="after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wipe(left)">
                                      <p:cBhvr>
                                        <p:cTn id="25" dur="500"/>
                                        <p:tgtEl>
                                          <p:spTgt spid="36"/>
                                        </p:tgtEl>
                                      </p:cBhvr>
                                    </p:animEffect>
                                  </p:childTnLst>
                                </p:cTn>
                              </p:par>
                            </p:childTnLst>
                          </p:cTn>
                        </p:par>
                        <p:par>
                          <p:cTn id="26" fill="hold">
                            <p:stCondLst>
                              <p:cond delay="4000"/>
                            </p:stCondLst>
                            <p:childTnLst>
                              <p:par>
                                <p:cTn id="27" presetID="22" presetClass="entr" presetSubtype="8" fill="hold" grpId="0" nodeType="after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wipe(left)">
                                      <p:cBhvr>
                                        <p:cTn id="29" dur="750"/>
                                        <p:tgtEl>
                                          <p:spTgt spid="31"/>
                                        </p:tgtEl>
                                      </p:cBhvr>
                                    </p:animEffect>
                                  </p:childTnLst>
                                </p:cTn>
                              </p:par>
                            </p:childTnLst>
                          </p:cTn>
                        </p:par>
                        <p:par>
                          <p:cTn id="30" fill="hold">
                            <p:stCondLst>
                              <p:cond delay="5000"/>
                            </p:stCondLst>
                            <p:childTnLst>
                              <p:par>
                                <p:cTn id="31" presetID="22" presetClass="entr" presetSubtype="8"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left)">
                                      <p:cBhvr>
                                        <p:cTn id="33" dur="500"/>
                                        <p:tgtEl>
                                          <p:spTgt spid="37"/>
                                        </p:tgtEl>
                                      </p:cBhvr>
                                    </p:animEffect>
                                  </p:childTnLst>
                                </p:cTn>
                              </p:par>
                            </p:childTnLst>
                          </p:cTn>
                        </p:par>
                        <p:par>
                          <p:cTn id="34" fill="hold">
                            <p:stCondLst>
                              <p:cond delay="5500"/>
                            </p:stCondLst>
                            <p:childTnLst>
                              <p:par>
                                <p:cTn id="35" presetID="22" presetClass="entr" presetSubtype="8" fill="hold" grpId="0"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left)">
                                      <p:cBhvr>
                                        <p:cTn id="37" dur="500"/>
                                        <p:tgtEl>
                                          <p:spTgt spid="32"/>
                                        </p:tgtEl>
                                      </p:cBhvr>
                                    </p:animEffect>
                                  </p:childTnLst>
                                </p:cTn>
                              </p:par>
                            </p:childTnLst>
                          </p:cTn>
                        </p:par>
                        <p:par>
                          <p:cTn id="38" fill="hold">
                            <p:stCondLst>
                              <p:cond delay="6000"/>
                            </p:stCondLst>
                            <p:childTnLst>
                              <p:par>
                                <p:cTn id="39" presetID="22" presetClass="entr" presetSubtype="8" fill="hold" grpId="0" nodeType="after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left)">
                                      <p:cBhvr>
                                        <p:cTn id="41" dur="500"/>
                                        <p:tgtEl>
                                          <p:spTgt spid="38"/>
                                        </p:tgtEl>
                                      </p:cBhvr>
                                    </p:animEffect>
                                  </p:childTnLst>
                                </p:cTn>
                              </p:par>
                            </p:childTnLst>
                          </p:cTn>
                        </p:par>
                        <p:par>
                          <p:cTn id="42" fill="hold">
                            <p:stCondLst>
                              <p:cond delay="6500"/>
                            </p:stCondLst>
                            <p:childTnLst>
                              <p:par>
                                <p:cTn id="43" presetID="22" presetClass="entr" presetSubtype="8" fill="hold" grpId="0" nodeType="after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wipe(left)">
                                      <p:cBhvr>
                                        <p:cTn id="45" dur="750"/>
                                        <p:tgtEl>
                                          <p:spTgt spid="33"/>
                                        </p:tgtEl>
                                      </p:cBhvr>
                                    </p:animEffect>
                                  </p:childTnLst>
                                </p:cTn>
                              </p:par>
                            </p:childTnLst>
                          </p:cTn>
                        </p:par>
                        <p:par>
                          <p:cTn id="46" fill="hold">
                            <p:stCondLst>
                              <p:cond delay="7500"/>
                            </p:stCondLst>
                            <p:childTnLst>
                              <p:par>
                                <p:cTn id="47" presetID="22" presetClass="entr" presetSubtype="8" fill="hold" grpId="0" nodeType="after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wipe(left)">
                                      <p:cBhvr>
                                        <p:cTn id="49" dur="500"/>
                                        <p:tgtEl>
                                          <p:spTgt spid="39"/>
                                        </p:tgtEl>
                                      </p:cBhvr>
                                    </p:animEffect>
                                  </p:childTnLst>
                                </p:cTn>
                              </p:par>
                            </p:childTnLst>
                          </p:cTn>
                        </p:par>
                        <p:par>
                          <p:cTn id="50" fill="hold">
                            <p:stCondLst>
                              <p:cond delay="8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childTnLst>
                          </p:cTn>
                        </p:par>
                        <p:par>
                          <p:cTn id="54" fill="hold">
                            <p:stCondLst>
                              <p:cond delay="8500"/>
                            </p:stCondLst>
                            <p:childTnLst>
                              <p:par>
                                <p:cTn id="55" presetID="12" presetClass="entr" presetSubtype="4" fill="hold" grpId="0" nodeType="after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slide(fromBottom)">
                                      <p:cBhvr>
                                        <p:cTn id="57" dur="500"/>
                                        <p:tgtEl>
                                          <p:spTgt spid="40"/>
                                        </p:tgtEl>
                                      </p:cBhvr>
                                    </p:animEffect>
                                  </p:childTnLst>
                                </p:cTn>
                              </p:par>
                            </p:childTnLst>
                          </p:cTn>
                        </p:par>
                        <p:par>
                          <p:cTn id="58" fill="hold">
                            <p:stCondLst>
                              <p:cond delay="9000"/>
                            </p:stCondLst>
                            <p:childTnLst>
                              <p:par>
                                <p:cTn id="59" presetID="12" presetClass="entr" presetSubtype="4" fill="hold" grpId="0" nodeType="afterEffect">
                                  <p:stCondLst>
                                    <p:cond delay="0"/>
                                  </p:stCondLst>
                                  <p:childTnLst>
                                    <p:set>
                                      <p:cBhvr>
                                        <p:cTn id="60" dur="1" fill="hold">
                                          <p:stCondLst>
                                            <p:cond delay="0"/>
                                          </p:stCondLst>
                                        </p:cTn>
                                        <p:tgtEl>
                                          <p:spTgt spid="41"/>
                                        </p:tgtEl>
                                        <p:attrNameLst>
                                          <p:attrName>style.visibility</p:attrName>
                                        </p:attrNameLst>
                                      </p:cBhvr>
                                      <p:to>
                                        <p:strVal val="visible"/>
                                      </p:to>
                                    </p:set>
                                    <p:animEffect transition="in" filter="slide(fromBottom)">
                                      <p:cBhvr>
                                        <p:cTn id="61" dur="500"/>
                                        <p:tgtEl>
                                          <p:spTgt spid="41"/>
                                        </p:tgtEl>
                                      </p:cBhvr>
                                    </p:animEffect>
                                  </p:childTnLst>
                                </p:cTn>
                              </p:par>
                            </p:childTnLst>
                          </p:cTn>
                        </p:par>
                        <p:par>
                          <p:cTn id="62" fill="hold">
                            <p:stCondLst>
                              <p:cond delay="9500"/>
                            </p:stCondLst>
                            <p:childTnLst>
                              <p:par>
                                <p:cTn id="63" presetID="12" presetClass="entr" presetSubtype="4"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slide(fromBottom)">
                                      <p:cBhvr>
                                        <p:cTn id="65" dur="500"/>
                                        <p:tgtEl>
                                          <p:spTgt spid="42"/>
                                        </p:tgtEl>
                                      </p:cBhvr>
                                    </p:animEffect>
                                  </p:childTnLst>
                                </p:cTn>
                              </p:par>
                            </p:childTnLst>
                          </p:cTn>
                        </p:par>
                        <p:par>
                          <p:cTn id="66" fill="hold">
                            <p:stCondLst>
                              <p:cond delay="10000"/>
                            </p:stCondLst>
                            <p:childTnLst>
                              <p:par>
                                <p:cTn id="67" presetID="12" presetClass="entr" presetSubtype="4" fill="hold" grpId="0" nodeType="afterEffect">
                                  <p:stCondLst>
                                    <p:cond delay="0"/>
                                  </p:stCondLst>
                                  <p:childTnLst>
                                    <p:set>
                                      <p:cBhvr>
                                        <p:cTn id="68" dur="1" fill="hold">
                                          <p:stCondLst>
                                            <p:cond delay="0"/>
                                          </p:stCondLst>
                                        </p:cTn>
                                        <p:tgtEl>
                                          <p:spTgt spid="43"/>
                                        </p:tgtEl>
                                        <p:attrNameLst>
                                          <p:attrName>style.visibility</p:attrName>
                                        </p:attrNameLst>
                                      </p:cBhvr>
                                      <p:to>
                                        <p:strVal val="visible"/>
                                      </p:to>
                                    </p:set>
                                    <p:animEffect transition="in" filter="slide(fromBottom)">
                                      <p:cBhvr>
                                        <p:cTn id="69" dur="500"/>
                                        <p:tgtEl>
                                          <p:spTgt spid="43"/>
                                        </p:tgtEl>
                                      </p:cBhvr>
                                    </p:animEffect>
                                  </p:childTnLst>
                                </p:cTn>
                              </p:par>
                            </p:childTnLst>
                          </p:cTn>
                        </p:par>
                        <p:par>
                          <p:cTn id="70" fill="hold">
                            <p:stCondLst>
                              <p:cond delay="10500"/>
                            </p:stCondLst>
                            <p:childTnLst>
                              <p:par>
                                <p:cTn id="71" presetID="12" presetClass="entr" presetSubtype="4" fill="hold" grpId="0" nodeType="afterEffect">
                                  <p:stCondLst>
                                    <p:cond delay="0"/>
                                  </p:stCondLst>
                                  <p:childTnLst>
                                    <p:set>
                                      <p:cBhvr>
                                        <p:cTn id="72" dur="1" fill="hold">
                                          <p:stCondLst>
                                            <p:cond delay="0"/>
                                          </p:stCondLst>
                                        </p:cTn>
                                        <p:tgtEl>
                                          <p:spTgt spid="44"/>
                                        </p:tgtEl>
                                        <p:attrNameLst>
                                          <p:attrName>style.visibility</p:attrName>
                                        </p:attrNameLst>
                                      </p:cBhvr>
                                      <p:to>
                                        <p:strVal val="visible"/>
                                      </p:to>
                                    </p:set>
                                    <p:animEffect transition="in" filter="slide(fromBottom)">
                                      <p:cBhvr>
                                        <p:cTn id="7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p:bldP spid="31" grpId="0" animBg="1"/>
      <p:bldP spid="32" grpId="0" animBg="1"/>
      <p:bldP spid="33" grpId="0" animBg="1"/>
      <p:bldP spid="35" grpId="0" animBg="1"/>
      <p:bldP spid="36" grpId="0"/>
      <p:bldP spid="37" grpId="0"/>
      <p:bldP spid="38" grpId="0"/>
      <p:bldP spid="39" grpId="0"/>
      <p:bldP spid="40" grpId="0"/>
      <p:bldP spid="41" grpId="0"/>
      <p:bldP spid="42" grpId="0"/>
      <p:bldP spid="43" grpId="0"/>
      <p:bldP spid="4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827584" y="1059582"/>
            <a:ext cx="2336800" cy="3687763"/>
            <a:chOff x="827584" y="771550"/>
            <a:chExt cx="2336800" cy="3687763"/>
          </a:xfrm>
        </p:grpSpPr>
        <p:sp>
          <p:nvSpPr>
            <p:cNvPr id="2" name="AutoShape 9"/>
            <p:cNvSpPr>
              <a:spLocks noChangeArrowheads="1"/>
            </p:cNvSpPr>
            <p:nvPr/>
          </p:nvSpPr>
          <p:spPr bwMode="auto">
            <a:xfrm>
              <a:off x="827584" y="771550"/>
              <a:ext cx="2336800" cy="3687763"/>
            </a:xfrm>
            <a:prstGeom prst="roundRect">
              <a:avLst>
                <a:gd name="adj" fmla="val 4181"/>
              </a:avLst>
            </a:prstGeom>
            <a:solidFill>
              <a:schemeClr val="tx1">
                <a:lumMod val="75000"/>
              </a:schemeClr>
            </a:solidFill>
            <a:ln>
              <a:noFill/>
            </a:ln>
            <a:effectLst>
              <a:outerShdw dist="35921" dir="2700000" algn="ctr" rotWithShape="0">
                <a:schemeClr val="tx1">
                  <a:alpha val="50000"/>
                </a:schemeClr>
              </a:outerShdw>
            </a:effectLst>
            <a:extLst>
              <a:ext uri="{91240B29-F687-4F45-9708-019B960494DF}">
                <a14:hiddenLine xmlns:a14="http://schemas.microsoft.com/office/drawing/2010/main" w="9525">
                  <a:solidFill>
                    <a:schemeClr val="tx1"/>
                  </a:solidFill>
                  <a:round/>
                </a14:hiddenLine>
              </a:ext>
            </a:extLst>
          </p:spPr>
          <p:txBody>
            <a:bodyPr wrap="none" anchor="ctr"/>
            <a:lstStyle/>
            <a:p>
              <a:pPr algn="ctr">
                <a:defRPr/>
              </a:pPr>
              <a:endParaRPr lang="ko-KR" altLang="en-US">
                <a:solidFill>
                  <a:srgbClr val="000000"/>
                </a:solidFill>
                <a:latin typeface="굴림" pitchFamily="50" charset="-127"/>
                <a:ea typeface="굴림" pitchFamily="50" charset="-127"/>
              </a:endParaRPr>
            </a:p>
          </p:txBody>
        </p:sp>
        <p:sp>
          <p:nvSpPr>
            <p:cNvPr id="3" name="AutoShape 19"/>
            <p:cNvSpPr>
              <a:spLocks noChangeArrowheads="1"/>
            </p:cNvSpPr>
            <p:nvPr/>
          </p:nvSpPr>
          <p:spPr bwMode="auto">
            <a:xfrm>
              <a:off x="845046" y="808063"/>
              <a:ext cx="2282825" cy="311150"/>
            </a:xfrm>
            <a:prstGeom prst="roundRect">
              <a:avLst>
                <a:gd name="adj" fmla="val 25981"/>
              </a:avLst>
            </a:prstGeom>
            <a:gradFill rotWithShape="1">
              <a:gsLst>
                <a:gs pos="0">
                  <a:srgbClr val="FFFFFF">
                    <a:alpha val="50000"/>
                  </a:srgbClr>
                </a:gs>
                <a:gs pos="100000">
                  <a:srgbClr val="FFFFFF">
                    <a:gamma/>
                    <a:shade val="46275"/>
                    <a:invGamma/>
                    <a:alpha val="0"/>
                  </a:srgbClr>
                </a:gs>
              </a:gsLst>
              <a:lin ang="5400000" scaled="1"/>
            </a:gra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a:endParaRPr lang="zh-CN" altLang="en-US">
                <a:solidFill>
                  <a:srgbClr val="000000"/>
                </a:solidFill>
              </a:endParaRPr>
            </a:p>
          </p:txBody>
        </p:sp>
      </p:grpSp>
      <p:grpSp>
        <p:nvGrpSpPr>
          <p:cNvPr id="23" name="组合 22"/>
          <p:cNvGrpSpPr/>
          <p:nvPr/>
        </p:nvGrpSpPr>
        <p:grpSpPr>
          <a:xfrm>
            <a:off x="3492996" y="1059582"/>
            <a:ext cx="2336800" cy="3687763"/>
            <a:chOff x="3492996" y="771550"/>
            <a:chExt cx="2336800" cy="3687763"/>
          </a:xfrm>
        </p:grpSpPr>
        <p:sp>
          <p:nvSpPr>
            <p:cNvPr id="4" name="AutoShape 9"/>
            <p:cNvSpPr>
              <a:spLocks noChangeArrowheads="1"/>
            </p:cNvSpPr>
            <p:nvPr/>
          </p:nvSpPr>
          <p:spPr bwMode="auto">
            <a:xfrm>
              <a:off x="3492996" y="771550"/>
              <a:ext cx="2336800" cy="3687763"/>
            </a:xfrm>
            <a:prstGeom prst="roundRect">
              <a:avLst>
                <a:gd name="adj" fmla="val 4181"/>
              </a:avLst>
            </a:prstGeom>
            <a:solidFill>
              <a:srgbClr val="03A550"/>
            </a:solidFill>
            <a:ln>
              <a:noFill/>
            </a:ln>
            <a:effectLst>
              <a:outerShdw dist="35921" dir="2700000" algn="ctr" rotWithShape="0">
                <a:schemeClr val="tx1">
                  <a:alpha val="50000"/>
                </a:schemeClr>
              </a:outerShdw>
            </a:effectLst>
          </p:spPr>
          <p:txBody>
            <a:bodyPr wrap="none" anchor="ctr"/>
            <a:lstStyle/>
            <a:p>
              <a:pPr algn="ctr">
                <a:defRPr/>
              </a:pPr>
              <a:endParaRPr lang="ko-KR" altLang="en-US">
                <a:solidFill>
                  <a:srgbClr val="000000"/>
                </a:solidFill>
                <a:latin typeface="굴림" pitchFamily="50" charset="-127"/>
                <a:ea typeface="굴림" pitchFamily="50" charset="-127"/>
              </a:endParaRPr>
            </a:p>
          </p:txBody>
        </p:sp>
        <p:sp>
          <p:nvSpPr>
            <p:cNvPr id="5" name="AutoShape 19"/>
            <p:cNvSpPr>
              <a:spLocks noChangeArrowheads="1"/>
            </p:cNvSpPr>
            <p:nvPr/>
          </p:nvSpPr>
          <p:spPr bwMode="auto">
            <a:xfrm>
              <a:off x="3529509" y="808063"/>
              <a:ext cx="2263775" cy="311150"/>
            </a:xfrm>
            <a:prstGeom prst="roundRect">
              <a:avLst>
                <a:gd name="adj" fmla="val 25981"/>
              </a:avLst>
            </a:prstGeom>
            <a:gradFill rotWithShape="1">
              <a:gsLst>
                <a:gs pos="0">
                  <a:srgbClr val="FFFFFF">
                    <a:alpha val="50000"/>
                  </a:srgbClr>
                </a:gs>
                <a:gs pos="100000">
                  <a:srgbClr val="FFFFFF">
                    <a:gamma/>
                    <a:shade val="46275"/>
                    <a:invGamma/>
                    <a:alpha val="0"/>
                  </a:srgbClr>
                </a:gs>
              </a:gsLst>
              <a:lin ang="5400000" scaled="1"/>
            </a:gradFill>
            <a:ln>
              <a:noFill/>
            </a:ln>
            <a:effectLst/>
            <a:extLst>
              <a:ext uri="{91240B29-F687-4F45-9708-019B960494DF}">
                <a14:hiddenLine xmlns:a14="http://schemas.microsoft.com/office/drawing/2010/main" w="12700">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a:endParaRPr lang="zh-CN" altLang="en-US">
                <a:solidFill>
                  <a:srgbClr val="000000"/>
                </a:solidFill>
              </a:endParaRPr>
            </a:p>
          </p:txBody>
        </p:sp>
      </p:grpSp>
      <p:grpSp>
        <p:nvGrpSpPr>
          <p:cNvPr id="24" name="组合 23"/>
          <p:cNvGrpSpPr/>
          <p:nvPr/>
        </p:nvGrpSpPr>
        <p:grpSpPr>
          <a:xfrm>
            <a:off x="6158409" y="1059582"/>
            <a:ext cx="2336800" cy="3687763"/>
            <a:chOff x="6158409" y="771550"/>
            <a:chExt cx="2336800" cy="3687763"/>
          </a:xfrm>
        </p:grpSpPr>
        <p:sp>
          <p:nvSpPr>
            <p:cNvPr id="6" name="AutoShape 9"/>
            <p:cNvSpPr>
              <a:spLocks noChangeArrowheads="1"/>
            </p:cNvSpPr>
            <p:nvPr/>
          </p:nvSpPr>
          <p:spPr bwMode="auto">
            <a:xfrm>
              <a:off x="6158409" y="771550"/>
              <a:ext cx="2336800" cy="3687763"/>
            </a:xfrm>
            <a:prstGeom prst="roundRect">
              <a:avLst>
                <a:gd name="adj" fmla="val 4181"/>
              </a:avLst>
            </a:prstGeom>
            <a:solidFill>
              <a:schemeClr val="bg2"/>
            </a:solidFill>
            <a:ln>
              <a:noFill/>
            </a:ln>
            <a:effectLst>
              <a:outerShdw dist="35921" dir="2700000" algn="ctr" rotWithShape="0">
                <a:schemeClr val="tx1">
                  <a:alpha val="50000"/>
                </a:schemeClr>
              </a:outerShdw>
            </a:effectLst>
            <a:extLst>
              <a:ext uri="{91240B29-F687-4F45-9708-019B960494DF}">
                <a14:hiddenLine xmlns:a14="http://schemas.microsoft.com/office/drawing/2010/main" w="9525">
                  <a:solidFill>
                    <a:schemeClr val="tx1"/>
                  </a:solidFill>
                  <a:round/>
                </a14:hiddenLine>
              </a:ext>
            </a:extLst>
          </p:spPr>
          <p:txBody>
            <a:bodyPr wrap="none" anchor="ctr"/>
            <a:lstStyle/>
            <a:p>
              <a:pPr algn="ctr">
                <a:defRPr/>
              </a:pPr>
              <a:endParaRPr lang="ko-KR" altLang="en-US">
                <a:solidFill>
                  <a:srgbClr val="000000"/>
                </a:solidFill>
                <a:latin typeface="굴림" pitchFamily="50" charset="-127"/>
                <a:ea typeface="굴림" pitchFamily="50" charset="-127"/>
              </a:endParaRPr>
            </a:p>
          </p:txBody>
        </p:sp>
        <p:sp>
          <p:nvSpPr>
            <p:cNvPr id="7" name="AutoShape 19"/>
            <p:cNvSpPr>
              <a:spLocks noChangeArrowheads="1"/>
            </p:cNvSpPr>
            <p:nvPr/>
          </p:nvSpPr>
          <p:spPr bwMode="auto">
            <a:xfrm>
              <a:off x="6194921" y="808063"/>
              <a:ext cx="2282825" cy="311150"/>
            </a:xfrm>
            <a:prstGeom prst="roundRect">
              <a:avLst>
                <a:gd name="adj" fmla="val 25981"/>
              </a:avLst>
            </a:prstGeom>
            <a:gradFill rotWithShape="1">
              <a:gsLst>
                <a:gs pos="0">
                  <a:srgbClr val="FFFFFF">
                    <a:alpha val="75000"/>
                  </a:srgbClr>
                </a:gs>
                <a:gs pos="100000">
                  <a:srgbClr val="FFFFFF">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ctr"/>
              <a:endParaRPr lang="zh-CN" altLang="en-US">
                <a:solidFill>
                  <a:srgbClr val="000000"/>
                </a:solidFill>
              </a:endParaRPr>
            </a:p>
          </p:txBody>
        </p:sp>
      </p:grpSp>
      <p:cxnSp>
        <p:nvCxnSpPr>
          <p:cNvPr id="8" name="직선 화살표 연결선 82"/>
          <p:cNvCxnSpPr/>
          <p:nvPr/>
        </p:nvCxnSpPr>
        <p:spPr>
          <a:xfrm>
            <a:off x="2945309" y="4525095"/>
            <a:ext cx="876300" cy="1587"/>
          </a:xfrm>
          <a:prstGeom prst="straightConnector1">
            <a:avLst/>
          </a:prstGeom>
          <a:ln w="76200">
            <a:solidFill>
              <a:schemeClr val="accent1">
                <a:lumMod val="75000"/>
              </a:schemeClr>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직선 화살표 연결선 85"/>
          <p:cNvCxnSpPr/>
          <p:nvPr/>
        </p:nvCxnSpPr>
        <p:spPr>
          <a:xfrm>
            <a:off x="5610721" y="4525095"/>
            <a:ext cx="876300" cy="1587"/>
          </a:xfrm>
          <a:prstGeom prst="straightConnector1">
            <a:avLst/>
          </a:prstGeom>
          <a:ln w="76200">
            <a:solidFill>
              <a:schemeClr val="accent1">
                <a:lumMod val="75000"/>
              </a:schemeClr>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직선 연결선 225"/>
          <p:cNvCxnSpPr/>
          <p:nvPr/>
        </p:nvCxnSpPr>
        <p:spPr>
          <a:xfrm>
            <a:off x="827584" y="2151782"/>
            <a:ext cx="2336800" cy="158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 name="직선 연결선 231"/>
          <p:cNvCxnSpPr/>
          <p:nvPr/>
        </p:nvCxnSpPr>
        <p:spPr>
          <a:xfrm>
            <a:off x="3492996" y="2151782"/>
            <a:ext cx="2336800" cy="158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직선 연결선 232"/>
          <p:cNvCxnSpPr/>
          <p:nvPr/>
        </p:nvCxnSpPr>
        <p:spPr>
          <a:xfrm>
            <a:off x="6158409" y="2151782"/>
            <a:ext cx="2336800" cy="158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9" name="WordArt 24"/>
          <p:cNvSpPr>
            <a:spLocks noChangeArrowheads="1" noChangeShapeType="1" noTextEdit="1"/>
          </p:cNvSpPr>
          <p:nvPr/>
        </p:nvSpPr>
        <p:spPr bwMode="auto">
          <a:xfrm>
            <a:off x="1421309" y="1385020"/>
            <a:ext cx="1116012" cy="395287"/>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b="1" kern="10" spc="-90" dirty="0">
                <a:solidFill>
                  <a:schemeClr val="tx1">
                    <a:alpha val="50000"/>
                  </a:schemeClr>
                </a:solidFill>
                <a:latin typeface="Times New Roman" panose="02020603050405020304"/>
                <a:cs typeface="Times New Roman" panose="02020603050405020304"/>
              </a:rPr>
              <a:t>2011</a:t>
            </a:r>
            <a:endParaRPr lang="zh-CN" altLang="en-US" b="1" kern="10" spc="-90" dirty="0">
              <a:solidFill>
                <a:schemeClr val="tx1">
                  <a:alpha val="50000"/>
                </a:schemeClr>
              </a:solidFill>
              <a:latin typeface="Times New Roman" panose="02020603050405020304"/>
              <a:cs typeface="Times New Roman" panose="02020603050405020304"/>
            </a:endParaRPr>
          </a:p>
        </p:txBody>
      </p:sp>
      <p:sp>
        <p:nvSpPr>
          <p:cNvPr id="20" name="WordArt 25"/>
          <p:cNvSpPr>
            <a:spLocks noChangeArrowheads="1" noChangeShapeType="1" noTextEdit="1"/>
          </p:cNvSpPr>
          <p:nvPr/>
        </p:nvSpPr>
        <p:spPr bwMode="auto">
          <a:xfrm>
            <a:off x="4085134" y="1385020"/>
            <a:ext cx="1116012" cy="395287"/>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b="1" kern="10" spc="-90" dirty="0">
                <a:solidFill>
                  <a:schemeClr val="tx1">
                    <a:alpha val="50000"/>
                  </a:schemeClr>
                </a:solidFill>
                <a:latin typeface="Times New Roman" panose="02020603050405020304"/>
                <a:cs typeface="Times New Roman" panose="02020603050405020304"/>
              </a:rPr>
              <a:t>2012</a:t>
            </a:r>
            <a:endParaRPr lang="zh-CN" altLang="en-US" b="1" kern="10" spc="-90" dirty="0">
              <a:solidFill>
                <a:schemeClr val="tx1">
                  <a:alpha val="50000"/>
                </a:schemeClr>
              </a:solidFill>
              <a:latin typeface="Times New Roman" panose="02020603050405020304"/>
              <a:cs typeface="Times New Roman" panose="02020603050405020304"/>
            </a:endParaRPr>
          </a:p>
        </p:txBody>
      </p:sp>
      <p:sp>
        <p:nvSpPr>
          <p:cNvPr id="21" name="WordArt 26"/>
          <p:cNvSpPr>
            <a:spLocks noChangeArrowheads="1" noChangeShapeType="1" noTextEdit="1"/>
          </p:cNvSpPr>
          <p:nvPr/>
        </p:nvSpPr>
        <p:spPr bwMode="auto">
          <a:xfrm>
            <a:off x="6785471" y="1385020"/>
            <a:ext cx="1116013" cy="395287"/>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US" altLang="zh-CN" b="1" kern="10" spc="-90" dirty="0">
                <a:solidFill>
                  <a:schemeClr val="tx1">
                    <a:alpha val="50000"/>
                  </a:schemeClr>
                </a:solidFill>
                <a:latin typeface="Times New Roman" panose="02020603050405020304"/>
                <a:cs typeface="Times New Roman" panose="02020603050405020304"/>
              </a:rPr>
              <a:t>2013</a:t>
            </a:r>
            <a:endParaRPr lang="zh-CN" altLang="en-US" b="1" kern="10" spc="-90" dirty="0">
              <a:solidFill>
                <a:schemeClr val="tx1">
                  <a:alpha val="50000"/>
                </a:schemeClr>
              </a:solidFill>
              <a:latin typeface="Times New Roman" panose="02020603050405020304"/>
              <a:cs typeface="Times New Roman" panose="02020603050405020304"/>
            </a:endParaRPr>
          </a:p>
        </p:txBody>
      </p:sp>
      <p:sp>
        <p:nvSpPr>
          <p:cNvPr id="25" name="Text Box 45"/>
          <p:cNvSpPr txBox="1">
            <a:spLocks noChangeArrowheads="1"/>
          </p:cNvSpPr>
          <p:nvPr/>
        </p:nvSpPr>
        <p:spPr bwMode="auto">
          <a:xfrm>
            <a:off x="1000795" y="2573491"/>
            <a:ext cx="2016448" cy="153888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zh-CN" sz="1400" b="1" dirty="0">
              <a:solidFill>
                <a:schemeClr val="tx2">
                  <a:lumMod val="50000"/>
                </a:schemeClr>
              </a:solidFill>
              <a:latin typeface="微软雅黑" panose="020B0503020204020204" pitchFamily="34" charset="-122"/>
              <a:ea typeface="微软雅黑" panose="020B0503020204020204" pitchFamily="34" charset="-122"/>
            </a:endParaRPr>
          </a:p>
          <a:p>
            <a:endParaRPr lang="en-US" altLang="ko-KR" sz="14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26" name="Text Box 45"/>
          <p:cNvSpPr txBox="1">
            <a:spLocks noChangeArrowheads="1"/>
          </p:cNvSpPr>
          <p:nvPr/>
        </p:nvSpPr>
        <p:spPr bwMode="auto">
          <a:xfrm>
            <a:off x="3635672" y="2573491"/>
            <a:ext cx="2016448" cy="153888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latin typeface="微软雅黑" panose="020B0503020204020204" pitchFamily="34" charset="-122"/>
                <a:ea typeface="微软雅黑" panose="020B0503020204020204" pitchFamily="34" charset="-122"/>
              </a:rPr>
              <a:t>单击填加标题</a:t>
            </a:r>
            <a:endParaRPr lang="en-US" altLang="zh-CN" sz="1400" b="1" dirty="0">
              <a:latin typeface="微软雅黑" panose="020B0503020204020204" pitchFamily="34" charset="-122"/>
              <a:ea typeface="微软雅黑" panose="020B0503020204020204" pitchFamily="34" charset="-122"/>
            </a:endParaRPr>
          </a:p>
          <a:p>
            <a:endParaRPr lang="en-US" altLang="ko-KR" sz="1400" b="1" dirty="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latin typeface="微软雅黑" panose="020B0503020204020204" pitchFamily="34" charset="-122"/>
              <a:ea typeface="微软雅黑" panose="020B0503020204020204" pitchFamily="34" charset="-122"/>
            </a:endParaRPr>
          </a:p>
        </p:txBody>
      </p:sp>
      <p:sp>
        <p:nvSpPr>
          <p:cNvPr id="27" name="Text Box 45"/>
          <p:cNvSpPr txBox="1">
            <a:spLocks noChangeArrowheads="1"/>
          </p:cNvSpPr>
          <p:nvPr/>
        </p:nvSpPr>
        <p:spPr bwMode="auto">
          <a:xfrm>
            <a:off x="6318585" y="2573491"/>
            <a:ext cx="2016448" cy="153888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latin typeface="微软雅黑" panose="020B0503020204020204" pitchFamily="34" charset="-122"/>
                <a:ea typeface="微软雅黑" panose="020B0503020204020204" pitchFamily="34" charset="-122"/>
              </a:rPr>
              <a:t>单击填加标题</a:t>
            </a:r>
            <a:endParaRPr lang="en-US" altLang="zh-CN" sz="1400" b="1" dirty="0">
              <a:latin typeface="微软雅黑" panose="020B0503020204020204" pitchFamily="34" charset="-122"/>
              <a:ea typeface="微软雅黑" panose="020B0503020204020204" pitchFamily="34" charset="-122"/>
            </a:endParaRPr>
          </a:p>
          <a:p>
            <a:endParaRPr lang="en-US" altLang="ko-KR" sz="1400" b="1" dirty="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latin typeface="微软雅黑" panose="020B0503020204020204" pitchFamily="34" charset="-122"/>
                <a:ea typeface="微软雅黑" panose="020B0503020204020204" pitchFamily="34" charset="-122"/>
              </a:rPr>
              <a:t>点击添加文本点击添加文本</a:t>
            </a:r>
            <a:endParaRPr lang="en-US" altLang="zh-CN" sz="1100" spc="50" dirty="0">
              <a:ln w="11430"/>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endParaRPr lang="en-US" altLang="zh-CN" sz="1100" spc="50" dirty="0">
              <a:ln w="11430"/>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000"/>
                                        <p:tgtEl>
                                          <p:spTgt spid="22"/>
                                        </p:tgtEl>
                                      </p:cBhvr>
                                    </p:animEffect>
                                    <p:anim calcmode="lin" valueType="num">
                                      <p:cBhvr>
                                        <p:cTn id="8" dur="1000" fill="hold"/>
                                        <p:tgtEl>
                                          <p:spTgt spid="22"/>
                                        </p:tgtEl>
                                        <p:attrNameLst>
                                          <p:attrName>ppt_x</p:attrName>
                                        </p:attrNameLst>
                                      </p:cBhvr>
                                      <p:tavLst>
                                        <p:tav tm="0">
                                          <p:val>
                                            <p:strVal val="#ppt_x"/>
                                          </p:val>
                                        </p:tav>
                                        <p:tav tm="100000">
                                          <p:val>
                                            <p:strVal val="#ppt_x"/>
                                          </p:val>
                                        </p:tav>
                                      </p:tavLst>
                                    </p:anim>
                                    <p:anim calcmode="lin" valueType="num">
                                      <p:cBhvr>
                                        <p:cTn id="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500"/>
                            </p:stCondLst>
                            <p:childTnLst>
                              <p:par>
                                <p:cTn id="21" presetID="42" presetClass="entr" presetSubtype="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750"/>
                                        <p:tgtEl>
                                          <p:spTgt spid="25"/>
                                        </p:tgtEl>
                                      </p:cBhvr>
                                    </p:animEffect>
                                    <p:anim calcmode="lin" valueType="num">
                                      <p:cBhvr>
                                        <p:cTn id="24" dur="750" fill="hold"/>
                                        <p:tgtEl>
                                          <p:spTgt spid="25"/>
                                        </p:tgtEl>
                                        <p:attrNameLst>
                                          <p:attrName>ppt_x</p:attrName>
                                        </p:attrNameLst>
                                      </p:cBhvr>
                                      <p:tavLst>
                                        <p:tav tm="0">
                                          <p:val>
                                            <p:strVal val="#ppt_x"/>
                                          </p:val>
                                        </p:tav>
                                        <p:tav tm="100000">
                                          <p:val>
                                            <p:strVal val="#ppt_x"/>
                                          </p:val>
                                        </p:tav>
                                      </p:tavLst>
                                    </p:anim>
                                    <p:anim calcmode="lin" valueType="num">
                                      <p:cBhvr>
                                        <p:cTn id="25" dur="75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ipe(left)">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1000"/>
                                        <p:tgtEl>
                                          <p:spTgt spid="23"/>
                                        </p:tgtEl>
                                      </p:cBhvr>
                                    </p:animEffect>
                                    <p:anim calcmode="lin" valueType="num">
                                      <p:cBhvr>
                                        <p:cTn id="36" dur="1000" fill="hold"/>
                                        <p:tgtEl>
                                          <p:spTgt spid="23"/>
                                        </p:tgtEl>
                                        <p:attrNameLst>
                                          <p:attrName>ppt_x</p:attrName>
                                        </p:attrNameLst>
                                      </p:cBhvr>
                                      <p:tavLst>
                                        <p:tav tm="0">
                                          <p:val>
                                            <p:strVal val="#ppt_x"/>
                                          </p:val>
                                        </p:tav>
                                        <p:tav tm="100000">
                                          <p:val>
                                            <p:strVal val="#ppt_x"/>
                                          </p:val>
                                        </p:tav>
                                      </p:tavLst>
                                    </p:anim>
                                    <p:anim calcmode="lin" valueType="num">
                                      <p:cBhvr>
                                        <p:cTn id="3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wipe(left)">
                                      <p:cBhvr>
                                        <p:cTn id="42" dur="500"/>
                                        <p:tgtEl>
                                          <p:spTgt spid="2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par>
                          <p:cTn id="48" fill="hold">
                            <p:stCondLst>
                              <p:cond delay="500"/>
                            </p:stCondLst>
                            <p:childTnLst>
                              <p:par>
                                <p:cTn id="49" presetID="42" presetClass="entr" presetSubtype="0" fill="hold" grpId="0" nodeType="after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750"/>
                                        <p:tgtEl>
                                          <p:spTgt spid="26"/>
                                        </p:tgtEl>
                                      </p:cBhvr>
                                    </p:animEffect>
                                    <p:anim calcmode="lin" valueType="num">
                                      <p:cBhvr>
                                        <p:cTn id="52" dur="750" fill="hold"/>
                                        <p:tgtEl>
                                          <p:spTgt spid="26"/>
                                        </p:tgtEl>
                                        <p:attrNameLst>
                                          <p:attrName>ppt_x</p:attrName>
                                        </p:attrNameLst>
                                      </p:cBhvr>
                                      <p:tavLst>
                                        <p:tav tm="0">
                                          <p:val>
                                            <p:strVal val="#ppt_x"/>
                                          </p:val>
                                        </p:tav>
                                        <p:tav tm="100000">
                                          <p:val>
                                            <p:strVal val="#ppt_x"/>
                                          </p:val>
                                        </p:tav>
                                      </p:tavLst>
                                    </p:anim>
                                    <p:anim calcmode="lin" valueType="num">
                                      <p:cBhvr>
                                        <p:cTn id="53" dur="75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left)">
                                      <p:cBhvr>
                                        <p:cTn id="58" dur="500"/>
                                        <p:tgtEl>
                                          <p:spTgt spid="9"/>
                                        </p:tgtEl>
                                      </p:cBhvr>
                                    </p:animEffect>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1000"/>
                                        <p:tgtEl>
                                          <p:spTgt spid="24"/>
                                        </p:tgtEl>
                                      </p:cBhvr>
                                    </p:animEffect>
                                    <p:anim calcmode="lin" valueType="num">
                                      <p:cBhvr>
                                        <p:cTn id="64" dur="1000" fill="hold"/>
                                        <p:tgtEl>
                                          <p:spTgt spid="24"/>
                                        </p:tgtEl>
                                        <p:attrNameLst>
                                          <p:attrName>ppt_x</p:attrName>
                                        </p:attrNameLst>
                                      </p:cBhvr>
                                      <p:tavLst>
                                        <p:tav tm="0">
                                          <p:val>
                                            <p:strVal val="#ppt_x"/>
                                          </p:val>
                                        </p:tav>
                                        <p:tav tm="100000">
                                          <p:val>
                                            <p:strVal val="#ppt_x"/>
                                          </p:val>
                                        </p:tav>
                                      </p:tavLst>
                                    </p:anim>
                                    <p:anim calcmode="lin" valueType="num">
                                      <p:cBhvr>
                                        <p:cTn id="65"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grpId="0" nodeType="click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wipe(left)">
                                      <p:cBhvr>
                                        <p:cTn id="70" dur="500"/>
                                        <p:tgtEl>
                                          <p:spTgt spid="21"/>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12"/>
                                        </p:tgtEl>
                                        <p:attrNameLst>
                                          <p:attrName>style.visibility</p:attrName>
                                        </p:attrNameLst>
                                      </p:cBhvr>
                                      <p:to>
                                        <p:strVal val="visible"/>
                                      </p:to>
                                    </p:set>
                                    <p:animEffect transition="in" filter="fade">
                                      <p:cBhvr>
                                        <p:cTn id="75" dur="500"/>
                                        <p:tgtEl>
                                          <p:spTgt spid="12"/>
                                        </p:tgtEl>
                                      </p:cBhvr>
                                    </p:animEffect>
                                  </p:childTnLst>
                                </p:cTn>
                              </p:par>
                            </p:childTnLst>
                          </p:cTn>
                        </p:par>
                        <p:par>
                          <p:cTn id="76" fill="hold">
                            <p:stCondLst>
                              <p:cond delay="500"/>
                            </p:stCondLst>
                            <p:childTnLst>
                              <p:par>
                                <p:cTn id="77" presetID="42" presetClass="entr" presetSubtype="0" fill="hold" grpId="0" nodeType="after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750"/>
                                        <p:tgtEl>
                                          <p:spTgt spid="27"/>
                                        </p:tgtEl>
                                      </p:cBhvr>
                                    </p:animEffect>
                                    <p:anim calcmode="lin" valueType="num">
                                      <p:cBhvr>
                                        <p:cTn id="80" dur="750" fill="hold"/>
                                        <p:tgtEl>
                                          <p:spTgt spid="27"/>
                                        </p:tgtEl>
                                        <p:attrNameLst>
                                          <p:attrName>ppt_x</p:attrName>
                                        </p:attrNameLst>
                                      </p:cBhvr>
                                      <p:tavLst>
                                        <p:tav tm="0">
                                          <p:val>
                                            <p:strVal val="#ppt_x"/>
                                          </p:val>
                                        </p:tav>
                                        <p:tav tm="100000">
                                          <p:val>
                                            <p:strVal val="#ppt_x"/>
                                          </p:val>
                                        </p:tav>
                                      </p:tavLst>
                                    </p:anim>
                                    <p:anim calcmode="lin" valueType="num">
                                      <p:cBhvr>
                                        <p:cTn id="81" dur="75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5" grpId="0"/>
      <p:bldP spid="26" grpId="0"/>
      <p:bldP spid="2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079500" y="3260303"/>
            <a:ext cx="7272338" cy="1292225"/>
            <a:chOff x="1079500" y="3116287"/>
            <a:chExt cx="7272338" cy="1292225"/>
          </a:xfrm>
        </p:grpSpPr>
        <p:sp>
          <p:nvSpPr>
            <p:cNvPr id="3" name="Rectangle 8"/>
            <p:cNvSpPr>
              <a:spLocks noChangeArrowheads="1"/>
            </p:cNvSpPr>
            <p:nvPr/>
          </p:nvSpPr>
          <p:spPr bwMode="auto">
            <a:xfrm>
              <a:off x="1079500" y="3924325"/>
              <a:ext cx="6624638" cy="323850"/>
            </a:xfrm>
            <a:prstGeom prst="rect">
              <a:avLst/>
            </a:prstGeom>
            <a:solidFill>
              <a:srgbClr val="808080"/>
            </a:soli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 name="Rectangle 9"/>
            <p:cNvSpPr>
              <a:spLocks noChangeArrowheads="1"/>
            </p:cNvSpPr>
            <p:nvPr/>
          </p:nvSpPr>
          <p:spPr bwMode="auto">
            <a:xfrm>
              <a:off x="1079500" y="3276625"/>
              <a:ext cx="6624638" cy="647700"/>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 name="Freeform 10"/>
            <p:cNvSpPr/>
            <p:nvPr/>
          </p:nvSpPr>
          <p:spPr bwMode="auto">
            <a:xfrm>
              <a:off x="7704138" y="3116287"/>
              <a:ext cx="647700" cy="969962"/>
            </a:xfrm>
            <a:custGeom>
              <a:avLst/>
              <a:gdLst>
                <a:gd name="T0" fmla="*/ 0 w 408"/>
                <a:gd name="T1" fmla="*/ 0 h 611"/>
                <a:gd name="T2" fmla="*/ 0 w 408"/>
                <a:gd name="T3" fmla="*/ 611 h 611"/>
                <a:gd name="T4" fmla="*/ 408 w 408"/>
                <a:gd name="T5" fmla="*/ 305 h 611"/>
                <a:gd name="T6" fmla="*/ 0 w 408"/>
                <a:gd name="T7" fmla="*/ 0 h 611"/>
              </a:gdLst>
              <a:ahLst/>
              <a:cxnLst>
                <a:cxn ang="0">
                  <a:pos x="T0" y="T1"/>
                </a:cxn>
                <a:cxn ang="0">
                  <a:pos x="T2" y="T3"/>
                </a:cxn>
                <a:cxn ang="0">
                  <a:pos x="T4" y="T5"/>
                </a:cxn>
                <a:cxn ang="0">
                  <a:pos x="T6" y="T7"/>
                </a:cxn>
              </a:cxnLst>
              <a:rect l="0" t="0" r="r" b="b"/>
              <a:pathLst>
                <a:path w="408" h="611">
                  <a:moveTo>
                    <a:pt x="0" y="0"/>
                  </a:moveTo>
                  <a:lnTo>
                    <a:pt x="0" y="611"/>
                  </a:lnTo>
                  <a:lnTo>
                    <a:pt x="408" y="305"/>
                  </a:lnTo>
                  <a:lnTo>
                    <a:pt x="0" y="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 name="Freeform 11"/>
            <p:cNvSpPr/>
            <p:nvPr/>
          </p:nvSpPr>
          <p:spPr bwMode="auto">
            <a:xfrm>
              <a:off x="7704138" y="3600475"/>
              <a:ext cx="647700" cy="808037"/>
            </a:xfrm>
            <a:custGeom>
              <a:avLst/>
              <a:gdLst>
                <a:gd name="T0" fmla="*/ 0 w 408"/>
                <a:gd name="T1" fmla="*/ 306 h 509"/>
                <a:gd name="T2" fmla="*/ 0 w 408"/>
                <a:gd name="T3" fmla="*/ 509 h 509"/>
                <a:gd name="T4" fmla="*/ 408 w 408"/>
                <a:gd name="T5" fmla="*/ 204 h 509"/>
                <a:gd name="T6" fmla="*/ 408 w 408"/>
                <a:gd name="T7" fmla="*/ 0 h 509"/>
                <a:gd name="T8" fmla="*/ 0 w 408"/>
                <a:gd name="T9" fmla="*/ 306 h 509"/>
              </a:gdLst>
              <a:ahLst/>
              <a:cxnLst>
                <a:cxn ang="0">
                  <a:pos x="T0" y="T1"/>
                </a:cxn>
                <a:cxn ang="0">
                  <a:pos x="T2" y="T3"/>
                </a:cxn>
                <a:cxn ang="0">
                  <a:pos x="T4" y="T5"/>
                </a:cxn>
                <a:cxn ang="0">
                  <a:pos x="T6" y="T7"/>
                </a:cxn>
                <a:cxn ang="0">
                  <a:pos x="T8" y="T9"/>
                </a:cxn>
              </a:cxnLst>
              <a:rect l="0" t="0" r="r" b="b"/>
              <a:pathLst>
                <a:path w="408" h="509">
                  <a:moveTo>
                    <a:pt x="0" y="306"/>
                  </a:moveTo>
                  <a:lnTo>
                    <a:pt x="0" y="509"/>
                  </a:lnTo>
                  <a:lnTo>
                    <a:pt x="408" y="204"/>
                  </a:lnTo>
                  <a:lnTo>
                    <a:pt x="408" y="0"/>
                  </a:lnTo>
                  <a:lnTo>
                    <a:pt x="0" y="306"/>
                  </a:lnTo>
                  <a:close/>
                </a:path>
              </a:pathLst>
            </a:custGeom>
            <a:solidFill>
              <a:srgbClr val="777777"/>
            </a:solidFill>
            <a:ln>
              <a:noFill/>
            </a:ln>
            <a:effectLst/>
            <a:extLst>
              <a:ext uri="{91240B29-F687-4F45-9708-019B960494DF}">
                <a14:hiddenLine xmlns:a14="http://schemas.microsoft.com/office/drawing/2010/main" w="12700">
                  <a:solidFill>
                    <a:srgbClr val="000000"/>
                  </a:solidFill>
                  <a:prstDash val="solid"/>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7" name="Oval 12"/>
          <p:cNvSpPr>
            <a:spLocks noChangeArrowheads="1"/>
          </p:cNvSpPr>
          <p:nvPr/>
        </p:nvSpPr>
        <p:spPr bwMode="auto">
          <a:xfrm>
            <a:off x="1401763" y="3431753"/>
            <a:ext cx="1042988" cy="611187"/>
          </a:xfrm>
          <a:prstGeom prst="ellipse">
            <a:avLst/>
          </a:prstGeom>
          <a:gradFill rotWithShape="1">
            <a:gsLst>
              <a:gs pos="0">
                <a:schemeClr val="tx1"/>
              </a:gs>
              <a:gs pos="100000">
                <a:schemeClr val="tx1">
                  <a:gamma/>
                  <a:tint val="57647"/>
                  <a:invGamma/>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 name="AutoShape 13"/>
          <p:cNvSpPr>
            <a:spLocks noChangeArrowheads="1"/>
          </p:cNvSpPr>
          <p:nvPr/>
        </p:nvSpPr>
        <p:spPr bwMode="auto">
          <a:xfrm>
            <a:off x="1617663" y="2747541"/>
            <a:ext cx="647700" cy="1165225"/>
          </a:xfrm>
          <a:prstGeom prst="can">
            <a:avLst>
              <a:gd name="adj" fmla="val 59318"/>
            </a:avLst>
          </a:prstGeom>
          <a:gradFill rotWithShape="0">
            <a:gsLst>
              <a:gs pos="0">
                <a:schemeClr val="bg1">
                  <a:gamma/>
                  <a:shade val="72549"/>
                  <a:invGamma/>
                </a:schemeClr>
              </a:gs>
              <a:gs pos="50000">
                <a:schemeClr val="bg1"/>
              </a:gs>
              <a:gs pos="100000">
                <a:schemeClr val="bg1">
                  <a:gamma/>
                  <a:shade val="72549"/>
                  <a:invGamma/>
                </a:schemeClr>
              </a:gs>
            </a:gsLst>
            <a:lin ang="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 name="Oval 14"/>
          <p:cNvSpPr>
            <a:spLocks noChangeArrowheads="1"/>
          </p:cNvSpPr>
          <p:nvPr/>
        </p:nvSpPr>
        <p:spPr bwMode="auto">
          <a:xfrm>
            <a:off x="2444750" y="3431753"/>
            <a:ext cx="1042988" cy="611187"/>
          </a:xfrm>
          <a:prstGeom prst="ellipse">
            <a:avLst/>
          </a:prstGeom>
          <a:gradFill rotWithShape="1">
            <a:gsLst>
              <a:gs pos="0">
                <a:schemeClr val="tx1"/>
              </a:gs>
              <a:gs pos="100000">
                <a:schemeClr val="tx1">
                  <a:gamma/>
                  <a:tint val="57647"/>
                  <a:invGamma/>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 name="AutoShape 15"/>
          <p:cNvSpPr>
            <a:spLocks noChangeArrowheads="1"/>
          </p:cNvSpPr>
          <p:nvPr/>
        </p:nvSpPr>
        <p:spPr bwMode="auto">
          <a:xfrm>
            <a:off x="2660650" y="2387178"/>
            <a:ext cx="647700" cy="1525587"/>
          </a:xfrm>
          <a:prstGeom prst="can">
            <a:avLst>
              <a:gd name="adj" fmla="val 59266"/>
            </a:avLst>
          </a:prstGeom>
          <a:gradFill rotWithShape="0">
            <a:gsLst>
              <a:gs pos="0">
                <a:schemeClr val="bg1">
                  <a:gamma/>
                  <a:shade val="72549"/>
                  <a:invGamma/>
                </a:schemeClr>
              </a:gs>
              <a:gs pos="50000">
                <a:schemeClr val="bg1"/>
              </a:gs>
              <a:gs pos="100000">
                <a:schemeClr val="bg1">
                  <a:gamma/>
                  <a:shade val="72549"/>
                  <a:invGamma/>
                </a:schemeClr>
              </a:gs>
            </a:gsLst>
            <a:lin ang="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 name="Oval 16"/>
          <p:cNvSpPr>
            <a:spLocks noChangeArrowheads="1"/>
          </p:cNvSpPr>
          <p:nvPr/>
        </p:nvSpPr>
        <p:spPr bwMode="auto">
          <a:xfrm>
            <a:off x="3489325" y="3431753"/>
            <a:ext cx="1042988" cy="611187"/>
          </a:xfrm>
          <a:prstGeom prst="ellipse">
            <a:avLst/>
          </a:prstGeom>
          <a:gradFill rotWithShape="1">
            <a:gsLst>
              <a:gs pos="0">
                <a:schemeClr val="tx1"/>
              </a:gs>
              <a:gs pos="100000">
                <a:schemeClr val="tx1">
                  <a:gamma/>
                  <a:tint val="57647"/>
                  <a:invGamma/>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2" name="AutoShape 17"/>
          <p:cNvSpPr>
            <a:spLocks noChangeArrowheads="1"/>
          </p:cNvSpPr>
          <p:nvPr/>
        </p:nvSpPr>
        <p:spPr bwMode="auto">
          <a:xfrm>
            <a:off x="3705225" y="2063328"/>
            <a:ext cx="647700" cy="1849437"/>
          </a:xfrm>
          <a:prstGeom prst="can">
            <a:avLst>
              <a:gd name="adj" fmla="val 55151"/>
            </a:avLst>
          </a:prstGeom>
          <a:gradFill rotWithShape="0">
            <a:gsLst>
              <a:gs pos="0">
                <a:schemeClr val="bg1">
                  <a:gamma/>
                  <a:shade val="72549"/>
                  <a:invGamma/>
                </a:schemeClr>
              </a:gs>
              <a:gs pos="50000">
                <a:schemeClr val="bg1"/>
              </a:gs>
              <a:gs pos="100000">
                <a:schemeClr val="bg1">
                  <a:gamma/>
                  <a:shade val="72549"/>
                  <a:invGamma/>
                </a:schemeClr>
              </a:gs>
            </a:gsLst>
            <a:lin ang="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3" name="Oval 18"/>
          <p:cNvSpPr>
            <a:spLocks noChangeArrowheads="1"/>
          </p:cNvSpPr>
          <p:nvPr/>
        </p:nvSpPr>
        <p:spPr bwMode="auto">
          <a:xfrm>
            <a:off x="4533900" y="3431753"/>
            <a:ext cx="1042988" cy="611187"/>
          </a:xfrm>
          <a:prstGeom prst="ellipse">
            <a:avLst/>
          </a:prstGeom>
          <a:gradFill rotWithShape="1">
            <a:gsLst>
              <a:gs pos="0">
                <a:schemeClr val="tx1"/>
              </a:gs>
              <a:gs pos="100000">
                <a:schemeClr val="tx1">
                  <a:gamma/>
                  <a:tint val="57647"/>
                  <a:invGamma/>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4" name="AutoShape 19"/>
          <p:cNvSpPr>
            <a:spLocks noChangeArrowheads="1"/>
          </p:cNvSpPr>
          <p:nvPr/>
        </p:nvSpPr>
        <p:spPr bwMode="auto">
          <a:xfrm>
            <a:off x="4749800" y="1702966"/>
            <a:ext cx="647700" cy="2209800"/>
          </a:xfrm>
          <a:prstGeom prst="can">
            <a:avLst>
              <a:gd name="adj" fmla="val 56989"/>
            </a:avLst>
          </a:prstGeom>
          <a:gradFill rotWithShape="0">
            <a:gsLst>
              <a:gs pos="0">
                <a:schemeClr val="bg1">
                  <a:gamma/>
                  <a:shade val="72549"/>
                  <a:invGamma/>
                </a:schemeClr>
              </a:gs>
              <a:gs pos="50000">
                <a:schemeClr val="bg1"/>
              </a:gs>
              <a:gs pos="100000">
                <a:schemeClr val="bg1">
                  <a:gamma/>
                  <a:shade val="72549"/>
                  <a:invGamma/>
                </a:schemeClr>
              </a:gs>
            </a:gsLst>
            <a:lin ang="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5" name="Oval 20"/>
          <p:cNvSpPr>
            <a:spLocks noChangeArrowheads="1"/>
          </p:cNvSpPr>
          <p:nvPr/>
        </p:nvSpPr>
        <p:spPr bwMode="auto">
          <a:xfrm>
            <a:off x="5576888" y="3431753"/>
            <a:ext cx="1042988" cy="611187"/>
          </a:xfrm>
          <a:prstGeom prst="ellipse">
            <a:avLst/>
          </a:prstGeom>
          <a:gradFill rotWithShape="1">
            <a:gsLst>
              <a:gs pos="0">
                <a:schemeClr val="tx1"/>
              </a:gs>
              <a:gs pos="100000">
                <a:schemeClr val="tx1">
                  <a:gamma/>
                  <a:tint val="57647"/>
                  <a:invGamma/>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6" name="AutoShape 21"/>
          <p:cNvSpPr>
            <a:spLocks noChangeArrowheads="1"/>
          </p:cNvSpPr>
          <p:nvPr/>
        </p:nvSpPr>
        <p:spPr bwMode="auto">
          <a:xfrm>
            <a:off x="5792788" y="1342603"/>
            <a:ext cx="647700" cy="2570162"/>
          </a:xfrm>
          <a:prstGeom prst="can">
            <a:avLst>
              <a:gd name="adj" fmla="val 56381"/>
            </a:avLst>
          </a:prstGeom>
          <a:gradFill rotWithShape="0">
            <a:gsLst>
              <a:gs pos="0">
                <a:schemeClr val="bg2"/>
              </a:gs>
              <a:gs pos="50000">
                <a:srgbClr val="03A550"/>
              </a:gs>
              <a:gs pos="100000">
                <a:schemeClr val="bg2"/>
              </a:gs>
            </a:gsLst>
            <a:lin ang="0" scaled="1"/>
          </a:gradFill>
          <a:ln>
            <a:noFill/>
          </a:ln>
          <a:effectLst/>
        </p:spPr>
        <p:txBody>
          <a:bodyPr wrap="none" anchor="ctr"/>
          <a:lstStyle/>
          <a:p>
            <a:endParaRPr lang="zh-CN" altLang="en-US"/>
          </a:p>
        </p:txBody>
      </p:sp>
      <p:sp>
        <p:nvSpPr>
          <p:cNvPr id="17" name="Text Box 22"/>
          <p:cNvSpPr txBox="1">
            <a:spLocks noChangeArrowheads="1"/>
          </p:cNvSpPr>
          <p:nvPr/>
        </p:nvSpPr>
        <p:spPr bwMode="auto">
          <a:xfrm>
            <a:off x="1541463" y="4092153"/>
            <a:ext cx="793750" cy="244475"/>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en-US" altLang="ko-KR" sz="1000" dirty="0">
                <a:solidFill>
                  <a:schemeClr val="bg1"/>
                </a:solidFill>
                <a:latin typeface="Arial Black" panose="020B0A04020102020204" pitchFamily="34" charset="0"/>
              </a:rPr>
              <a:t> 1</a:t>
            </a:r>
          </a:p>
        </p:txBody>
      </p:sp>
      <p:sp>
        <p:nvSpPr>
          <p:cNvPr id="18" name="Text Box 23"/>
          <p:cNvSpPr txBox="1">
            <a:spLocks noChangeArrowheads="1"/>
          </p:cNvSpPr>
          <p:nvPr/>
        </p:nvSpPr>
        <p:spPr bwMode="auto">
          <a:xfrm>
            <a:off x="2586038" y="4092153"/>
            <a:ext cx="793750" cy="244475"/>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en-US" altLang="ko-KR" sz="1000" dirty="0">
                <a:solidFill>
                  <a:schemeClr val="bg1"/>
                </a:solidFill>
                <a:latin typeface="Arial Black" panose="020B0A04020102020204" pitchFamily="34" charset="0"/>
              </a:rPr>
              <a:t>2</a:t>
            </a:r>
          </a:p>
        </p:txBody>
      </p:sp>
      <p:sp>
        <p:nvSpPr>
          <p:cNvPr id="19" name="Text Box 24"/>
          <p:cNvSpPr txBox="1">
            <a:spLocks noChangeArrowheads="1"/>
          </p:cNvSpPr>
          <p:nvPr/>
        </p:nvSpPr>
        <p:spPr bwMode="auto">
          <a:xfrm>
            <a:off x="3630613" y="4092153"/>
            <a:ext cx="793750" cy="244475"/>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en-US" altLang="ko-KR" sz="1000" dirty="0">
                <a:solidFill>
                  <a:schemeClr val="bg1"/>
                </a:solidFill>
                <a:latin typeface="Arial Black" panose="020B0A04020102020204" pitchFamily="34" charset="0"/>
              </a:rPr>
              <a:t>3</a:t>
            </a:r>
          </a:p>
        </p:txBody>
      </p:sp>
      <p:sp>
        <p:nvSpPr>
          <p:cNvPr id="20" name="Text Box 25"/>
          <p:cNvSpPr txBox="1">
            <a:spLocks noChangeArrowheads="1"/>
          </p:cNvSpPr>
          <p:nvPr/>
        </p:nvSpPr>
        <p:spPr bwMode="auto">
          <a:xfrm>
            <a:off x="4675188" y="4092153"/>
            <a:ext cx="793750" cy="244475"/>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en-US" altLang="ko-KR" sz="1000" dirty="0">
                <a:solidFill>
                  <a:schemeClr val="bg1"/>
                </a:solidFill>
                <a:latin typeface="Arial Black" panose="020B0A04020102020204" pitchFamily="34" charset="0"/>
              </a:rPr>
              <a:t>4</a:t>
            </a:r>
          </a:p>
        </p:txBody>
      </p:sp>
      <p:sp>
        <p:nvSpPr>
          <p:cNvPr id="21" name="Text Box 26"/>
          <p:cNvSpPr txBox="1">
            <a:spLocks noChangeArrowheads="1"/>
          </p:cNvSpPr>
          <p:nvPr/>
        </p:nvSpPr>
        <p:spPr bwMode="auto">
          <a:xfrm>
            <a:off x="5719763" y="4092153"/>
            <a:ext cx="793750" cy="244475"/>
          </a:xfrm>
          <a:prstGeom prst="rect">
            <a:avLst/>
          </a:prstGeom>
          <a:noFill/>
          <a:ln>
            <a:noFill/>
          </a:ln>
          <a:effectLst/>
          <a:extLst>
            <a:ext uri="{909E8E84-426E-40DD-AFC4-6F175D3DCCD1}">
              <a14:hiddenFill xmlns:a14="http://schemas.microsoft.com/office/drawing/2010/main">
                <a:solidFill>
                  <a:srgbClr val="FFC800"/>
                </a:solidFill>
              </a14:hiddenFill>
            </a:ext>
            <a:ext uri="{91240B29-F687-4F45-9708-019B960494DF}">
              <a14:hiddenLine xmlns:a14="http://schemas.microsoft.com/office/drawing/2010/main" w="31750">
                <a:solidFill>
                  <a:srgbClr val="9E9E9E"/>
                </a:solidFill>
                <a:prstDash val="sysDot"/>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p>
            <a:pPr algn="ctr"/>
            <a:r>
              <a:rPr lang="en-US" altLang="ko-KR" sz="1000" dirty="0">
                <a:solidFill>
                  <a:srgbClr val="FFCC00"/>
                </a:solidFill>
                <a:latin typeface="Arial Black" panose="020B0A04020102020204" pitchFamily="34" charset="0"/>
              </a:rPr>
              <a:t>5</a:t>
            </a:r>
          </a:p>
        </p:txBody>
      </p:sp>
      <p:grpSp>
        <p:nvGrpSpPr>
          <p:cNvPr id="30" name="Group 35"/>
          <p:cNvGrpSpPr/>
          <p:nvPr/>
        </p:nvGrpSpPr>
        <p:grpSpPr bwMode="auto">
          <a:xfrm>
            <a:off x="1079500" y="915566"/>
            <a:ext cx="2087563" cy="863600"/>
            <a:chOff x="884" y="4700"/>
            <a:chExt cx="1315" cy="544"/>
          </a:xfrm>
        </p:grpSpPr>
        <p:sp>
          <p:nvSpPr>
            <p:cNvPr id="31" name="AutoShape 36"/>
            <p:cNvSpPr>
              <a:spLocks noChangeArrowheads="1"/>
            </p:cNvSpPr>
            <p:nvPr/>
          </p:nvSpPr>
          <p:spPr bwMode="auto">
            <a:xfrm>
              <a:off x="884" y="4700"/>
              <a:ext cx="1315" cy="544"/>
            </a:xfrm>
            <a:prstGeom prst="roundRect">
              <a:avLst>
                <a:gd name="adj" fmla="val 6616"/>
              </a:avLst>
            </a:prstGeom>
            <a:solidFill>
              <a:schemeClr val="tx1">
                <a:alpha val="10001"/>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2" name="Text Box 37"/>
            <p:cNvSpPr txBox="1">
              <a:spLocks noChangeArrowheads="1"/>
            </p:cNvSpPr>
            <p:nvPr/>
          </p:nvSpPr>
          <p:spPr bwMode="auto">
            <a:xfrm>
              <a:off x="1247" y="4814"/>
              <a:ext cx="862" cy="15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000" b="1" dirty="0">
                  <a:solidFill>
                    <a:srgbClr val="03A550"/>
                  </a:solidFill>
                  <a:latin typeface="微软雅黑" panose="020B0503020204020204" pitchFamily="34" charset="-122"/>
                  <a:ea typeface="微软雅黑" panose="020B0503020204020204" pitchFamily="34" charset="-122"/>
                </a:rPr>
                <a:t>填加标题</a:t>
              </a:r>
              <a:endParaRPr lang="en-US" altLang="ko-KR" sz="1000" b="1" dirty="0">
                <a:solidFill>
                  <a:srgbClr val="03A550"/>
                </a:solidFill>
                <a:latin typeface="微软雅黑" panose="020B0503020204020204" pitchFamily="34" charset="-122"/>
                <a:ea typeface="微软雅黑" panose="020B0503020204020204" pitchFamily="34" charset="-122"/>
              </a:endParaRPr>
            </a:p>
          </p:txBody>
        </p:sp>
        <p:sp>
          <p:nvSpPr>
            <p:cNvPr id="33" name="Text Box 38"/>
            <p:cNvSpPr txBox="1">
              <a:spLocks noChangeArrowheads="1"/>
            </p:cNvSpPr>
            <p:nvPr/>
          </p:nvSpPr>
          <p:spPr bwMode="auto">
            <a:xfrm>
              <a:off x="1247" y="5000"/>
              <a:ext cx="862" cy="15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000" b="1" dirty="0">
                  <a:solidFill>
                    <a:schemeClr val="bg1">
                      <a:lumMod val="65000"/>
                    </a:schemeClr>
                  </a:solidFill>
                  <a:latin typeface="微软雅黑" panose="020B0503020204020204" pitchFamily="34" charset="-122"/>
                  <a:ea typeface="微软雅黑" panose="020B0503020204020204" pitchFamily="34" charset="-122"/>
                </a:rPr>
                <a:t>填加标题</a:t>
              </a:r>
              <a:endParaRPr lang="en-US" altLang="ko-KR" sz="1000" b="1" dirty="0">
                <a:solidFill>
                  <a:schemeClr val="bg1">
                    <a:lumMod val="65000"/>
                  </a:schemeClr>
                </a:solidFill>
                <a:latin typeface="微软雅黑" panose="020B0503020204020204" pitchFamily="34" charset="-122"/>
                <a:ea typeface="微软雅黑" panose="020B0503020204020204" pitchFamily="34" charset="-122"/>
              </a:endParaRPr>
            </a:p>
          </p:txBody>
        </p:sp>
        <p:sp>
          <p:nvSpPr>
            <p:cNvPr id="34" name="AutoShape 39"/>
            <p:cNvSpPr>
              <a:spLocks noChangeArrowheads="1"/>
            </p:cNvSpPr>
            <p:nvPr/>
          </p:nvSpPr>
          <p:spPr bwMode="auto">
            <a:xfrm>
              <a:off x="1019" y="4768"/>
              <a:ext cx="149" cy="182"/>
            </a:xfrm>
            <a:prstGeom prst="can">
              <a:avLst>
                <a:gd name="adj" fmla="val 61074"/>
              </a:avLst>
            </a:prstGeom>
            <a:gradFill rotWithShape="0">
              <a:gsLst>
                <a:gs pos="0">
                  <a:schemeClr val="bg2"/>
                </a:gs>
                <a:gs pos="50000">
                  <a:srgbClr val="03A550"/>
                </a:gs>
                <a:gs pos="100000">
                  <a:schemeClr val="bg2"/>
                </a:gs>
              </a:gsLst>
              <a:lin ang="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5" name="AutoShape 40"/>
            <p:cNvSpPr>
              <a:spLocks noChangeArrowheads="1"/>
            </p:cNvSpPr>
            <p:nvPr/>
          </p:nvSpPr>
          <p:spPr bwMode="auto">
            <a:xfrm>
              <a:off x="1019" y="4994"/>
              <a:ext cx="149" cy="182"/>
            </a:xfrm>
            <a:prstGeom prst="can">
              <a:avLst>
                <a:gd name="adj" fmla="val 61074"/>
              </a:avLst>
            </a:prstGeom>
            <a:gradFill rotWithShape="0">
              <a:gsLst>
                <a:gs pos="0">
                  <a:schemeClr val="bg1">
                    <a:gamma/>
                    <a:shade val="72549"/>
                    <a:invGamma/>
                  </a:schemeClr>
                </a:gs>
                <a:gs pos="50000">
                  <a:schemeClr val="bg1"/>
                </a:gs>
                <a:gs pos="100000">
                  <a:schemeClr val="bg1">
                    <a:gamma/>
                    <a:shade val="72549"/>
                    <a:invGamma/>
                  </a:schemeClr>
                </a:gs>
              </a:gsLst>
              <a:lin ang="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
        <p:nvSpPr>
          <p:cNvPr id="36" name="Text Box 45"/>
          <p:cNvSpPr txBox="1">
            <a:spLocks noChangeArrowheads="1"/>
          </p:cNvSpPr>
          <p:nvPr/>
        </p:nvSpPr>
        <p:spPr bwMode="auto">
          <a:xfrm>
            <a:off x="6660232" y="1480497"/>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03A550"/>
                </a:solidFill>
                <a:latin typeface="微软雅黑" panose="020B0503020204020204" pitchFamily="34" charset="-122"/>
                <a:ea typeface="微软雅黑" panose="020B0503020204020204" pitchFamily="34" charset="-122"/>
              </a:rPr>
              <a:t>单击填加标题</a:t>
            </a:r>
            <a:endParaRPr lang="en-US" altLang="ko-KR" sz="1400" b="1" dirty="0">
              <a:solidFill>
                <a:srgbClr val="03A550"/>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37" name="Text Box 45"/>
          <p:cNvSpPr txBox="1">
            <a:spLocks noChangeArrowheads="1"/>
          </p:cNvSpPr>
          <p:nvPr/>
        </p:nvSpPr>
        <p:spPr bwMode="auto">
          <a:xfrm>
            <a:off x="6660232" y="2161535"/>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tx2">
                    <a:lumMod val="50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42"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750"/>
                                        <p:tgtEl>
                                          <p:spTgt spid="17"/>
                                        </p:tgtEl>
                                      </p:cBhvr>
                                    </p:animEffect>
                                    <p:anim calcmode="lin" valueType="num">
                                      <p:cBhvr>
                                        <p:cTn id="12" dur="750" fill="hold"/>
                                        <p:tgtEl>
                                          <p:spTgt spid="17"/>
                                        </p:tgtEl>
                                        <p:attrNameLst>
                                          <p:attrName>ppt_x</p:attrName>
                                        </p:attrNameLst>
                                      </p:cBhvr>
                                      <p:tavLst>
                                        <p:tav tm="0">
                                          <p:val>
                                            <p:strVal val="#ppt_x"/>
                                          </p:val>
                                        </p:tav>
                                        <p:tav tm="100000">
                                          <p:val>
                                            <p:strVal val="#ppt_x"/>
                                          </p:val>
                                        </p:tav>
                                      </p:tavLst>
                                    </p:anim>
                                    <p:anim calcmode="lin" valueType="num">
                                      <p:cBhvr>
                                        <p:cTn id="13" dur="750" fill="hold"/>
                                        <p:tgtEl>
                                          <p:spTgt spid="17"/>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750"/>
                                        <p:tgtEl>
                                          <p:spTgt spid="18"/>
                                        </p:tgtEl>
                                      </p:cBhvr>
                                    </p:animEffect>
                                    <p:anim calcmode="lin" valueType="num">
                                      <p:cBhvr>
                                        <p:cTn id="17" dur="750" fill="hold"/>
                                        <p:tgtEl>
                                          <p:spTgt spid="18"/>
                                        </p:tgtEl>
                                        <p:attrNameLst>
                                          <p:attrName>ppt_x</p:attrName>
                                        </p:attrNameLst>
                                      </p:cBhvr>
                                      <p:tavLst>
                                        <p:tav tm="0">
                                          <p:val>
                                            <p:strVal val="#ppt_x"/>
                                          </p:val>
                                        </p:tav>
                                        <p:tav tm="100000">
                                          <p:val>
                                            <p:strVal val="#ppt_x"/>
                                          </p:val>
                                        </p:tav>
                                      </p:tavLst>
                                    </p:anim>
                                    <p:anim calcmode="lin" valueType="num">
                                      <p:cBhvr>
                                        <p:cTn id="18" dur="750" fill="hold"/>
                                        <p:tgtEl>
                                          <p:spTgt spid="18"/>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750"/>
                                        <p:tgtEl>
                                          <p:spTgt spid="19"/>
                                        </p:tgtEl>
                                      </p:cBhvr>
                                    </p:animEffect>
                                    <p:anim calcmode="lin" valueType="num">
                                      <p:cBhvr>
                                        <p:cTn id="22" dur="750" fill="hold"/>
                                        <p:tgtEl>
                                          <p:spTgt spid="19"/>
                                        </p:tgtEl>
                                        <p:attrNameLst>
                                          <p:attrName>ppt_x</p:attrName>
                                        </p:attrNameLst>
                                      </p:cBhvr>
                                      <p:tavLst>
                                        <p:tav tm="0">
                                          <p:val>
                                            <p:strVal val="#ppt_x"/>
                                          </p:val>
                                        </p:tav>
                                        <p:tav tm="100000">
                                          <p:val>
                                            <p:strVal val="#ppt_x"/>
                                          </p:val>
                                        </p:tav>
                                      </p:tavLst>
                                    </p:anim>
                                    <p:anim calcmode="lin" valueType="num">
                                      <p:cBhvr>
                                        <p:cTn id="23" dur="750" fill="hold"/>
                                        <p:tgtEl>
                                          <p:spTgt spid="19"/>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750"/>
                                        <p:tgtEl>
                                          <p:spTgt spid="20"/>
                                        </p:tgtEl>
                                      </p:cBhvr>
                                    </p:animEffect>
                                    <p:anim calcmode="lin" valueType="num">
                                      <p:cBhvr>
                                        <p:cTn id="27" dur="750" fill="hold"/>
                                        <p:tgtEl>
                                          <p:spTgt spid="20"/>
                                        </p:tgtEl>
                                        <p:attrNameLst>
                                          <p:attrName>ppt_x</p:attrName>
                                        </p:attrNameLst>
                                      </p:cBhvr>
                                      <p:tavLst>
                                        <p:tav tm="0">
                                          <p:val>
                                            <p:strVal val="#ppt_x"/>
                                          </p:val>
                                        </p:tav>
                                        <p:tav tm="100000">
                                          <p:val>
                                            <p:strVal val="#ppt_x"/>
                                          </p:val>
                                        </p:tav>
                                      </p:tavLst>
                                    </p:anim>
                                    <p:anim calcmode="lin" valueType="num">
                                      <p:cBhvr>
                                        <p:cTn id="28" dur="750" fill="hold"/>
                                        <p:tgtEl>
                                          <p:spTgt spid="2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750"/>
                                        <p:tgtEl>
                                          <p:spTgt spid="21"/>
                                        </p:tgtEl>
                                      </p:cBhvr>
                                    </p:animEffect>
                                    <p:anim calcmode="lin" valueType="num">
                                      <p:cBhvr>
                                        <p:cTn id="32" dur="750" fill="hold"/>
                                        <p:tgtEl>
                                          <p:spTgt spid="21"/>
                                        </p:tgtEl>
                                        <p:attrNameLst>
                                          <p:attrName>ppt_x</p:attrName>
                                        </p:attrNameLst>
                                      </p:cBhvr>
                                      <p:tavLst>
                                        <p:tav tm="0">
                                          <p:val>
                                            <p:strVal val="#ppt_x"/>
                                          </p:val>
                                        </p:tav>
                                        <p:tav tm="100000">
                                          <p:val>
                                            <p:strVal val="#ppt_x"/>
                                          </p:val>
                                        </p:tav>
                                      </p:tavLst>
                                    </p:anim>
                                    <p:anim calcmode="lin" valueType="num">
                                      <p:cBhvr>
                                        <p:cTn id="33" dur="75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grpId="0" nodeType="click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wipe(down)">
                                      <p:cBhvr>
                                        <p:cTn id="43" dur="75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wipe(down)">
                                      <p:cBhvr>
                                        <p:cTn id="48" dur="1000"/>
                                        <p:tgtEl>
                                          <p:spTgt spid="12"/>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grpId="0" nodeType="click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1000"/>
                                        <p:tgtEl>
                                          <p:spTgt spid="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wipe(down)">
                                      <p:cBhvr>
                                        <p:cTn id="58" dur="1250"/>
                                        <p:tgtEl>
                                          <p:spTgt spid="16"/>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500"/>
                                        <p:tgtEl>
                                          <p:spTgt spid="30"/>
                                        </p:tgtEl>
                                      </p:cBhvr>
                                    </p:animEffect>
                                  </p:childTnLst>
                                </p:cTn>
                              </p:par>
                            </p:childTnLst>
                          </p:cTn>
                        </p:par>
                        <p:par>
                          <p:cTn id="64" fill="hold">
                            <p:stCondLst>
                              <p:cond delay="500"/>
                            </p:stCondLst>
                            <p:childTnLst>
                              <p:par>
                                <p:cTn id="65" presetID="42" presetClass="entr" presetSubtype="0"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750"/>
                                        <p:tgtEl>
                                          <p:spTgt spid="36"/>
                                        </p:tgtEl>
                                      </p:cBhvr>
                                    </p:animEffect>
                                    <p:anim calcmode="lin" valueType="num">
                                      <p:cBhvr>
                                        <p:cTn id="68" dur="750" fill="hold"/>
                                        <p:tgtEl>
                                          <p:spTgt spid="36"/>
                                        </p:tgtEl>
                                        <p:attrNameLst>
                                          <p:attrName>ppt_x</p:attrName>
                                        </p:attrNameLst>
                                      </p:cBhvr>
                                      <p:tavLst>
                                        <p:tav tm="0">
                                          <p:val>
                                            <p:strVal val="#ppt_x"/>
                                          </p:val>
                                        </p:tav>
                                        <p:tav tm="100000">
                                          <p:val>
                                            <p:strVal val="#ppt_x"/>
                                          </p:val>
                                        </p:tav>
                                      </p:tavLst>
                                    </p:anim>
                                    <p:anim calcmode="lin" valueType="num">
                                      <p:cBhvr>
                                        <p:cTn id="69" dur="750" fill="hold"/>
                                        <p:tgtEl>
                                          <p:spTgt spid="36"/>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grpId="0" nodeType="after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750"/>
                                        <p:tgtEl>
                                          <p:spTgt spid="37"/>
                                        </p:tgtEl>
                                      </p:cBhvr>
                                    </p:animEffect>
                                    <p:anim calcmode="lin" valueType="num">
                                      <p:cBhvr>
                                        <p:cTn id="74" dur="750" fill="hold"/>
                                        <p:tgtEl>
                                          <p:spTgt spid="37"/>
                                        </p:tgtEl>
                                        <p:attrNameLst>
                                          <p:attrName>ppt_x</p:attrName>
                                        </p:attrNameLst>
                                      </p:cBhvr>
                                      <p:tavLst>
                                        <p:tav tm="0">
                                          <p:val>
                                            <p:strVal val="#ppt_x"/>
                                          </p:val>
                                        </p:tav>
                                        <p:tav tm="100000">
                                          <p:val>
                                            <p:strVal val="#ppt_x"/>
                                          </p:val>
                                        </p:tav>
                                      </p:tavLst>
                                    </p:anim>
                                    <p:anim calcmode="lin" valueType="num">
                                      <p:cBhvr>
                                        <p:cTn id="75" dur="75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14" grpId="0" animBg="1"/>
      <p:bldP spid="16" grpId="0" animBg="1"/>
      <p:bldP spid="17" grpId="0"/>
      <p:bldP spid="18" grpId="0"/>
      <p:bldP spid="19" grpId="0"/>
      <p:bldP spid="20" grpId="0"/>
      <p:bldP spid="21" grpId="0"/>
      <p:bldP spid="36" grpId="0"/>
      <p:bldP spid="3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p:cNvSpPr/>
          <p:nvPr/>
        </p:nvSpPr>
        <p:spPr bwMode="auto">
          <a:xfrm flipV="1">
            <a:off x="827088" y="771550"/>
            <a:ext cx="1511300" cy="741363"/>
          </a:xfrm>
          <a:custGeom>
            <a:avLst/>
            <a:gdLst>
              <a:gd name="T0" fmla="*/ 432 w 1008"/>
              <a:gd name="T1" fmla="*/ 432 h 504"/>
              <a:gd name="T2" fmla="*/ 576 w 1008"/>
              <a:gd name="T3" fmla="*/ 504 h 504"/>
              <a:gd name="T4" fmla="*/ 0 w 1008"/>
              <a:gd name="T5" fmla="*/ 504 h 504"/>
              <a:gd name="T6" fmla="*/ 0 w 1008"/>
              <a:gd name="T7" fmla="*/ 216 h 504"/>
              <a:gd name="T8" fmla="*/ 144 w 1008"/>
              <a:gd name="T9" fmla="*/ 288 h 504"/>
              <a:gd name="T10" fmla="*/ 720 w 1008"/>
              <a:gd name="T11" fmla="*/ 0 h 504"/>
              <a:gd name="T12" fmla="*/ 1008 w 1008"/>
              <a:gd name="T13" fmla="*/ 144 h 504"/>
              <a:gd name="T14" fmla="*/ 432 w 1008"/>
              <a:gd name="T15" fmla="*/ 43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432"/>
                </a:moveTo>
                <a:lnTo>
                  <a:pt x="576" y="504"/>
                </a:lnTo>
                <a:lnTo>
                  <a:pt x="0" y="504"/>
                </a:lnTo>
                <a:lnTo>
                  <a:pt x="0" y="216"/>
                </a:lnTo>
                <a:lnTo>
                  <a:pt x="144" y="288"/>
                </a:lnTo>
                <a:lnTo>
                  <a:pt x="720" y="0"/>
                </a:lnTo>
                <a:lnTo>
                  <a:pt x="1008" y="144"/>
                </a:lnTo>
                <a:lnTo>
                  <a:pt x="432" y="432"/>
                </a:lnTo>
                <a:close/>
              </a:path>
            </a:pathLst>
          </a:custGeom>
          <a:solidFill>
            <a:schemeClr val="tx1">
              <a:alpha val="25000"/>
            </a:schemeClr>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 name="AutoShape 6"/>
          <p:cNvSpPr>
            <a:spLocks noChangeAspect="1" noChangeArrowheads="1" noTextEdit="1"/>
          </p:cNvSpPr>
          <p:nvPr/>
        </p:nvSpPr>
        <p:spPr bwMode="auto">
          <a:xfrm>
            <a:off x="1655763" y="1171600"/>
            <a:ext cx="6696075" cy="345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74" name="组合 73"/>
          <p:cNvGrpSpPr/>
          <p:nvPr/>
        </p:nvGrpSpPr>
        <p:grpSpPr>
          <a:xfrm>
            <a:off x="1662113" y="1174775"/>
            <a:ext cx="1670050" cy="1774825"/>
            <a:chOff x="1662113" y="1174775"/>
            <a:chExt cx="1670050" cy="1774825"/>
          </a:xfrm>
        </p:grpSpPr>
        <p:sp>
          <p:nvSpPr>
            <p:cNvPr id="7" name="Freeform 9"/>
            <p:cNvSpPr/>
            <p:nvPr/>
          </p:nvSpPr>
          <p:spPr bwMode="auto">
            <a:xfrm>
              <a:off x="2497138" y="1590700"/>
              <a:ext cx="835025" cy="1358900"/>
            </a:xfrm>
            <a:custGeom>
              <a:avLst/>
              <a:gdLst>
                <a:gd name="T0" fmla="*/ 0 w 1099"/>
                <a:gd name="T1" fmla="*/ 1785 h 1785"/>
                <a:gd name="T2" fmla="*/ 1099 w 1099"/>
                <a:gd name="T3" fmla="*/ 1236 h 1785"/>
                <a:gd name="T4" fmla="*/ 1099 w 1099"/>
                <a:gd name="T5" fmla="*/ 0 h 1785"/>
                <a:gd name="T6" fmla="*/ 0 w 1099"/>
                <a:gd name="T7" fmla="*/ 549 h 1785"/>
                <a:gd name="T8" fmla="*/ 0 w 1099"/>
                <a:gd name="T9" fmla="*/ 1785 h 1785"/>
              </a:gdLst>
              <a:ahLst/>
              <a:cxnLst>
                <a:cxn ang="0">
                  <a:pos x="T0" y="T1"/>
                </a:cxn>
                <a:cxn ang="0">
                  <a:pos x="T2" y="T3"/>
                </a:cxn>
                <a:cxn ang="0">
                  <a:pos x="T4" y="T5"/>
                </a:cxn>
                <a:cxn ang="0">
                  <a:pos x="T6" y="T7"/>
                </a:cxn>
                <a:cxn ang="0">
                  <a:pos x="T8" y="T9"/>
                </a:cxn>
              </a:cxnLst>
              <a:rect l="0" t="0" r="r" b="b"/>
              <a:pathLst>
                <a:path w="1099" h="1785">
                  <a:moveTo>
                    <a:pt x="0" y="1785"/>
                  </a:moveTo>
                  <a:lnTo>
                    <a:pt x="1099" y="1236"/>
                  </a:lnTo>
                  <a:lnTo>
                    <a:pt x="1099" y="0"/>
                  </a:lnTo>
                  <a:lnTo>
                    <a:pt x="0" y="549"/>
                  </a:lnTo>
                  <a:lnTo>
                    <a:pt x="0" y="1785"/>
                  </a:lnTo>
                  <a:close/>
                </a:path>
              </a:pathLst>
            </a:custGeom>
            <a:solidFill>
              <a:schemeClr val="bg2">
                <a:lumMod val="75000"/>
              </a:schemeClr>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5" name="Freeform 7"/>
            <p:cNvSpPr/>
            <p:nvPr/>
          </p:nvSpPr>
          <p:spPr bwMode="auto">
            <a:xfrm>
              <a:off x="1662113" y="1174775"/>
              <a:ext cx="1670050" cy="835025"/>
            </a:xfrm>
            <a:custGeom>
              <a:avLst/>
              <a:gdLst>
                <a:gd name="T0" fmla="*/ 1098 w 2197"/>
                <a:gd name="T1" fmla="*/ 1098 h 1098"/>
                <a:gd name="T2" fmla="*/ 2197 w 2197"/>
                <a:gd name="T3" fmla="*/ 549 h 1098"/>
                <a:gd name="T4" fmla="*/ 1098 w 2197"/>
                <a:gd name="T5" fmla="*/ 0 h 1098"/>
                <a:gd name="T6" fmla="*/ 0 w 2197"/>
                <a:gd name="T7" fmla="*/ 549 h 1098"/>
                <a:gd name="T8" fmla="*/ 1098 w 2197"/>
                <a:gd name="T9" fmla="*/ 1098 h 1098"/>
              </a:gdLst>
              <a:ahLst/>
              <a:cxnLst>
                <a:cxn ang="0">
                  <a:pos x="T0" y="T1"/>
                </a:cxn>
                <a:cxn ang="0">
                  <a:pos x="T2" y="T3"/>
                </a:cxn>
                <a:cxn ang="0">
                  <a:pos x="T4" y="T5"/>
                </a:cxn>
                <a:cxn ang="0">
                  <a:pos x="T6" y="T7"/>
                </a:cxn>
                <a:cxn ang="0">
                  <a:pos x="T8" y="T9"/>
                </a:cxn>
              </a:cxnLst>
              <a:rect l="0" t="0" r="r" b="b"/>
              <a:pathLst>
                <a:path w="2197" h="1098">
                  <a:moveTo>
                    <a:pt x="1098" y="1098"/>
                  </a:moveTo>
                  <a:lnTo>
                    <a:pt x="2197" y="549"/>
                  </a:lnTo>
                  <a:lnTo>
                    <a:pt x="1098" y="0"/>
                  </a:lnTo>
                  <a:lnTo>
                    <a:pt x="0" y="549"/>
                  </a:lnTo>
                  <a:lnTo>
                    <a:pt x="1098" y="1098"/>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6" name="Freeform 8"/>
            <p:cNvSpPr/>
            <p:nvPr/>
          </p:nvSpPr>
          <p:spPr bwMode="auto">
            <a:xfrm>
              <a:off x="1662113" y="1590700"/>
              <a:ext cx="835025" cy="1358900"/>
            </a:xfrm>
            <a:custGeom>
              <a:avLst/>
              <a:gdLst>
                <a:gd name="T0" fmla="*/ 0 w 1098"/>
                <a:gd name="T1" fmla="*/ 0 h 1785"/>
                <a:gd name="T2" fmla="*/ 0 w 1098"/>
                <a:gd name="T3" fmla="*/ 1236 h 1785"/>
                <a:gd name="T4" fmla="*/ 1098 w 1098"/>
                <a:gd name="T5" fmla="*/ 1785 h 1785"/>
                <a:gd name="T6" fmla="*/ 1098 w 1098"/>
                <a:gd name="T7" fmla="*/ 549 h 1785"/>
                <a:gd name="T8" fmla="*/ 0 w 1098"/>
                <a:gd name="T9" fmla="*/ 0 h 1785"/>
              </a:gdLst>
              <a:ahLst/>
              <a:cxnLst>
                <a:cxn ang="0">
                  <a:pos x="T0" y="T1"/>
                </a:cxn>
                <a:cxn ang="0">
                  <a:pos x="T2" y="T3"/>
                </a:cxn>
                <a:cxn ang="0">
                  <a:pos x="T4" y="T5"/>
                </a:cxn>
                <a:cxn ang="0">
                  <a:pos x="T6" y="T7"/>
                </a:cxn>
                <a:cxn ang="0">
                  <a:pos x="T8" y="T9"/>
                </a:cxn>
              </a:cxnLst>
              <a:rect l="0" t="0" r="r" b="b"/>
              <a:pathLst>
                <a:path w="1098" h="1785">
                  <a:moveTo>
                    <a:pt x="0" y="0"/>
                  </a:moveTo>
                  <a:lnTo>
                    <a:pt x="0" y="1236"/>
                  </a:lnTo>
                  <a:lnTo>
                    <a:pt x="1098" y="1785"/>
                  </a:lnTo>
                  <a:lnTo>
                    <a:pt x="1098" y="549"/>
                  </a:lnTo>
                  <a:lnTo>
                    <a:pt x="0" y="0"/>
                  </a:lnTo>
                  <a:close/>
                </a:path>
              </a:pathLst>
            </a:custGeom>
            <a:solidFill>
              <a:schemeClr val="bg2"/>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grpSp>
        <p:nvGrpSpPr>
          <p:cNvPr id="68" name="组合 67"/>
          <p:cNvGrpSpPr/>
          <p:nvPr/>
        </p:nvGrpSpPr>
        <p:grpSpPr>
          <a:xfrm>
            <a:off x="2496344" y="1697062"/>
            <a:ext cx="1672431" cy="1670051"/>
            <a:chOff x="2496344" y="1388715"/>
            <a:chExt cx="1672431" cy="1670051"/>
          </a:xfrm>
        </p:grpSpPr>
        <p:sp>
          <p:nvSpPr>
            <p:cNvPr id="8" name="Freeform 10"/>
            <p:cNvSpPr/>
            <p:nvPr/>
          </p:nvSpPr>
          <p:spPr bwMode="auto">
            <a:xfrm>
              <a:off x="2496344" y="1388715"/>
              <a:ext cx="1671637" cy="835025"/>
            </a:xfrm>
            <a:custGeom>
              <a:avLst/>
              <a:gdLst>
                <a:gd name="T0" fmla="*/ 1099 w 2197"/>
                <a:gd name="T1" fmla="*/ 1099 h 1099"/>
                <a:gd name="T2" fmla="*/ 2197 w 2197"/>
                <a:gd name="T3" fmla="*/ 549 h 1099"/>
                <a:gd name="T4" fmla="*/ 1099 w 2197"/>
                <a:gd name="T5" fmla="*/ 0 h 1099"/>
                <a:gd name="T6" fmla="*/ 0 w 2197"/>
                <a:gd name="T7" fmla="*/ 549 h 1099"/>
                <a:gd name="T8" fmla="*/ 1099 w 2197"/>
                <a:gd name="T9" fmla="*/ 1099 h 1099"/>
              </a:gdLst>
              <a:ahLst/>
              <a:cxnLst>
                <a:cxn ang="0">
                  <a:pos x="T0" y="T1"/>
                </a:cxn>
                <a:cxn ang="0">
                  <a:pos x="T2" y="T3"/>
                </a:cxn>
                <a:cxn ang="0">
                  <a:pos x="T4" y="T5"/>
                </a:cxn>
                <a:cxn ang="0">
                  <a:pos x="T6" y="T7"/>
                </a:cxn>
                <a:cxn ang="0">
                  <a:pos x="T8" y="T9"/>
                </a:cxn>
              </a:cxnLst>
              <a:rect l="0" t="0" r="r" b="b"/>
              <a:pathLst>
                <a:path w="2197" h="1099">
                  <a:moveTo>
                    <a:pt x="1099" y="1099"/>
                  </a:moveTo>
                  <a:lnTo>
                    <a:pt x="2197" y="549"/>
                  </a:lnTo>
                  <a:lnTo>
                    <a:pt x="1099" y="0"/>
                  </a:lnTo>
                  <a:lnTo>
                    <a:pt x="0" y="549"/>
                  </a:lnTo>
                  <a:lnTo>
                    <a:pt x="1099" y="1099"/>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 name="Freeform 11"/>
            <p:cNvSpPr/>
            <p:nvPr/>
          </p:nvSpPr>
          <p:spPr bwMode="auto">
            <a:xfrm>
              <a:off x="2497138" y="1806228"/>
              <a:ext cx="835025" cy="1252538"/>
            </a:xfrm>
            <a:custGeom>
              <a:avLst/>
              <a:gdLst>
                <a:gd name="T0" fmla="*/ 0 w 1099"/>
                <a:gd name="T1" fmla="*/ 0 h 1648"/>
                <a:gd name="T2" fmla="*/ 0 w 1099"/>
                <a:gd name="T3" fmla="*/ 1099 h 1648"/>
                <a:gd name="T4" fmla="*/ 1099 w 1099"/>
                <a:gd name="T5" fmla="*/ 1648 h 1648"/>
                <a:gd name="T6" fmla="*/ 1099 w 1099"/>
                <a:gd name="T7" fmla="*/ 550 h 1648"/>
                <a:gd name="T8" fmla="*/ 0 w 1099"/>
                <a:gd name="T9" fmla="*/ 0 h 1648"/>
              </a:gdLst>
              <a:ahLst/>
              <a:cxnLst>
                <a:cxn ang="0">
                  <a:pos x="T0" y="T1"/>
                </a:cxn>
                <a:cxn ang="0">
                  <a:pos x="T2" y="T3"/>
                </a:cxn>
                <a:cxn ang="0">
                  <a:pos x="T4" y="T5"/>
                </a:cxn>
                <a:cxn ang="0">
                  <a:pos x="T6" y="T7"/>
                </a:cxn>
                <a:cxn ang="0">
                  <a:pos x="T8" y="T9"/>
                </a:cxn>
              </a:cxnLst>
              <a:rect l="0" t="0" r="r" b="b"/>
              <a:pathLst>
                <a:path w="1099" h="1648">
                  <a:moveTo>
                    <a:pt x="0" y="0"/>
                  </a:moveTo>
                  <a:lnTo>
                    <a:pt x="0" y="1099"/>
                  </a:lnTo>
                  <a:lnTo>
                    <a:pt x="1099" y="1648"/>
                  </a:lnTo>
                  <a:lnTo>
                    <a:pt x="1099" y="550"/>
                  </a:lnTo>
                  <a:lnTo>
                    <a:pt x="0" y="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 name="Freeform 12"/>
            <p:cNvSpPr/>
            <p:nvPr/>
          </p:nvSpPr>
          <p:spPr bwMode="auto">
            <a:xfrm>
              <a:off x="3332163" y="1806228"/>
              <a:ext cx="836612" cy="1252538"/>
            </a:xfrm>
            <a:custGeom>
              <a:avLst/>
              <a:gdLst>
                <a:gd name="T0" fmla="*/ 0 w 1098"/>
                <a:gd name="T1" fmla="*/ 1648 h 1648"/>
                <a:gd name="T2" fmla="*/ 1098 w 1098"/>
                <a:gd name="T3" fmla="*/ 1099 h 1648"/>
                <a:gd name="T4" fmla="*/ 1098 w 1098"/>
                <a:gd name="T5" fmla="*/ 0 h 1648"/>
                <a:gd name="T6" fmla="*/ 0 w 1098"/>
                <a:gd name="T7" fmla="*/ 550 h 1648"/>
                <a:gd name="T8" fmla="*/ 0 w 1098"/>
                <a:gd name="T9" fmla="*/ 1648 h 1648"/>
              </a:gdLst>
              <a:ahLst/>
              <a:cxnLst>
                <a:cxn ang="0">
                  <a:pos x="T0" y="T1"/>
                </a:cxn>
                <a:cxn ang="0">
                  <a:pos x="T2" y="T3"/>
                </a:cxn>
                <a:cxn ang="0">
                  <a:pos x="T4" y="T5"/>
                </a:cxn>
                <a:cxn ang="0">
                  <a:pos x="T6" y="T7"/>
                </a:cxn>
                <a:cxn ang="0">
                  <a:pos x="T8" y="T9"/>
                </a:cxn>
              </a:cxnLst>
              <a:rect l="0" t="0" r="r" b="b"/>
              <a:pathLst>
                <a:path w="1098" h="1648">
                  <a:moveTo>
                    <a:pt x="0" y="1648"/>
                  </a:moveTo>
                  <a:lnTo>
                    <a:pt x="1098" y="1099"/>
                  </a:lnTo>
                  <a:lnTo>
                    <a:pt x="1098" y="0"/>
                  </a:lnTo>
                  <a:lnTo>
                    <a:pt x="0" y="550"/>
                  </a:lnTo>
                  <a:lnTo>
                    <a:pt x="0" y="1648"/>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75" name="组合 74"/>
          <p:cNvGrpSpPr/>
          <p:nvPr/>
        </p:nvGrpSpPr>
        <p:grpSpPr>
          <a:xfrm>
            <a:off x="5003800" y="1590700"/>
            <a:ext cx="1671637" cy="1358900"/>
            <a:chOff x="5003800" y="1590700"/>
            <a:chExt cx="1671637" cy="1358900"/>
          </a:xfrm>
        </p:grpSpPr>
        <p:sp>
          <p:nvSpPr>
            <p:cNvPr id="12" name="Freeform 14"/>
            <p:cNvSpPr/>
            <p:nvPr/>
          </p:nvSpPr>
          <p:spPr bwMode="auto">
            <a:xfrm>
              <a:off x="5003800" y="2009800"/>
              <a:ext cx="835025" cy="939800"/>
            </a:xfrm>
            <a:custGeom>
              <a:avLst/>
              <a:gdLst>
                <a:gd name="T0" fmla="*/ 0 w 1099"/>
                <a:gd name="T1" fmla="*/ 0 h 1236"/>
                <a:gd name="T2" fmla="*/ 0 w 1099"/>
                <a:gd name="T3" fmla="*/ 687 h 1236"/>
                <a:gd name="T4" fmla="*/ 1099 w 1099"/>
                <a:gd name="T5" fmla="*/ 1236 h 1236"/>
                <a:gd name="T6" fmla="*/ 1099 w 1099"/>
                <a:gd name="T7" fmla="*/ 549 h 1236"/>
                <a:gd name="T8" fmla="*/ 0 w 1099"/>
                <a:gd name="T9" fmla="*/ 0 h 1236"/>
              </a:gdLst>
              <a:ahLst/>
              <a:cxnLst>
                <a:cxn ang="0">
                  <a:pos x="T0" y="T1"/>
                </a:cxn>
                <a:cxn ang="0">
                  <a:pos x="T2" y="T3"/>
                </a:cxn>
                <a:cxn ang="0">
                  <a:pos x="T4" y="T5"/>
                </a:cxn>
                <a:cxn ang="0">
                  <a:pos x="T6" y="T7"/>
                </a:cxn>
                <a:cxn ang="0">
                  <a:pos x="T8" y="T9"/>
                </a:cxn>
              </a:cxnLst>
              <a:rect l="0" t="0" r="r" b="b"/>
              <a:pathLst>
                <a:path w="1099" h="1236">
                  <a:moveTo>
                    <a:pt x="0" y="0"/>
                  </a:moveTo>
                  <a:lnTo>
                    <a:pt x="0" y="687"/>
                  </a:lnTo>
                  <a:lnTo>
                    <a:pt x="1099" y="1236"/>
                  </a:lnTo>
                  <a:lnTo>
                    <a:pt x="1099" y="549"/>
                  </a:lnTo>
                  <a:lnTo>
                    <a:pt x="0" y="0"/>
                  </a:lnTo>
                  <a:close/>
                </a:path>
              </a:pathLst>
            </a:custGeom>
            <a:solidFill>
              <a:schemeClr val="tx2">
                <a:lumMod val="50000"/>
              </a:schemeClr>
            </a:solidFill>
            <a:ln w="6350">
              <a:noFill/>
              <a:prstDash val="solid"/>
              <a:round/>
            </a:ln>
          </p:spPr>
          <p:txBody>
            <a:bodyPr/>
            <a:lstStyle/>
            <a:p>
              <a:endParaRPr lang="zh-CN" altLang="en-US"/>
            </a:p>
          </p:txBody>
        </p:sp>
        <p:grpSp>
          <p:nvGrpSpPr>
            <p:cNvPr id="65" name="组合 64"/>
            <p:cNvGrpSpPr/>
            <p:nvPr/>
          </p:nvGrpSpPr>
          <p:grpSpPr>
            <a:xfrm>
              <a:off x="5003800" y="1590700"/>
              <a:ext cx="1671637" cy="1358900"/>
              <a:chOff x="5003800" y="1282353"/>
              <a:chExt cx="1671637" cy="1358900"/>
            </a:xfrm>
          </p:grpSpPr>
          <p:sp>
            <p:nvSpPr>
              <p:cNvPr id="11" name="Freeform 13"/>
              <p:cNvSpPr/>
              <p:nvPr/>
            </p:nvSpPr>
            <p:spPr bwMode="auto">
              <a:xfrm>
                <a:off x="5003800" y="1282353"/>
                <a:ext cx="1671637" cy="836613"/>
              </a:xfrm>
              <a:custGeom>
                <a:avLst/>
                <a:gdLst>
                  <a:gd name="T0" fmla="*/ 1099 w 2197"/>
                  <a:gd name="T1" fmla="*/ 1098 h 1098"/>
                  <a:gd name="T2" fmla="*/ 2197 w 2197"/>
                  <a:gd name="T3" fmla="*/ 549 h 1098"/>
                  <a:gd name="T4" fmla="*/ 1099 w 2197"/>
                  <a:gd name="T5" fmla="*/ 0 h 1098"/>
                  <a:gd name="T6" fmla="*/ 0 w 2197"/>
                  <a:gd name="T7" fmla="*/ 549 h 1098"/>
                  <a:gd name="T8" fmla="*/ 1099 w 2197"/>
                  <a:gd name="T9" fmla="*/ 1098 h 1098"/>
                </a:gdLst>
                <a:ahLst/>
                <a:cxnLst>
                  <a:cxn ang="0">
                    <a:pos x="T0" y="T1"/>
                  </a:cxn>
                  <a:cxn ang="0">
                    <a:pos x="T2" y="T3"/>
                  </a:cxn>
                  <a:cxn ang="0">
                    <a:pos x="T4" y="T5"/>
                  </a:cxn>
                  <a:cxn ang="0">
                    <a:pos x="T6" y="T7"/>
                  </a:cxn>
                  <a:cxn ang="0">
                    <a:pos x="T8" y="T9"/>
                  </a:cxn>
                </a:cxnLst>
                <a:rect l="0" t="0" r="r" b="b"/>
                <a:pathLst>
                  <a:path w="2197" h="1098">
                    <a:moveTo>
                      <a:pt x="1099" y="1098"/>
                    </a:moveTo>
                    <a:lnTo>
                      <a:pt x="2197" y="549"/>
                    </a:lnTo>
                    <a:lnTo>
                      <a:pt x="1099" y="0"/>
                    </a:lnTo>
                    <a:lnTo>
                      <a:pt x="0" y="549"/>
                    </a:lnTo>
                    <a:lnTo>
                      <a:pt x="1099" y="1098"/>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3" name="Freeform 15"/>
              <p:cNvSpPr/>
              <p:nvPr/>
            </p:nvSpPr>
            <p:spPr bwMode="auto">
              <a:xfrm>
                <a:off x="5838825" y="1701453"/>
                <a:ext cx="836612" cy="939800"/>
              </a:xfrm>
              <a:custGeom>
                <a:avLst/>
                <a:gdLst>
                  <a:gd name="T0" fmla="*/ 0 w 1098"/>
                  <a:gd name="T1" fmla="*/ 1236 h 1236"/>
                  <a:gd name="T2" fmla="*/ 1098 w 1098"/>
                  <a:gd name="T3" fmla="*/ 687 h 1236"/>
                  <a:gd name="T4" fmla="*/ 1098 w 1098"/>
                  <a:gd name="T5" fmla="*/ 0 h 1236"/>
                  <a:gd name="T6" fmla="*/ 0 w 1098"/>
                  <a:gd name="T7" fmla="*/ 549 h 1236"/>
                  <a:gd name="T8" fmla="*/ 0 w 1098"/>
                  <a:gd name="T9" fmla="*/ 1236 h 1236"/>
                </a:gdLst>
                <a:ahLst/>
                <a:cxnLst>
                  <a:cxn ang="0">
                    <a:pos x="T0" y="T1"/>
                  </a:cxn>
                  <a:cxn ang="0">
                    <a:pos x="T2" y="T3"/>
                  </a:cxn>
                  <a:cxn ang="0">
                    <a:pos x="T4" y="T5"/>
                  </a:cxn>
                  <a:cxn ang="0">
                    <a:pos x="T6" y="T7"/>
                  </a:cxn>
                  <a:cxn ang="0">
                    <a:pos x="T8" y="T9"/>
                  </a:cxn>
                </a:cxnLst>
                <a:rect l="0" t="0" r="r" b="b"/>
                <a:pathLst>
                  <a:path w="1098" h="1236">
                    <a:moveTo>
                      <a:pt x="0" y="1236"/>
                    </a:moveTo>
                    <a:lnTo>
                      <a:pt x="1098" y="687"/>
                    </a:lnTo>
                    <a:lnTo>
                      <a:pt x="1098" y="0"/>
                    </a:lnTo>
                    <a:lnTo>
                      <a:pt x="0" y="549"/>
                    </a:lnTo>
                    <a:lnTo>
                      <a:pt x="0" y="1236"/>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grpSp>
        <p:nvGrpSpPr>
          <p:cNvPr id="73" name="组合 72"/>
          <p:cNvGrpSpPr/>
          <p:nvPr/>
        </p:nvGrpSpPr>
        <p:grpSpPr>
          <a:xfrm>
            <a:off x="4168775" y="1901751"/>
            <a:ext cx="1670050" cy="1462087"/>
            <a:chOff x="4168775" y="1905025"/>
            <a:chExt cx="1670050" cy="1462087"/>
          </a:xfrm>
        </p:grpSpPr>
        <p:sp>
          <p:nvSpPr>
            <p:cNvPr id="15" name="Freeform 17"/>
            <p:cNvSpPr/>
            <p:nvPr/>
          </p:nvSpPr>
          <p:spPr bwMode="auto">
            <a:xfrm>
              <a:off x="4168775" y="2322537"/>
              <a:ext cx="835025" cy="1044575"/>
            </a:xfrm>
            <a:custGeom>
              <a:avLst/>
              <a:gdLst>
                <a:gd name="T0" fmla="*/ 0 w 1099"/>
                <a:gd name="T1" fmla="*/ 0 h 1373"/>
                <a:gd name="T2" fmla="*/ 0 w 1099"/>
                <a:gd name="T3" fmla="*/ 824 h 1373"/>
                <a:gd name="T4" fmla="*/ 1099 w 1099"/>
                <a:gd name="T5" fmla="*/ 1373 h 1373"/>
                <a:gd name="T6" fmla="*/ 1099 w 1099"/>
                <a:gd name="T7" fmla="*/ 549 h 1373"/>
                <a:gd name="T8" fmla="*/ 0 w 1099"/>
                <a:gd name="T9" fmla="*/ 0 h 1373"/>
              </a:gdLst>
              <a:ahLst/>
              <a:cxnLst>
                <a:cxn ang="0">
                  <a:pos x="T0" y="T1"/>
                </a:cxn>
                <a:cxn ang="0">
                  <a:pos x="T2" y="T3"/>
                </a:cxn>
                <a:cxn ang="0">
                  <a:pos x="T4" y="T5"/>
                </a:cxn>
                <a:cxn ang="0">
                  <a:pos x="T6" y="T7"/>
                </a:cxn>
                <a:cxn ang="0">
                  <a:pos x="T8" y="T9"/>
                </a:cxn>
              </a:cxnLst>
              <a:rect l="0" t="0" r="r" b="b"/>
              <a:pathLst>
                <a:path w="1099" h="1373">
                  <a:moveTo>
                    <a:pt x="0" y="0"/>
                  </a:moveTo>
                  <a:lnTo>
                    <a:pt x="0" y="824"/>
                  </a:lnTo>
                  <a:lnTo>
                    <a:pt x="1099" y="1373"/>
                  </a:lnTo>
                  <a:lnTo>
                    <a:pt x="1099" y="549"/>
                  </a:lnTo>
                  <a:lnTo>
                    <a:pt x="0" y="0"/>
                  </a:lnTo>
                  <a:close/>
                </a:path>
              </a:pathLst>
            </a:custGeom>
            <a:solidFill>
              <a:schemeClr val="tx2">
                <a:lumMod val="50000"/>
              </a:schemeClr>
            </a:solidFill>
            <a:ln w="6350">
              <a:noFill/>
              <a:prstDash val="solid"/>
              <a:round/>
            </a:ln>
          </p:spPr>
          <p:txBody>
            <a:bodyPr/>
            <a:lstStyle/>
            <a:p>
              <a:endParaRPr lang="zh-CN" altLang="en-US"/>
            </a:p>
          </p:txBody>
        </p:sp>
        <p:grpSp>
          <p:nvGrpSpPr>
            <p:cNvPr id="66" name="组合 65"/>
            <p:cNvGrpSpPr/>
            <p:nvPr/>
          </p:nvGrpSpPr>
          <p:grpSpPr>
            <a:xfrm>
              <a:off x="4168775" y="1905025"/>
              <a:ext cx="1670050" cy="1462087"/>
              <a:chOff x="4168775" y="1596678"/>
              <a:chExt cx="1670050" cy="1462087"/>
            </a:xfrm>
          </p:grpSpPr>
          <p:sp>
            <p:nvSpPr>
              <p:cNvPr id="14" name="Freeform 16"/>
              <p:cNvSpPr/>
              <p:nvPr/>
            </p:nvSpPr>
            <p:spPr bwMode="auto">
              <a:xfrm>
                <a:off x="4168775" y="1596678"/>
                <a:ext cx="1670050" cy="836613"/>
              </a:xfrm>
              <a:custGeom>
                <a:avLst/>
                <a:gdLst>
                  <a:gd name="T0" fmla="*/ 1099 w 2198"/>
                  <a:gd name="T1" fmla="*/ 1098 h 1098"/>
                  <a:gd name="T2" fmla="*/ 2198 w 2198"/>
                  <a:gd name="T3" fmla="*/ 549 h 1098"/>
                  <a:gd name="T4" fmla="*/ 1099 w 2198"/>
                  <a:gd name="T5" fmla="*/ 0 h 1098"/>
                  <a:gd name="T6" fmla="*/ 0 w 2198"/>
                  <a:gd name="T7" fmla="*/ 549 h 1098"/>
                  <a:gd name="T8" fmla="*/ 1099 w 2198"/>
                  <a:gd name="T9" fmla="*/ 1098 h 1098"/>
                </a:gdLst>
                <a:ahLst/>
                <a:cxnLst>
                  <a:cxn ang="0">
                    <a:pos x="T0" y="T1"/>
                  </a:cxn>
                  <a:cxn ang="0">
                    <a:pos x="T2" y="T3"/>
                  </a:cxn>
                  <a:cxn ang="0">
                    <a:pos x="T4" y="T5"/>
                  </a:cxn>
                  <a:cxn ang="0">
                    <a:pos x="T6" y="T7"/>
                  </a:cxn>
                  <a:cxn ang="0">
                    <a:pos x="T8" y="T9"/>
                  </a:cxn>
                </a:cxnLst>
                <a:rect l="0" t="0" r="r" b="b"/>
                <a:pathLst>
                  <a:path w="2198" h="1098">
                    <a:moveTo>
                      <a:pt x="1099" y="1098"/>
                    </a:moveTo>
                    <a:lnTo>
                      <a:pt x="2198" y="549"/>
                    </a:lnTo>
                    <a:lnTo>
                      <a:pt x="1099" y="0"/>
                    </a:lnTo>
                    <a:lnTo>
                      <a:pt x="0" y="549"/>
                    </a:lnTo>
                    <a:lnTo>
                      <a:pt x="1099" y="1098"/>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6" name="Freeform 18"/>
              <p:cNvSpPr/>
              <p:nvPr/>
            </p:nvSpPr>
            <p:spPr bwMode="auto">
              <a:xfrm>
                <a:off x="5003800" y="2014190"/>
                <a:ext cx="835025" cy="1044575"/>
              </a:xfrm>
              <a:custGeom>
                <a:avLst/>
                <a:gdLst>
                  <a:gd name="T0" fmla="*/ 0 w 1099"/>
                  <a:gd name="T1" fmla="*/ 1373 h 1373"/>
                  <a:gd name="T2" fmla="*/ 1099 w 1099"/>
                  <a:gd name="T3" fmla="*/ 824 h 1373"/>
                  <a:gd name="T4" fmla="*/ 1099 w 1099"/>
                  <a:gd name="T5" fmla="*/ 0 h 1373"/>
                  <a:gd name="T6" fmla="*/ 0 w 1099"/>
                  <a:gd name="T7" fmla="*/ 549 h 1373"/>
                  <a:gd name="T8" fmla="*/ 0 w 1099"/>
                  <a:gd name="T9" fmla="*/ 1373 h 1373"/>
                </a:gdLst>
                <a:ahLst/>
                <a:cxnLst>
                  <a:cxn ang="0">
                    <a:pos x="T0" y="T1"/>
                  </a:cxn>
                  <a:cxn ang="0">
                    <a:pos x="T2" y="T3"/>
                  </a:cxn>
                  <a:cxn ang="0">
                    <a:pos x="T4" y="T5"/>
                  </a:cxn>
                  <a:cxn ang="0">
                    <a:pos x="T6" y="T7"/>
                  </a:cxn>
                  <a:cxn ang="0">
                    <a:pos x="T8" y="T9"/>
                  </a:cxn>
                </a:cxnLst>
                <a:rect l="0" t="0" r="r" b="b"/>
                <a:pathLst>
                  <a:path w="1099" h="1373">
                    <a:moveTo>
                      <a:pt x="0" y="1373"/>
                    </a:moveTo>
                    <a:lnTo>
                      <a:pt x="1099" y="824"/>
                    </a:lnTo>
                    <a:lnTo>
                      <a:pt x="1099" y="0"/>
                    </a:lnTo>
                    <a:lnTo>
                      <a:pt x="0" y="549"/>
                    </a:lnTo>
                    <a:lnTo>
                      <a:pt x="0" y="1373"/>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grpSp>
        <p:nvGrpSpPr>
          <p:cNvPr id="67" name="组合 66"/>
          <p:cNvGrpSpPr/>
          <p:nvPr/>
        </p:nvGrpSpPr>
        <p:grpSpPr>
          <a:xfrm>
            <a:off x="3332163" y="2217762"/>
            <a:ext cx="1671637" cy="1566863"/>
            <a:chOff x="3332163" y="1909415"/>
            <a:chExt cx="1671637" cy="1566863"/>
          </a:xfrm>
        </p:grpSpPr>
        <p:sp>
          <p:nvSpPr>
            <p:cNvPr id="17" name="Freeform 19"/>
            <p:cNvSpPr/>
            <p:nvPr/>
          </p:nvSpPr>
          <p:spPr bwMode="auto">
            <a:xfrm>
              <a:off x="3332163" y="1909415"/>
              <a:ext cx="1671637" cy="835025"/>
            </a:xfrm>
            <a:custGeom>
              <a:avLst/>
              <a:gdLst>
                <a:gd name="T0" fmla="*/ 1098 w 2197"/>
                <a:gd name="T1" fmla="*/ 1098 h 1098"/>
                <a:gd name="T2" fmla="*/ 2197 w 2197"/>
                <a:gd name="T3" fmla="*/ 549 h 1098"/>
                <a:gd name="T4" fmla="*/ 1098 w 2197"/>
                <a:gd name="T5" fmla="*/ 0 h 1098"/>
                <a:gd name="T6" fmla="*/ 0 w 2197"/>
                <a:gd name="T7" fmla="*/ 549 h 1098"/>
                <a:gd name="T8" fmla="*/ 1098 w 2197"/>
                <a:gd name="T9" fmla="*/ 1098 h 1098"/>
              </a:gdLst>
              <a:ahLst/>
              <a:cxnLst>
                <a:cxn ang="0">
                  <a:pos x="T0" y="T1"/>
                </a:cxn>
                <a:cxn ang="0">
                  <a:pos x="T2" y="T3"/>
                </a:cxn>
                <a:cxn ang="0">
                  <a:pos x="T4" y="T5"/>
                </a:cxn>
                <a:cxn ang="0">
                  <a:pos x="T6" y="T7"/>
                </a:cxn>
                <a:cxn ang="0">
                  <a:pos x="T8" y="T9"/>
                </a:cxn>
              </a:cxnLst>
              <a:rect l="0" t="0" r="r" b="b"/>
              <a:pathLst>
                <a:path w="2197" h="1098">
                  <a:moveTo>
                    <a:pt x="1098" y="1098"/>
                  </a:moveTo>
                  <a:lnTo>
                    <a:pt x="2197" y="549"/>
                  </a:lnTo>
                  <a:lnTo>
                    <a:pt x="1098" y="0"/>
                  </a:lnTo>
                  <a:lnTo>
                    <a:pt x="0" y="549"/>
                  </a:lnTo>
                  <a:lnTo>
                    <a:pt x="1098" y="1098"/>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8" name="Freeform 20"/>
            <p:cNvSpPr/>
            <p:nvPr/>
          </p:nvSpPr>
          <p:spPr bwMode="auto">
            <a:xfrm>
              <a:off x="3332163" y="2328515"/>
              <a:ext cx="836612" cy="1147763"/>
            </a:xfrm>
            <a:custGeom>
              <a:avLst/>
              <a:gdLst>
                <a:gd name="T0" fmla="*/ 0 w 1098"/>
                <a:gd name="T1" fmla="*/ 0 h 1510"/>
                <a:gd name="T2" fmla="*/ 0 w 1098"/>
                <a:gd name="T3" fmla="*/ 961 h 1510"/>
                <a:gd name="T4" fmla="*/ 1098 w 1098"/>
                <a:gd name="T5" fmla="*/ 1510 h 1510"/>
                <a:gd name="T6" fmla="*/ 1098 w 1098"/>
                <a:gd name="T7" fmla="*/ 549 h 1510"/>
                <a:gd name="T8" fmla="*/ 0 w 1098"/>
                <a:gd name="T9" fmla="*/ 0 h 1510"/>
              </a:gdLst>
              <a:ahLst/>
              <a:cxnLst>
                <a:cxn ang="0">
                  <a:pos x="T0" y="T1"/>
                </a:cxn>
                <a:cxn ang="0">
                  <a:pos x="T2" y="T3"/>
                </a:cxn>
                <a:cxn ang="0">
                  <a:pos x="T4" y="T5"/>
                </a:cxn>
                <a:cxn ang="0">
                  <a:pos x="T6" y="T7"/>
                </a:cxn>
                <a:cxn ang="0">
                  <a:pos x="T8" y="T9"/>
                </a:cxn>
              </a:cxnLst>
              <a:rect l="0" t="0" r="r" b="b"/>
              <a:pathLst>
                <a:path w="1098" h="1510">
                  <a:moveTo>
                    <a:pt x="0" y="0"/>
                  </a:moveTo>
                  <a:lnTo>
                    <a:pt x="0" y="961"/>
                  </a:lnTo>
                  <a:lnTo>
                    <a:pt x="1098" y="1510"/>
                  </a:lnTo>
                  <a:lnTo>
                    <a:pt x="1098" y="549"/>
                  </a:lnTo>
                  <a:lnTo>
                    <a:pt x="0" y="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9" name="Freeform 21"/>
            <p:cNvSpPr/>
            <p:nvPr/>
          </p:nvSpPr>
          <p:spPr bwMode="auto">
            <a:xfrm>
              <a:off x="4168775" y="2328515"/>
              <a:ext cx="835025" cy="1147763"/>
            </a:xfrm>
            <a:custGeom>
              <a:avLst/>
              <a:gdLst>
                <a:gd name="T0" fmla="*/ 0 w 1099"/>
                <a:gd name="T1" fmla="*/ 1510 h 1510"/>
                <a:gd name="T2" fmla="*/ 1099 w 1099"/>
                <a:gd name="T3" fmla="*/ 961 h 1510"/>
                <a:gd name="T4" fmla="*/ 1099 w 1099"/>
                <a:gd name="T5" fmla="*/ 0 h 1510"/>
                <a:gd name="T6" fmla="*/ 0 w 1099"/>
                <a:gd name="T7" fmla="*/ 549 h 1510"/>
                <a:gd name="T8" fmla="*/ 0 w 1099"/>
                <a:gd name="T9" fmla="*/ 1510 h 1510"/>
              </a:gdLst>
              <a:ahLst/>
              <a:cxnLst>
                <a:cxn ang="0">
                  <a:pos x="T0" y="T1"/>
                </a:cxn>
                <a:cxn ang="0">
                  <a:pos x="T2" y="T3"/>
                </a:cxn>
                <a:cxn ang="0">
                  <a:pos x="T4" y="T5"/>
                </a:cxn>
                <a:cxn ang="0">
                  <a:pos x="T6" y="T7"/>
                </a:cxn>
                <a:cxn ang="0">
                  <a:pos x="T8" y="T9"/>
                </a:cxn>
              </a:cxnLst>
              <a:rect l="0" t="0" r="r" b="b"/>
              <a:pathLst>
                <a:path w="1099" h="1510">
                  <a:moveTo>
                    <a:pt x="0" y="1510"/>
                  </a:moveTo>
                  <a:lnTo>
                    <a:pt x="1099" y="961"/>
                  </a:lnTo>
                  <a:lnTo>
                    <a:pt x="1099" y="0"/>
                  </a:lnTo>
                  <a:lnTo>
                    <a:pt x="0" y="549"/>
                  </a:lnTo>
                  <a:lnTo>
                    <a:pt x="0" y="1510"/>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64" name="组合 63"/>
          <p:cNvGrpSpPr/>
          <p:nvPr/>
        </p:nvGrpSpPr>
        <p:grpSpPr>
          <a:xfrm>
            <a:off x="5838825" y="2114575"/>
            <a:ext cx="1671638" cy="1252537"/>
            <a:chOff x="5838825" y="1806228"/>
            <a:chExt cx="1671638" cy="1252537"/>
          </a:xfrm>
        </p:grpSpPr>
        <p:sp>
          <p:nvSpPr>
            <p:cNvPr id="20" name="Freeform 22"/>
            <p:cNvSpPr/>
            <p:nvPr/>
          </p:nvSpPr>
          <p:spPr bwMode="auto">
            <a:xfrm>
              <a:off x="5838825" y="1806228"/>
              <a:ext cx="1671637" cy="835025"/>
            </a:xfrm>
            <a:custGeom>
              <a:avLst/>
              <a:gdLst>
                <a:gd name="T0" fmla="*/ 1098 w 2197"/>
                <a:gd name="T1" fmla="*/ 1099 h 1099"/>
                <a:gd name="T2" fmla="*/ 2197 w 2197"/>
                <a:gd name="T3" fmla="*/ 550 h 1099"/>
                <a:gd name="T4" fmla="*/ 1098 w 2197"/>
                <a:gd name="T5" fmla="*/ 0 h 1099"/>
                <a:gd name="T6" fmla="*/ 0 w 2197"/>
                <a:gd name="T7" fmla="*/ 550 h 1099"/>
                <a:gd name="T8" fmla="*/ 1098 w 2197"/>
                <a:gd name="T9" fmla="*/ 1099 h 1099"/>
              </a:gdLst>
              <a:ahLst/>
              <a:cxnLst>
                <a:cxn ang="0">
                  <a:pos x="T0" y="T1"/>
                </a:cxn>
                <a:cxn ang="0">
                  <a:pos x="T2" y="T3"/>
                </a:cxn>
                <a:cxn ang="0">
                  <a:pos x="T4" y="T5"/>
                </a:cxn>
                <a:cxn ang="0">
                  <a:pos x="T6" y="T7"/>
                </a:cxn>
                <a:cxn ang="0">
                  <a:pos x="T8" y="T9"/>
                </a:cxn>
              </a:cxnLst>
              <a:rect l="0" t="0" r="r" b="b"/>
              <a:pathLst>
                <a:path w="2197" h="1099">
                  <a:moveTo>
                    <a:pt x="1098" y="1099"/>
                  </a:moveTo>
                  <a:lnTo>
                    <a:pt x="2197" y="550"/>
                  </a:lnTo>
                  <a:lnTo>
                    <a:pt x="1098" y="0"/>
                  </a:lnTo>
                  <a:lnTo>
                    <a:pt x="0" y="550"/>
                  </a:lnTo>
                  <a:lnTo>
                    <a:pt x="1098" y="1099"/>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1" name="Freeform 23"/>
            <p:cNvSpPr/>
            <p:nvPr/>
          </p:nvSpPr>
          <p:spPr bwMode="auto">
            <a:xfrm>
              <a:off x="5838825" y="2223740"/>
              <a:ext cx="836612" cy="835025"/>
            </a:xfrm>
            <a:custGeom>
              <a:avLst/>
              <a:gdLst>
                <a:gd name="T0" fmla="*/ 0 w 1098"/>
                <a:gd name="T1" fmla="*/ 0 h 1098"/>
                <a:gd name="T2" fmla="*/ 0 w 1098"/>
                <a:gd name="T3" fmla="*/ 549 h 1098"/>
                <a:gd name="T4" fmla="*/ 1098 w 1098"/>
                <a:gd name="T5" fmla="*/ 1098 h 1098"/>
                <a:gd name="T6" fmla="*/ 1098 w 1098"/>
                <a:gd name="T7" fmla="*/ 549 h 1098"/>
                <a:gd name="T8" fmla="*/ 0 w 1098"/>
                <a:gd name="T9" fmla="*/ 0 h 1098"/>
              </a:gdLst>
              <a:ahLst/>
              <a:cxnLst>
                <a:cxn ang="0">
                  <a:pos x="T0" y="T1"/>
                </a:cxn>
                <a:cxn ang="0">
                  <a:pos x="T2" y="T3"/>
                </a:cxn>
                <a:cxn ang="0">
                  <a:pos x="T4" y="T5"/>
                </a:cxn>
                <a:cxn ang="0">
                  <a:pos x="T6" y="T7"/>
                </a:cxn>
                <a:cxn ang="0">
                  <a:pos x="T8" y="T9"/>
                </a:cxn>
              </a:cxnLst>
              <a:rect l="0" t="0" r="r" b="b"/>
              <a:pathLst>
                <a:path w="1098" h="1098">
                  <a:moveTo>
                    <a:pt x="0" y="0"/>
                  </a:moveTo>
                  <a:lnTo>
                    <a:pt x="0" y="549"/>
                  </a:lnTo>
                  <a:lnTo>
                    <a:pt x="1098" y="1098"/>
                  </a:lnTo>
                  <a:lnTo>
                    <a:pt x="1098" y="549"/>
                  </a:lnTo>
                  <a:lnTo>
                    <a:pt x="0" y="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2" name="Freeform 24"/>
            <p:cNvSpPr/>
            <p:nvPr/>
          </p:nvSpPr>
          <p:spPr bwMode="auto">
            <a:xfrm>
              <a:off x="6675438" y="2223740"/>
              <a:ext cx="835025" cy="835025"/>
            </a:xfrm>
            <a:custGeom>
              <a:avLst/>
              <a:gdLst>
                <a:gd name="T0" fmla="*/ 0 w 1099"/>
                <a:gd name="T1" fmla="*/ 1098 h 1098"/>
                <a:gd name="T2" fmla="*/ 1099 w 1099"/>
                <a:gd name="T3" fmla="*/ 549 h 1098"/>
                <a:gd name="T4" fmla="*/ 1099 w 1099"/>
                <a:gd name="T5" fmla="*/ 0 h 1098"/>
                <a:gd name="T6" fmla="*/ 0 w 1099"/>
                <a:gd name="T7" fmla="*/ 549 h 1098"/>
                <a:gd name="T8" fmla="*/ 0 w 1099"/>
                <a:gd name="T9" fmla="*/ 1098 h 1098"/>
              </a:gdLst>
              <a:ahLst/>
              <a:cxnLst>
                <a:cxn ang="0">
                  <a:pos x="T0" y="T1"/>
                </a:cxn>
                <a:cxn ang="0">
                  <a:pos x="T2" y="T3"/>
                </a:cxn>
                <a:cxn ang="0">
                  <a:pos x="T4" y="T5"/>
                </a:cxn>
                <a:cxn ang="0">
                  <a:pos x="T6" y="T7"/>
                </a:cxn>
                <a:cxn ang="0">
                  <a:pos x="T8" y="T9"/>
                </a:cxn>
              </a:cxnLst>
              <a:rect l="0" t="0" r="r" b="b"/>
              <a:pathLst>
                <a:path w="1099" h="1098">
                  <a:moveTo>
                    <a:pt x="0" y="1098"/>
                  </a:moveTo>
                  <a:lnTo>
                    <a:pt x="1099" y="549"/>
                  </a:lnTo>
                  <a:lnTo>
                    <a:pt x="1099" y="0"/>
                  </a:lnTo>
                  <a:lnTo>
                    <a:pt x="0" y="549"/>
                  </a:lnTo>
                  <a:lnTo>
                    <a:pt x="0" y="1098"/>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63" name="组合 62"/>
          <p:cNvGrpSpPr/>
          <p:nvPr/>
        </p:nvGrpSpPr>
        <p:grpSpPr>
          <a:xfrm>
            <a:off x="6675438" y="2636862"/>
            <a:ext cx="1670050" cy="1147763"/>
            <a:chOff x="6675438" y="2328515"/>
            <a:chExt cx="1670050" cy="1147763"/>
          </a:xfrm>
        </p:grpSpPr>
        <p:sp>
          <p:nvSpPr>
            <p:cNvPr id="23" name="Freeform 25"/>
            <p:cNvSpPr/>
            <p:nvPr/>
          </p:nvSpPr>
          <p:spPr bwMode="auto">
            <a:xfrm>
              <a:off x="6675438" y="2328515"/>
              <a:ext cx="1670050" cy="835025"/>
            </a:xfrm>
            <a:custGeom>
              <a:avLst/>
              <a:gdLst>
                <a:gd name="T0" fmla="*/ 1099 w 2197"/>
                <a:gd name="T1" fmla="*/ 1098 h 1098"/>
                <a:gd name="T2" fmla="*/ 2197 w 2197"/>
                <a:gd name="T3" fmla="*/ 549 h 1098"/>
                <a:gd name="T4" fmla="*/ 1099 w 2197"/>
                <a:gd name="T5" fmla="*/ 0 h 1098"/>
                <a:gd name="T6" fmla="*/ 0 w 2197"/>
                <a:gd name="T7" fmla="*/ 549 h 1098"/>
                <a:gd name="T8" fmla="*/ 1099 w 2197"/>
                <a:gd name="T9" fmla="*/ 1098 h 1098"/>
              </a:gdLst>
              <a:ahLst/>
              <a:cxnLst>
                <a:cxn ang="0">
                  <a:pos x="T0" y="T1"/>
                </a:cxn>
                <a:cxn ang="0">
                  <a:pos x="T2" y="T3"/>
                </a:cxn>
                <a:cxn ang="0">
                  <a:pos x="T4" y="T5"/>
                </a:cxn>
                <a:cxn ang="0">
                  <a:pos x="T6" y="T7"/>
                </a:cxn>
                <a:cxn ang="0">
                  <a:pos x="T8" y="T9"/>
                </a:cxn>
              </a:cxnLst>
              <a:rect l="0" t="0" r="r" b="b"/>
              <a:pathLst>
                <a:path w="2197" h="1098">
                  <a:moveTo>
                    <a:pt x="1099" y="1098"/>
                  </a:moveTo>
                  <a:lnTo>
                    <a:pt x="2197" y="549"/>
                  </a:lnTo>
                  <a:lnTo>
                    <a:pt x="1099" y="0"/>
                  </a:lnTo>
                  <a:lnTo>
                    <a:pt x="0" y="549"/>
                  </a:lnTo>
                  <a:lnTo>
                    <a:pt x="1099" y="1098"/>
                  </a:lnTo>
                  <a:close/>
                </a:path>
              </a:pathLst>
            </a:custGeom>
            <a:solidFill>
              <a:srgbClr val="03A55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4" name="Freeform 26"/>
            <p:cNvSpPr/>
            <p:nvPr/>
          </p:nvSpPr>
          <p:spPr bwMode="auto">
            <a:xfrm>
              <a:off x="6675438" y="2744440"/>
              <a:ext cx="835025" cy="731838"/>
            </a:xfrm>
            <a:custGeom>
              <a:avLst/>
              <a:gdLst>
                <a:gd name="T0" fmla="*/ 0 w 1099"/>
                <a:gd name="T1" fmla="*/ 0 h 961"/>
                <a:gd name="T2" fmla="*/ 0 w 1099"/>
                <a:gd name="T3" fmla="*/ 412 h 961"/>
                <a:gd name="T4" fmla="*/ 1099 w 1099"/>
                <a:gd name="T5" fmla="*/ 961 h 961"/>
                <a:gd name="T6" fmla="*/ 1099 w 1099"/>
                <a:gd name="T7" fmla="*/ 549 h 961"/>
                <a:gd name="T8" fmla="*/ 0 w 1099"/>
                <a:gd name="T9" fmla="*/ 0 h 961"/>
              </a:gdLst>
              <a:ahLst/>
              <a:cxnLst>
                <a:cxn ang="0">
                  <a:pos x="T0" y="T1"/>
                </a:cxn>
                <a:cxn ang="0">
                  <a:pos x="T2" y="T3"/>
                </a:cxn>
                <a:cxn ang="0">
                  <a:pos x="T4" y="T5"/>
                </a:cxn>
                <a:cxn ang="0">
                  <a:pos x="T6" y="T7"/>
                </a:cxn>
                <a:cxn ang="0">
                  <a:pos x="T8" y="T9"/>
                </a:cxn>
              </a:cxnLst>
              <a:rect l="0" t="0" r="r" b="b"/>
              <a:pathLst>
                <a:path w="1099" h="961">
                  <a:moveTo>
                    <a:pt x="0" y="0"/>
                  </a:moveTo>
                  <a:lnTo>
                    <a:pt x="0" y="412"/>
                  </a:lnTo>
                  <a:lnTo>
                    <a:pt x="1099" y="961"/>
                  </a:lnTo>
                  <a:lnTo>
                    <a:pt x="1099" y="549"/>
                  </a:lnTo>
                  <a:lnTo>
                    <a:pt x="0" y="0"/>
                  </a:lnTo>
                  <a:close/>
                </a:path>
              </a:pathLst>
            </a:custGeom>
            <a:solidFill>
              <a:schemeClr val="bg2"/>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5" name="Freeform 27"/>
            <p:cNvSpPr/>
            <p:nvPr/>
          </p:nvSpPr>
          <p:spPr bwMode="auto">
            <a:xfrm>
              <a:off x="7510463" y="2744440"/>
              <a:ext cx="835025" cy="731838"/>
            </a:xfrm>
            <a:custGeom>
              <a:avLst/>
              <a:gdLst>
                <a:gd name="T0" fmla="*/ 0 w 1098"/>
                <a:gd name="T1" fmla="*/ 961 h 961"/>
                <a:gd name="T2" fmla="*/ 1098 w 1098"/>
                <a:gd name="T3" fmla="*/ 412 h 961"/>
                <a:gd name="T4" fmla="*/ 1098 w 1098"/>
                <a:gd name="T5" fmla="*/ 0 h 961"/>
                <a:gd name="T6" fmla="*/ 0 w 1098"/>
                <a:gd name="T7" fmla="*/ 549 h 961"/>
                <a:gd name="T8" fmla="*/ 0 w 1098"/>
                <a:gd name="T9" fmla="*/ 961 h 961"/>
              </a:gdLst>
              <a:ahLst/>
              <a:cxnLst>
                <a:cxn ang="0">
                  <a:pos x="T0" y="T1"/>
                </a:cxn>
                <a:cxn ang="0">
                  <a:pos x="T2" y="T3"/>
                </a:cxn>
                <a:cxn ang="0">
                  <a:pos x="T4" y="T5"/>
                </a:cxn>
                <a:cxn ang="0">
                  <a:pos x="T6" y="T7"/>
                </a:cxn>
                <a:cxn ang="0">
                  <a:pos x="T8" y="T9"/>
                </a:cxn>
              </a:cxnLst>
              <a:rect l="0" t="0" r="r" b="b"/>
              <a:pathLst>
                <a:path w="1098" h="961">
                  <a:moveTo>
                    <a:pt x="0" y="961"/>
                  </a:moveTo>
                  <a:lnTo>
                    <a:pt x="1098" y="412"/>
                  </a:lnTo>
                  <a:lnTo>
                    <a:pt x="1098" y="0"/>
                  </a:lnTo>
                  <a:lnTo>
                    <a:pt x="0" y="549"/>
                  </a:lnTo>
                  <a:lnTo>
                    <a:pt x="0" y="961"/>
                  </a:lnTo>
                  <a:close/>
                </a:path>
              </a:pathLst>
            </a:custGeom>
            <a:solidFill>
              <a:schemeClr val="bg2">
                <a:lumMod val="75000"/>
              </a:schemeClr>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2" name="组合 71"/>
          <p:cNvGrpSpPr/>
          <p:nvPr/>
        </p:nvGrpSpPr>
        <p:grpSpPr>
          <a:xfrm>
            <a:off x="5838825" y="3157562"/>
            <a:ext cx="1671638" cy="1046163"/>
            <a:chOff x="5838825" y="3157562"/>
            <a:chExt cx="1671638" cy="1046163"/>
          </a:xfrm>
        </p:grpSpPr>
        <p:sp>
          <p:nvSpPr>
            <p:cNvPr id="28" name="Freeform 30"/>
            <p:cNvSpPr/>
            <p:nvPr/>
          </p:nvSpPr>
          <p:spPr bwMode="auto">
            <a:xfrm>
              <a:off x="6675438" y="3576662"/>
              <a:ext cx="835025" cy="627063"/>
            </a:xfrm>
            <a:custGeom>
              <a:avLst/>
              <a:gdLst>
                <a:gd name="T0" fmla="*/ 0 w 1099"/>
                <a:gd name="T1" fmla="*/ 824 h 824"/>
                <a:gd name="T2" fmla="*/ 1099 w 1099"/>
                <a:gd name="T3" fmla="*/ 275 h 824"/>
                <a:gd name="T4" fmla="*/ 1099 w 1099"/>
                <a:gd name="T5" fmla="*/ 0 h 824"/>
                <a:gd name="T6" fmla="*/ 0 w 1099"/>
                <a:gd name="T7" fmla="*/ 550 h 824"/>
                <a:gd name="T8" fmla="*/ 0 w 1099"/>
                <a:gd name="T9" fmla="*/ 824 h 824"/>
              </a:gdLst>
              <a:ahLst/>
              <a:cxnLst>
                <a:cxn ang="0">
                  <a:pos x="T0" y="T1"/>
                </a:cxn>
                <a:cxn ang="0">
                  <a:pos x="T2" y="T3"/>
                </a:cxn>
                <a:cxn ang="0">
                  <a:pos x="T4" y="T5"/>
                </a:cxn>
                <a:cxn ang="0">
                  <a:pos x="T6" y="T7"/>
                </a:cxn>
                <a:cxn ang="0">
                  <a:pos x="T8" y="T9"/>
                </a:cxn>
              </a:cxnLst>
              <a:rect l="0" t="0" r="r" b="b"/>
              <a:pathLst>
                <a:path w="1099" h="824">
                  <a:moveTo>
                    <a:pt x="0" y="824"/>
                  </a:moveTo>
                  <a:lnTo>
                    <a:pt x="1099" y="275"/>
                  </a:lnTo>
                  <a:lnTo>
                    <a:pt x="1099" y="0"/>
                  </a:lnTo>
                  <a:lnTo>
                    <a:pt x="0" y="550"/>
                  </a:lnTo>
                  <a:lnTo>
                    <a:pt x="0" y="824"/>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nvGrpSpPr>
            <p:cNvPr id="62" name="组合 61"/>
            <p:cNvGrpSpPr/>
            <p:nvPr/>
          </p:nvGrpSpPr>
          <p:grpSpPr>
            <a:xfrm>
              <a:off x="5838825" y="3157562"/>
              <a:ext cx="1671637" cy="1046163"/>
              <a:chOff x="5838825" y="2849215"/>
              <a:chExt cx="1671637" cy="1046163"/>
            </a:xfrm>
          </p:grpSpPr>
          <p:sp>
            <p:nvSpPr>
              <p:cNvPr id="26" name="Freeform 28"/>
              <p:cNvSpPr/>
              <p:nvPr/>
            </p:nvSpPr>
            <p:spPr bwMode="auto">
              <a:xfrm>
                <a:off x="5838825" y="2849215"/>
                <a:ext cx="1671637" cy="835025"/>
              </a:xfrm>
              <a:custGeom>
                <a:avLst/>
                <a:gdLst>
                  <a:gd name="T0" fmla="*/ 1098 w 2197"/>
                  <a:gd name="T1" fmla="*/ 1099 h 1099"/>
                  <a:gd name="T2" fmla="*/ 2197 w 2197"/>
                  <a:gd name="T3" fmla="*/ 549 h 1099"/>
                  <a:gd name="T4" fmla="*/ 1098 w 2197"/>
                  <a:gd name="T5" fmla="*/ 0 h 1099"/>
                  <a:gd name="T6" fmla="*/ 0 w 2197"/>
                  <a:gd name="T7" fmla="*/ 549 h 1099"/>
                  <a:gd name="T8" fmla="*/ 1098 w 2197"/>
                  <a:gd name="T9" fmla="*/ 1099 h 1099"/>
                </a:gdLst>
                <a:ahLst/>
                <a:cxnLst>
                  <a:cxn ang="0">
                    <a:pos x="T0" y="T1"/>
                  </a:cxn>
                  <a:cxn ang="0">
                    <a:pos x="T2" y="T3"/>
                  </a:cxn>
                  <a:cxn ang="0">
                    <a:pos x="T4" y="T5"/>
                  </a:cxn>
                  <a:cxn ang="0">
                    <a:pos x="T6" y="T7"/>
                  </a:cxn>
                  <a:cxn ang="0">
                    <a:pos x="T8" y="T9"/>
                  </a:cxn>
                </a:cxnLst>
                <a:rect l="0" t="0" r="r" b="b"/>
                <a:pathLst>
                  <a:path w="2197" h="1099">
                    <a:moveTo>
                      <a:pt x="1098" y="1099"/>
                    </a:moveTo>
                    <a:lnTo>
                      <a:pt x="2197" y="549"/>
                    </a:lnTo>
                    <a:lnTo>
                      <a:pt x="1098" y="0"/>
                    </a:lnTo>
                    <a:lnTo>
                      <a:pt x="0" y="549"/>
                    </a:lnTo>
                    <a:lnTo>
                      <a:pt x="1098" y="1099"/>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27" name="Freeform 29"/>
              <p:cNvSpPr/>
              <p:nvPr/>
            </p:nvSpPr>
            <p:spPr bwMode="auto">
              <a:xfrm>
                <a:off x="5838825" y="3268315"/>
                <a:ext cx="836612" cy="627063"/>
              </a:xfrm>
              <a:custGeom>
                <a:avLst/>
                <a:gdLst>
                  <a:gd name="T0" fmla="*/ 0 w 1098"/>
                  <a:gd name="T1" fmla="*/ 0 h 824"/>
                  <a:gd name="T2" fmla="*/ 0 w 1098"/>
                  <a:gd name="T3" fmla="*/ 275 h 824"/>
                  <a:gd name="T4" fmla="*/ 1098 w 1098"/>
                  <a:gd name="T5" fmla="*/ 824 h 824"/>
                  <a:gd name="T6" fmla="*/ 1098 w 1098"/>
                  <a:gd name="T7" fmla="*/ 550 h 824"/>
                  <a:gd name="T8" fmla="*/ 0 w 1098"/>
                  <a:gd name="T9" fmla="*/ 0 h 824"/>
                </a:gdLst>
                <a:ahLst/>
                <a:cxnLst>
                  <a:cxn ang="0">
                    <a:pos x="T0" y="T1"/>
                  </a:cxn>
                  <a:cxn ang="0">
                    <a:pos x="T2" y="T3"/>
                  </a:cxn>
                  <a:cxn ang="0">
                    <a:pos x="T4" y="T5"/>
                  </a:cxn>
                  <a:cxn ang="0">
                    <a:pos x="T6" y="T7"/>
                  </a:cxn>
                  <a:cxn ang="0">
                    <a:pos x="T8" y="T9"/>
                  </a:cxn>
                </a:cxnLst>
                <a:rect l="0" t="0" r="r" b="b"/>
                <a:pathLst>
                  <a:path w="1098" h="824">
                    <a:moveTo>
                      <a:pt x="0" y="0"/>
                    </a:moveTo>
                    <a:lnTo>
                      <a:pt x="0" y="275"/>
                    </a:lnTo>
                    <a:lnTo>
                      <a:pt x="1098" y="824"/>
                    </a:lnTo>
                    <a:lnTo>
                      <a:pt x="1098" y="550"/>
                    </a:lnTo>
                    <a:lnTo>
                      <a:pt x="0" y="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34" name="Freeform 36"/>
          <p:cNvSpPr/>
          <p:nvPr/>
        </p:nvSpPr>
        <p:spPr bwMode="auto">
          <a:xfrm flipH="1" flipV="1">
            <a:off x="4103688" y="4511700"/>
            <a:ext cx="1079500" cy="528638"/>
          </a:xfrm>
          <a:custGeom>
            <a:avLst/>
            <a:gdLst>
              <a:gd name="T0" fmla="*/ 432 w 1008"/>
              <a:gd name="T1" fmla="*/ 432 h 504"/>
              <a:gd name="T2" fmla="*/ 576 w 1008"/>
              <a:gd name="T3" fmla="*/ 504 h 504"/>
              <a:gd name="T4" fmla="*/ 0 w 1008"/>
              <a:gd name="T5" fmla="*/ 504 h 504"/>
              <a:gd name="T6" fmla="*/ 0 w 1008"/>
              <a:gd name="T7" fmla="*/ 216 h 504"/>
              <a:gd name="T8" fmla="*/ 144 w 1008"/>
              <a:gd name="T9" fmla="*/ 288 h 504"/>
              <a:gd name="T10" fmla="*/ 720 w 1008"/>
              <a:gd name="T11" fmla="*/ 0 h 504"/>
              <a:gd name="T12" fmla="*/ 1008 w 1008"/>
              <a:gd name="T13" fmla="*/ 144 h 504"/>
              <a:gd name="T14" fmla="*/ 432 w 1008"/>
              <a:gd name="T15" fmla="*/ 43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432"/>
                </a:moveTo>
                <a:lnTo>
                  <a:pt x="576" y="504"/>
                </a:lnTo>
                <a:lnTo>
                  <a:pt x="0" y="504"/>
                </a:lnTo>
                <a:lnTo>
                  <a:pt x="0" y="216"/>
                </a:lnTo>
                <a:lnTo>
                  <a:pt x="144" y="288"/>
                </a:lnTo>
                <a:lnTo>
                  <a:pt x="720" y="0"/>
                </a:lnTo>
                <a:lnTo>
                  <a:pt x="1008" y="144"/>
                </a:lnTo>
                <a:lnTo>
                  <a:pt x="432" y="432"/>
                </a:lnTo>
                <a:close/>
              </a:path>
            </a:pathLst>
          </a:custGeom>
          <a:solidFill>
            <a:schemeClr val="tx1">
              <a:alpha val="25000"/>
            </a:schemeClr>
          </a:soli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2" name="组合 1"/>
          <p:cNvGrpSpPr/>
          <p:nvPr/>
        </p:nvGrpSpPr>
        <p:grpSpPr>
          <a:xfrm>
            <a:off x="5003800" y="3679850"/>
            <a:ext cx="1671637" cy="939800"/>
            <a:chOff x="5003800" y="3371503"/>
            <a:chExt cx="1671637" cy="939800"/>
          </a:xfrm>
        </p:grpSpPr>
        <p:sp>
          <p:nvSpPr>
            <p:cNvPr id="29" name="Freeform 31"/>
            <p:cNvSpPr/>
            <p:nvPr/>
          </p:nvSpPr>
          <p:spPr bwMode="auto">
            <a:xfrm>
              <a:off x="5003800" y="3371503"/>
              <a:ext cx="1671637" cy="835025"/>
            </a:xfrm>
            <a:custGeom>
              <a:avLst/>
              <a:gdLst>
                <a:gd name="T0" fmla="*/ 1099 w 2197"/>
                <a:gd name="T1" fmla="*/ 1098 h 1098"/>
                <a:gd name="T2" fmla="*/ 2197 w 2197"/>
                <a:gd name="T3" fmla="*/ 549 h 1098"/>
                <a:gd name="T4" fmla="*/ 1099 w 2197"/>
                <a:gd name="T5" fmla="*/ 0 h 1098"/>
                <a:gd name="T6" fmla="*/ 0 w 2197"/>
                <a:gd name="T7" fmla="*/ 549 h 1098"/>
                <a:gd name="T8" fmla="*/ 1099 w 2197"/>
                <a:gd name="T9" fmla="*/ 1098 h 1098"/>
              </a:gdLst>
              <a:ahLst/>
              <a:cxnLst>
                <a:cxn ang="0">
                  <a:pos x="T0" y="T1"/>
                </a:cxn>
                <a:cxn ang="0">
                  <a:pos x="T2" y="T3"/>
                </a:cxn>
                <a:cxn ang="0">
                  <a:pos x="T4" y="T5"/>
                </a:cxn>
                <a:cxn ang="0">
                  <a:pos x="T6" y="T7"/>
                </a:cxn>
                <a:cxn ang="0">
                  <a:pos x="T8" y="T9"/>
                </a:cxn>
              </a:cxnLst>
              <a:rect l="0" t="0" r="r" b="b"/>
              <a:pathLst>
                <a:path w="2197" h="1098">
                  <a:moveTo>
                    <a:pt x="1099" y="1098"/>
                  </a:moveTo>
                  <a:lnTo>
                    <a:pt x="2197" y="549"/>
                  </a:lnTo>
                  <a:lnTo>
                    <a:pt x="1099" y="0"/>
                  </a:lnTo>
                  <a:lnTo>
                    <a:pt x="0" y="549"/>
                  </a:lnTo>
                  <a:lnTo>
                    <a:pt x="1099" y="1098"/>
                  </a:lnTo>
                  <a:close/>
                </a:path>
              </a:pathLst>
            </a:custGeom>
            <a:gradFill rotWithShape="1">
              <a:gsLst>
                <a:gs pos="0">
                  <a:srgbClr val="DDDDDD"/>
                </a:gs>
                <a:gs pos="100000">
                  <a:srgbClr val="DDDDDD">
                    <a:gamma/>
                    <a:tint val="0"/>
                    <a:invGamma/>
                  </a:srgbClr>
                </a:gs>
              </a:gsLst>
              <a:lin ang="54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30" name="Freeform 32"/>
            <p:cNvSpPr/>
            <p:nvPr/>
          </p:nvSpPr>
          <p:spPr bwMode="auto">
            <a:xfrm>
              <a:off x="5003800" y="3789015"/>
              <a:ext cx="835025" cy="522288"/>
            </a:xfrm>
            <a:custGeom>
              <a:avLst/>
              <a:gdLst>
                <a:gd name="T0" fmla="*/ 0 w 1099"/>
                <a:gd name="T1" fmla="*/ 0 h 686"/>
                <a:gd name="T2" fmla="*/ 0 w 1099"/>
                <a:gd name="T3" fmla="*/ 137 h 686"/>
                <a:gd name="T4" fmla="*/ 1099 w 1099"/>
                <a:gd name="T5" fmla="*/ 686 h 686"/>
                <a:gd name="T6" fmla="*/ 1099 w 1099"/>
                <a:gd name="T7" fmla="*/ 549 h 686"/>
                <a:gd name="T8" fmla="*/ 0 w 1099"/>
                <a:gd name="T9" fmla="*/ 0 h 686"/>
              </a:gdLst>
              <a:ahLst/>
              <a:cxnLst>
                <a:cxn ang="0">
                  <a:pos x="T0" y="T1"/>
                </a:cxn>
                <a:cxn ang="0">
                  <a:pos x="T2" y="T3"/>
                </a:cxn>
                <a:cxn ang="0">
                  <a:pos x="T4" y="T5"/>
                </a:cxn>
                <a:cxn ang="0">
                  <a:pos x="T6" y="T7"/>
                </a:cxn>
                <a:cxn ang="0">
                  <a:pos x="T8" y="T9"/>
                </a:cxn>
              </a:cxnLst>
              <a:rect l="0" t="0" r="r" b="b"/>
              <a:pathLst>
                <a:path w="1099" h="686">
                  <a:moveTo>
                    <a:pt x="0" y="0"/>
                  </a:moveTo>
                  <a:lnTo>
                    <a:pt x="0" y="137"/>
                  </a:lnTo>
                  <a:lnTo>
                    <a:pt x="1099" y="686"/>
                  </a:lnTo>
                  <a:lnTo>
                    <a:pt x="1099" y="549"/>
                  </a:lnTo>
                  <a:lnTo>
                    <a:pt x="0" y="0"/>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1" name="Freeform 33"/>
            <p:cNvSpPr/>
            <p:nvPr/>
          </p:nvSpPr>
          <p:spPr bwMode="auto">
            <a:xfrm>
              <a:off x="5838825" y="3789015"/>
              <a:ext cx="836612" cy="522288"/>
            </a:xfrm>
            <a:custGeom>
              <a:avLst/>
              <a:gdLst>
                <a:gd name="T0" fmla="*/ 0 w 1098"/>
                <a:gd name="T1" fmla="*/ 686 h 686"/>
                <a:gd name="T2" fmla="*/ 1098 w 1098"/>
                <a:gd name="T3" fmla="*/ 137 h 686"/>
                <a:gd name="T4" fmla="*/ 1098 w 1098"/>
                <a:gd name="T5" fmla="*/ 0 h 686"/>
                <a:gd name="T6" fmla="*/ 0 w 1098"/>
                <a:gd name="T7" fmla="*/ 549 h 686"/>
                <a:gd name="T8" fmla="*/ 0 w 1098"/>
                <a:gd name="T9" fmla="*/ 686 h 686"/>
              </a:gdLst>
              <a:ahLst/>
              <a:cxnLst>
                <a:cxn ang="0">
                  <a:pos x="T0" y="T1"/>
                </a:cxn>
                <a:cxn ang="0">
                  <a:pos x="T2" y="T3"/>
                </a:cxn>
                <a:cxn ang="0">
                  <a:pos x="T4" y="T5"/>
                </a:cxn>
                <a:cxn ang="0">
                  <a:pos x="T6" y="T7"/>
                </a:cxn>
                <a:cxn ang="0">
                  <a:pos x="T8" y="T9"/>
                </a:cxn>
              </a:cxnLst>
              <a:rect l="0" t="0" r="r" b="b"/>
              <a:pathLst>
                <a:path w="1098" h="686">
                  <a:moveTo>
                    <a:pt x="0" y="686"/>
                  </a:moveTo>
                  <a:lnTo>
                    <a:pt x="1098" y="137"/>
                  </a:lnTo>
                  <a:lnTo>
                    <a:pt x="1098" y="0"/>
                  </a:lnTo>
                  <a:lnTo>
                    <a:pt x="0" y="549"/>
                  </a:lnTo>
                  <a:lnTo>
                    <a:pt x="0" y="686"/>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76" name="Text Box 45"/>
          <p:cNvSpPr txBox="1">
            <a:spLocks noChangeArrowheads="1"/>
          </p:cNvSpPr>
          <p:nvPr/>
        </p:nvSpPr>
        <p:spPr bwMode="auto">
          <a:xfrm>
            <a:off x="6660232" y="1122253"/>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77" name="Text Box 45"/>
          <p:cNvSpPr txBox="1">
            <a:spLocks noChangeArrowheads="1"/>
          </p:cNvSpPr>
          <p:nvPr/>
        </p:nvSpPr>
        <p:spPr bwMode="auto">
          <a:xfrm>
            <a:off x="625377" y="4060380"/>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78" name="Text Box 45"/>
          <p:cNvSpPr txBox="1">
            <a:spLocks noChangeArrowheads="1"/>
          </p:cNvSpPr>
          <p:nvPr/>
        </p:nvSpPr>
        <p:spPr bwMode="auto">
          <a:xfrm>
            <a:off x="611560" y="3291830"/>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03A550"/>
                </a:solidFill>
                <a:latin typeface="微软雅黑" panose="020B0503020204020204" pitchFamily="34" charset="-122"/>
                <a:ea typeface="微软雅黑" panose="020B0503020204020204" pitchFamily="34" charset="-122"/>
              </a:rPr>
              <a:t>单击填加标题</a:t>
            </a:r>
            <a:endParaRPr lang="en-US" altLang="ko-KR" sz="1400" b="1" dirty="0">
              <a:solidFill>
                <a:srgbClr val="03A550"/>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2"/>
                                        </p:tgtEl>
                                        <p:attrNameLst>
                                          <p:attrName>style.visibility</p:attrName>
                                        </p:attrNameLst>
                                      </p:cBhvr>
                                      <p:to>
                                        <p:strVal val="visible"/>
                                      </p:to>
                                    </p:set>
                                    <p:animEffect transition="in" filter="fade">
                                      <p:cBhvr>
                                        <p:cTn id="12" dur="500"/>
                                        <p:tgtEl>
                                          <p:spTgt spid="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fade">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500"/>
                                        <p:tgtEl>
                                          <p:spTgt spid="7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7"/>
                                        </p:tgtEl>
                                        <p:attrNameLst>
                                          <p:attrName>style.visibility</p:attrName>
                                        </p:attrNameLst>
                                      </p:cBhvr>
                                      <p:to>
                                        <p:strVal val="visible"/>
                                      </p:to>
                                    </p:set>
                                    <p:animEffect transition="in" filter="fade">
                                      <p:cBhvr>
                                        <p:cTn id="37" dur="500"/>
                                        <p:tgtEl>
                                          <p:spTgt spid="6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fade">
                                      <p:cBhvr>
                                        <p:cTn id="42" dur="500"/>
                                        <p:tgtEl>
                                          <p:spTgt spid="6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4"/>
                                        </p:tgtEl>
                                        <p:attrNameLst>
                                          <p:attrName>style.visibility</p:attrName>
                                        </p:attrNameLst>
                                      </p:cBhvr>
                                      <p:to>
                                        <p:strVal val="visible"/>
                                      </p:to>
                                    </p:set>
                                    <p:animEffect transition="in" filter="fade">
                                      <p:cBhvr>
                                        <p:cTn id="47" dur="500"/>
                                        <p:tgtEl>
                                          <p:spTgt spid="74"/>
                                        </p:tgtEl>
                                      </p:cBhvr>
                                    </p:animEffect>
                                  </p:childTnLst>
                                </p:cTn>
                              </p:par>
                            </p:childTnLst>
                          </p:cTn>
                        </p:par>
                        <p:par>
                          <p:cTn id="48" fill="hold">
                            <p:stCondLst>
                              <p:cond delay="500"/>
                            </p:stCondLst>
                            <p:childTnLst>
                              <p:par>
                                <p:cTn id="49" presetID="42" presetClass="entr" presetSubtype="0" fill="hold" grpId="0" nodeType="afterEffect">
                                  <p:stCondLst>
                                    <p:cond delay="0"/>
                                  </p:stCondLst>
                                  <p:childTnLst>
                                    <p:set>
                                      <p:cBhvr>
                                        <p:cTn id="50" dur="1" fill="hold">
                                          <p:stCondLst>
                                            <p:cond delay="0"/>
                                          </p:stCondLst>
                                        </p:cTn>
                                        <p:tgtEl>
                                          <p:spTgt spid="76"/>
                                        </p:tgtEl>
                                        <p:attrNameLst>
                                          <p:attrName>style.visibility</p:attrName>
                                        </p:attrNameLst>
                                      </p:cBhvr>
                                      <p:to>
                                        <p:strVal val="visible"/>
                                      </p:to>
                                    </p:set>
                                    <p:animEffect transition="in" filter="fade">
                                      <p:cBhvr>
                                        <p:cTn id="51" dur="500"/>
                                        <p:tgtEl>
                                          <p:spTgt spid="76"/>
                                        </p:tgtEl>
                                      </p:cBhvr>
                                    </p:animEffect>
                                    <p:anim calcmode="lin" valueType="num">
                                      <p:cBhvr>
                                        <p:cTn id="52" dur="500" fill="hold"/>
                                        <p:tgtEl>
                                          <p:spTgt spid="76"/>
                                        </p:tgtEl>
                                        <p:attrNameLst>
                                          <p:attrName>ppt_x</p:attrName>
                                        </p:attrNameLst>
                                      </p:cBhvr>
                                      <p:tavLst>
                                        <p:tav tm="0">
                                          <p:val>
                                            <p:strVal val="#ppt_x"/>
                                          </p:val>
                                        </p:tav>
                                        <p:tav tm="100000">
                                          <p:val>
                                            <p:strVal val="#ppt_x"/>
                                          </p:val>
                                        </p:tav>
                                      </p:tavLst>
                                    </p:anim>
                                    <p:anim calcmode="lin" valueType="num">
                                      <p:cBhvr>
                                        <p:cTn id="53" dur="500" fill="hold"/>
                                        <p:tgtEl>
                                          <p:spTgt spid="76"/>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grpId="0" nodeType="afterEffect">
                                  <p:stCondLst>
                                    <p:cond delay="0"/>
                                  </p:stCondLst>
                                  <p:childTnLst>
                                    <p:set>
                                      <p:cBhvr>
                                        <p:cTn id="56" dur="1" fill="hold">
                                          <p:stCondLst>
                                            <p:cond delay="0"/>
                                          </p:stCondLst>
                                        </p:cTn>
                                        <p:tgtEl>
                                          <p:spTgt spid="78"/>
                                        </p:tgtEl>
                                        <p:attrNameLst>
                                          <p:attrName>style.visibility</p:attrName>
                                        </p:attrNameLst>
                                      </p:cBhvr>
                                      <p:to>
                                        <p:strVal val="visible"/>
                                      </p:to>
                                    </p:set>
                                    <p:animEffect transition="in" filter="fade">
                                      <p:cBhvr>
                                        <p:cTn id="57" dur="500"/>
                                        <p:tgtEl>
                                          <p:spTgt spid="78"/>
                                        </p:tgtEl>
                                      </p:cBhvr>
                                    </p:animEffect>
                                    <p:anim calcmode="lin" valueType="num">
                                      <p:cBhvr>
                                        <p:cTn id="58" dur="500" fill="hold"/>
                                        <p:tgtEl>
                                          <p:spTgt spid="78"/>
                                        </p:tgtEl>
                                        <p:attrNameLst>
                                          <p:attrName>ppt_x</p:attrName>
                                        </p:attrNameLst>
                                      </p:cBhvr>
                                      <p:tavLst>
                                        <p:tav tm="0">
                                          <p:val>
                                            <p:strVal val="#ppt_x"/>
                                          </p:val>
                                        </p:tav>
                                        <p:tav tm="100000">
                                          <p:val>
                                            <p:strVal val="#ppt_x"/>
                                          </p:val>
                                        </p:tav>
                                      </p:tavLst>
                                    </p:anim>
                                    <p:anim calcmode="lin" valueType="num">
                                      <p:cBhvr>
                                        <p:cTn id="59" dur="500" fill="hold"/>
                                        <p:tgtEl>
                                          <p:spTgt spid="78"/>
                                        </p:tgtEl>
                                        <p:attrNameLst>
                                          <p:attrName>ppt_y</p:attrName>
                                        </p:attrNameLst>
                                      </p:cBhvr>
                                      <p:tavLst>
                                        <p:tav tm="0">
                                          <p:val>
                                            <p:strVal val="#ppt_y+.1"/>
                                          </p:val>
                                        </p:tav>
                                        <p:tav tm="100000">
                                          <p:val>
                                            <p:strVal val="#ppt_y"/>
                                          </p:val>
                                        </p:tav>
                                      </p:tavLst>
                                    </p:anim>
                                  </p:childTnLst>
                                </p:cTn>
                              </p:par>
                            </p:childTnLst>
                          </p:cTn>
                        </p:par>
                        <p:par>
                          <p:cTn id="60" fill="hold">
                            <p:stCondLst>
                              <p:cond delay="1500"/>
                            </p:stCondLst>
                            <p:childTnLst>
                              <p:par>
                                <p:cTn id="61" presetID="42" presetClass="entr" presetSubtype="0" fill="hold" grpId="0" nodeType="afterEffect">
                                  <p:stCondLst>
                                    <p:cond delay="0"/>
                                  </p:stCondLst>
                                  <p:childTnLst>
                                    <p:set>
                                      <p:cBhvr>
                                        <p:cTn id="62" dur="1" fill="hold">
                                          <p:stCondLst>
                                            <p:cond delay="0"/>
                                          </p:stCondLst>
                                        </p:cTn>
                                        <p:tgtEl>
                                          <p:spTgt spid="77"/>
                                        </p:tgtEl>
                                        <p:attrNameLst>
                                          <p:attrName>style.visibility</p:attrName>
                                        </p:attrNameLst>
                                      </p:cBhvr>
                                      <p:to>
                                        <p:strVal val="visible"/>
                                      </p:to>
                                    </p:set>
                                    <p:animEffect transition="in" filter="fade">
                                      <p:cBhvr>
                                        <p:cTn id="63" dur="500"/>
                                        <p:tgtEl>
                                          <p:spTgt spid="77"/>
                                        </p:tgtEl>
                                      </p:cBhvr>
                                    </p:animEffect>
                                    <p:anim calcmode="lin" valueType="num">
                                      <p:cBhvr>
                                        <p:cTn id="64" dur="500" fill="hold"/>
                                        <p:tgtEl>
                                          <p:spTgt spid="77"/>
                                        </p:tgtEl>
                                        <p:attrNameLst>
                                          <p:attrName>ppt_x</p:attrName>
                                        </p:attrNameLst>
                                      </p:cBhvr>
                                      <p:tavLst>
                                        <p:tav tm="0">
                                          <p:val>
                                            <p:strVal val="#ppt_x"/>
                                          </p:val>
                                        </p:tav>
                                        <p:tav tm="100000">
                                          <p:val>
                                            <p:strVal val="#ppt_x"/>
                                          </p:val>
                                        </p:tav>
                                      </p:tavLst>
                                    </p:anim>
                                    <p:anim calcmode="lin" valueType="num">
                                      <p:cBhvr>
                                        <p:cTn id="65" dur="500" fill="hold"/>
                                        <p:tgtEl>
                                          <p:spTgt spid="7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
          <p:cNvGrpSpPr/>
          <p:nvPr/>
        </p:nvGrpSpPr>
        <p:grpSpPr bwMode="auto">
          <a:xfrm>
            <a:off x="1401763" y="1094903"/>
            <a:ext cx="3313113" cy="3421063"/>
            <a:chOff x="883" y="1298"/>
            <a:chExt cx="2087" cy="2155"/>
          </a:xfrm>
        </p:grpSpPr>
        <p:grpSp>
          <p:nvGrpSpPr>
            <p:cNvPr id="13" name="Group 9"/>
            <p:cNvGrpSpPr/>
            <p:nvPr/>
          </p:nvGrpSpPr>
          <p:grpSpPr bwMode="auto">
            <a:xfrm>
              <a:off x="1609" y="2069"/>
              <a:ext cx="635" cy="658"/>
              <a:chOff x="1400" y="679"/>
              <a:chExt cx="2960" cy="2960"/>
            </a:xfrm>
          </p:grpSpPr>
          <p:sp>
            <p:nvSpPr>
              <p:cNvPr id="118" name="Freeform 10"/>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9" name="Freeform 11"/>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20" name="Freeform 12"/>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4" name="Group 13"/>
            <p:cNvGrpSpPr/>
            <p:nvPr/>
          </p:nvGrpSpPr>
          <p:grpSpPr bwMode="auto">
            <a:xfrm>
              <a:off x="1609" y="1684"/>
              <a:ext cx="635" cy="658"/>
              <a:chOff x="1400" y="679"/>
              <a:chExt cx="2960" cy="2960"/>
            </a:xfrm>
          </p:grpSpPr>
          <p:sp>
            <p:nvSpPr>
              <p:cNvPr id="115" name="Freeform 14"/>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6" name="Freeform 15"/>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7" name="Freeform 16"/>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5" name="Group 17"/>
            <p:cNvGrpSpPr/>
            <p:nvPr/>
          </p:nvGrpSpPr>
          <p:grpSpPr bwMode="auto">
            <a:xfrm>
              <a:off x="1609" y="1298"/>
              <a:ext cx="635" cy="658"/>
              <a:chOff x="1400" y="679"/>
              <a:chExt cx="2960" cy="2960"/>
            </a:xfrm>
          </p:grpSpPr>
          <p:sp>
            <p:nvSpPr>
              <p:cNvPr id="112" name="Freeform 18"/>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3" name="Freeform 19"/>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4" name="Freeform 20"/>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6" name="Group 21"/>
            <p:cNvGrpSpPr/>
            <p:nvPr/>
          </p:nvGrpSpPr>
          <p:grpSpPr bwMode="auto">
            <a:xfrm>
              <a:off x="1972" y="2250"/>
              <a:ext cx="635" cy="658"/>
              <a:chOff x="1400" y="679"/>
              <a:chExt cx="2960" cy="2960"/>
            </a:xfrm>
          </p:grpSpPr>
          <p:sp>
            <p:nvSpPr>
              <p:cNvPr id="109" name="Freeform 22"/>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10" name="Freeform 23"/>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1" name="Freeform 24"/>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7" name="Group 25"/>
            <p:cNvGrpSpPr/>
            <p:nvPr/>
          </p:nvGrpSpPr>
          <p:grpSpPr bwMode="auto">
            <a:xfrm>
              <a:off x="1972" y="1865"/>
              <a:ext cx="635" cy="658"/>
              <a:chOff x="1400" y="679"/>
              <a:chExt cx="2960" cy="2960"/>
            </a:xfrm>
          </p:grpSpPr>
          <p:sp>
            <p:nvSpPr>
              <p:cNvPr id="106" name="Freeform 26"/>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7" name="Freeform 27"/>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8" name="Freeform 28"/>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8" name="Group 29"/>
            <p:cNvGrpSpPr/>
            <p:nvPr/>
          </p:nvGrpSpPr>
          <p:grpSpPr bwMode="auto">
            <a:xfrm>
              <a:off x="1972" y="1479"/>
              <a:ext cx="635" cy="658"/>
              <a:chOff x="1400" y="679"/>
              <a:chExt cx="2960" cy="2960"/>
            </a:xfrm>
          </p:grpSpPr>
          <p:sp>
            <p:nvSpPr>
              <p:cNvPr id="103" name="Freeform 30"/>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4" name="Freeform 31"/>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5" name="Freeform 32"/>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9" name="Group 33"/>
            <p:cNvGrpSpPr/>
            <p:nvPr/>
          </p:nvGrpSpPr>
          <p:grpSpPr bwMode="auto">
            <a:xfrm>
              <a:off x="2335" y="2432"/>
              <a:ext cx="635" cy="658"/>
              <a:chOff x="1400" y="679"/>
              <a:chExt cx="2960" cy="2960"/>
            </a:xfrm>
          </p:grpSpPr>
          <p:sp>
            <p:nvSpPr>
              <p:cNvPr id="100" name="Freeform 34"/>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01" name="Freeform 35"/>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02" name="Freeform 36"/>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0" name="Group 37"/>
            <p:cNvGrpSpPr/>
            <p:nvPr/>
          </p:nvGrpSpPr>
          <p:grpSpPr bwMode="auto">
            <a:xfrm>
              <a:off x="2335" y="2047"/>
              <a:ext cx="635" cy="658"/>
              <a:chOff x="1400" y="679"/>
              <a:chExt cx="2960" cy="2960"/>
            </a:xfrm>
          </p:grpSpPr>
          <p:sp>
            <p:nvSpPr>
              <p:cNvPr id="97" name="Freeform 38"/>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98" name="Freeform 39"/>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9" name="Freeform 40"/>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1" name="Group 41"/>
            <p:cNvGrpSpPr/>
            <p:nvPr/>
          </p:nvGrpSpPr>
          <p:grpSpPr bwMode="auto">
            <a:xfrm>
              <a:off x="2335" y="1661"/>
              <a:ext cx="635" cy="658"/>
              <a:chOff x="1400" y="679"/>
              <a:chExt cx="2960" cy="2960"/>
            </a:xfrm>
          </p:grpSpPr>
          <p:sp>
            <p:nvSpPr>
              <p:cNvPr id="94" name="Freeform 42"/>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chemeClr val="bg1">
                  <a:alpha val="25000"/>
                </a:schemeClr>
              </a:solidFill>
              <a:ln w="19050" cap="rnd">
                <a:solidFill>
                  <a:srgbClr val="969696"/>
                </a:solidFill>
                <a:prstDash val="sysDot"/>
                <a:round/>
              </a:ln>
            </p:spPr>
            <p:txBody>
              <a:bodyPr/>
              <a:lstStyle/>
              <a:p>
                <a:endParaRPr lang="zh-CN" altLang="en-US"/>
              </a:p>
            </p:txBody>
          </p:sp>
          <p:sp>
            <p:nvSpPr>
              <p:cNvPr id="95" name="Freeform 43"/>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chemeClr val="bg1">
                  <a:alpha val="25000"/>
                </a:schemeClr>
              </a:solidFill>
              <a:ln w="19050" cap="rnd" cmpd="sng">
                <a:solidFill>
                  <a:srgbClr val="96969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6" name="Freeform 44"/>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chemeClr val="bg1">
                  <a:alpha val="25000"/>
                </a:schemeClr>
              </a:solidFill>
              <a:ln w="19050" cap="rnd" cmpd="sng">
                <a:solidFill>
                  <a:srgbClr val="969696"/>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2" name="Group 45"/>
            <p:cNvGrpSpPr/>
            <p:nvPr/>
          </p:nvGrpSpPr>
          <p:grpSpPr bwMode="auto">
            <a:xfrm>
              <a:off x="1246" y="2250"/>
              <a:ext cx="635" cy="658"/>
              <a:chOff x="1400" y="679"/>
              <a:chExt cx="2960" cy="2960"/>
            </a:xfrm>
          </p:grpSpPr>
          <p:sp>
            <p:nvSpPr>
              <p:cNvPr id="91" name="Freeform 46"/>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92" name="Freeform 47"/>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3" name="Freeform 48"/>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3" name="Group 49"/>
            <p:cNvGrpSpPr/>
            <p:nvPr/>
          </p:nvGrpSpPr>
          <p:grpSpPr bwMode="auto">
            <a:xfrm>
              <a:off x="1246" y="1865"/>
              <a:ext cx="635" cy="658"/>
              <a:chOff x="1400" y="679"/>
              <a:chExt cx="2960" cy="2960"/>
            </a:xfrm>
          </p:grpSpPr>
          <p:sp>
            <p:nvSpPr>
              <p:cNvPr id="88" name="Freeform 50"/>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9" name="Freeform 51"/>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90" name="Freeform 52"/>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4" name="Group 53"/>
            <p:cNvGrpSpPr/>
            <p:nvPr/>
          </p:nvGrpSpPr>
          <p:grpSpPr bwMode="auto">
            <a:xfrm>
              <a:off x="1246" y="1479"/>
              <a:ext cx="635" cy="658"/>
              <a:chOff x="1400" y="679"/>
              <a:chExt cx="2960" cy="2960"/>
            </a:xfrm>
          </p:grpSpPr>
          <p:sp>
            <p:nvSpPr>
              <p:cNvPr id="85" name="Freeform 54"/>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6" name="Freeform 55"/>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7" name="Freeform 56"/>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5" name="Group 57"/>
            <p:cNvGrpSpPr/>
            <p:nvPr/>
          </p:nvGrpSpPr>
          <p:grpSpPr bwMode="auto">
            <a:xfrm>
              <a:off x="1609" y="2431"/>
              <a:ext cx="635" cy="658"/>
              <a:chOff x="1400" y="679"/>
              <a:chExt cx="2960" cy="2960"/>
            </a:xfrm>
          </p:grpSpPr>
          <p:sp>
            <p:nvSpPr>
              <p:cNvPr id="82" name="Freeform 58"/>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3" name="Freeform 59"/>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4" name="Freeform 60"/>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6" name="Group 61"/>
            <p:cNvGrpSpPr/>
            <p:nvPr/>
          </p:nvGrpSpPr>
          <p:grpSpPr bwMode="auto">
            <a:xfrm>
              <a:off x="1609" y="2046"/>
              <a:ext cx="635" cy="658"/>
              <a:chOff x="1400" y="679"/>
              <a:chExt cx="2960" cy="2960"/>
            </a:xfrm>
          </p:grpSpPr>
          <p:sp>
            <p:nvSpPr>
              <p:cNvPr id="79" name="Freeform 62"/>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80" name="Freeform 63"/>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81" name="Freeform 64"/>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7" name="Group 65"/>
            <p:cNvGrpSpPr/>
            <p:nvPr/>
          </p:nvGrpSpPr>
          <p:grpSpPr bwMode="auto">
            <a:xfrm>
              <a:off x="1609" y="1660"/>
              <a:ext cx="635" cy="658"/>
              <a:chOff x="1400" y="679"/>
              <a:chExt cx="2960" cy="2960"/>
            </a:xfrm>
          </p:grpSpPr>
          <p:sp>
            <p:nvSpPr>
              <p:cNvPr id="76" name="Freeform 66"/>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77" name="Freeform 67"/>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8" name="Freeform 68"/>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8" name="Group 69"/>
            <p:cNvGrpSpPr/>
            <p:nvPr/>
          </p:nvGrpSpPr>
          <p:grpSpPr bwMode="auto">
            <a:xfrm>
              <a:off x="1972" y="2613"/>
              <a:ext cx="635" cy="658"/>
              <a:chOff x="1400" y="679"/>
              <a:chExt cx="2960" cy="2960"/>
            </a:xfrm>
          </p:grpSpPr>
          <p:sp>
            <p:nvSpPr>
              <p:cNvPr id="73" name="Freeform 70"/>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74" name="Freeform 71"/>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5" name="Freeform 72"/>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29" name="Group 73"/>
            <p:cNvGrpSpPr/>
            <p:nvPr/>
          </p:nvGrpSpPr>
          <p:grpSpPr bwMode="auto">
            <a:xfrm>
              <a:off x="1972" y="2228"/>
              <a:ext cx="635" cy="658"/>
              <a:chOff x="1400" y="679"/>
              <a:chExt cx="2960" cy="2960"/>
            </a:xfrm>
          </p:grpSpPr>
          <p:sp>
            <p:nvSpPr>
              <p:cNvPr id="70" name="Freeform 74"/>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71" name="Freeform 75"/>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72" name="Freeform 76"/>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0" name="Group 77"/>
            <p:cNvGrpSpPr/>
            <p:nvPr/>
          </p:nvGrpSpPr>
          <p:grpSpPr bwMode="auto">
            <a:xfrm>
              <a:off x="1972" y="1842"/>
              <a:ext cx="635" cy="658"/>
              <a:chOff x="1400" y="679"/>
              <a:chExt cx="2960" cy="2960"/>
            </a:xfrm>
          </p:grpSpPr>
          <p:sp>
            <p:nvSpPr>
              <p:cNvPr id="67" name="Freeform 78"/>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68" name="Freeform 79"/>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9" name="Freeform 80"/>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1" name="Group 81"/>
            <p:cNvGrpSpPr/>
            <p:nvPr/>
          </p:nvGrpSpPr>
          <p:grpSpPr bwMode="auto">
            <a:xfrm>
              <a:off x="883" y="2432"/>
              <a:ext cx="635" cy="658"/>
              <a:chOff x="1400" y="679"/>
              <a:chExt cx="2960" cy="2960"/>
            </a:xfrm>
          </p:grpSpPr>
          <p:sp>
            <p:nvSpPr>
              <p:cNvPr id="64" name="Freeform 82"/>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65" name="Freeform 83"/>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6" name="Freeform 84"/>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2" name="Group 85"/>
            <p:cNvGrpSpPr/>
            <p:nvPr/>
          </p:nvGrpSpPr>
          <p:grpSpPr bwMode="auto">
            <a:xfrm>
              <a:off x="883" y="2047"/>
              <a:ext cx="635" cy="658"/>
              <a:chOff x="1400" y="679"/>
              <a:chExt cx="2960" cy="2960"/>
            </a:xfrm>
          </p:grpSpPr>
          <p:sp>
            <p:nvSpPr>
              <p:cNvPr id="61" name="Freeform 86"/>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62" name="Freeform 87"/>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3" name="Freeform 88"/>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3" name="Group 89"/>
            <p:cNvGrpSpPr/>
            <p:nvPr/>
          </p:nvGrpSpPr>
          <p:grpSpPr bwMode="auto">
            <a:xfrm>
              <a:off x="883" y="1661"/>
              <a:ext cx="635" cy="658"/>
              <a:chOff x="1400" y="679"/>
              <a:chExt cx="2960" cy="2960"/>
            </a:xfrm>
          </p:grpSpPr>
          <p:sp>
            <p:nvSpPr>
              <p:cNvPr id="58" name="Freeform 90"/>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59" name="Freeform 91"/>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0" name="Freeform 92"/>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4" name="Group 93"/>
            <p:cNvGrpSpPr/>
            <p:nvPr/>
          </p:nvGrpSpPr>
          <p:grpSpPr bwMode="auto">
            <a:xfrm>
              <a:off x="1246" y="2613"/>
              <a:ext cx="635" cy="658"/>
              <a:chOff x="1400" y="679"/>
              <a:chExt cx="2960" cy="2960"/>
            </a:xfrm>
          </p:grpSpPr>
          <p:sp>
            <p:nvSpPr>
              <p:cNvPr id="55" name="Freeform 94"/>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56" name="Freeform 95"/>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7" name="Freeform 96"/>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5" name="Group 97"/>
            <p:cNvGrpSpPr/>
            <p:nvPr/>
          </p:nvGrpSpPr>
          <p:grpSpPr bwMode="auto">
            <a:xfrm>
              <a:off x="1246" y="2228"/>
              <a:ext cx="635" cy="658"/>
              <a:chOff x="1400" y="679"/>
              <a:chExt cx="2960" cy="2960"/>
            </a:xfrm>
          </p:grpSpPr>
          <p:sp>
            <p:nvSpPr>
              <p:cNvPr id="52" name="Freeform 98"/>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53" name="Freeform 99"/>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4" name="Freeform 100"/>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6" name="Group 101"/>
            <p:cNvGrpSpPr/>
            <p:nvPr/>
          </p:nvGrpSpPr>
          <p:grpSpPr bwMode="auto">
            <a:xfrm>
              <a:off x="1246" y="1842"/>
              <a:ext cx="635" cy="658"/>
              <a:chOff x="1400" y="679"/>
              <a:chExt cx="2960" cy="2960"/>
            </a:xfrm>
          </p:grpSpPr>
          <p:sp>
            <p:nvSpPr>
              <p:cNvPr id="49" name="Freeform 102"/>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50" name="Freeform 103"/>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1" name="Freeform 104"/>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7" name="Group 105"/>
            <p:cNvGrpSpPr/>
            <p:nvPr/>
          </p:nvGrpSpPr>
          <p:grpSpPr bwMode="auto">
            <a:xfrm>
              <a:off x="1609" y="2795"/>
              <a:ext cx="635" cy="658"/>
              <a:chOff x="1400" y="679"/>
              <a:chExt cx="2960" cy="2960"/>
            </a:xfrm>
          </p:grpSpPr>
          <p:sp>
            <p:nvSpPr>
              <p:cNvPr id="46" name="Freeform 106"/>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47" name="Freeform 107"/>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8" name="Freeform 108"/>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8" name="Group 109"/>
            <p:cNvGrpSpPr/>
            <p:nvPr/>
          </p:nvGrpSpPr>
          <p:grpSpPr bwMode="auto">
            <a:xfrm>
              <a:off x="1609" y="2410"/>
              <a:ext cx="635" cy="658"/>
              <a:chOff x="1400" y="679"/>
              <a:chExt cx="2960" cy="2960"/>
            </a:xfrm>
          </p:grpSpPr>
          <p:sp>
            <p:nvSpPr>
              <p:cNvPr id="43" name="Freeform 110"/>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44" name="Freeform 111"/>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5" name="Freeform 112"/>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39" name="Group 113"/>
            <p:cNvGrpSpPr/>
            <p:nvPr/>
          </p:nvGrpSpPr>
          <p:grpSpPr bwMode="auto">
            <a:xfrm>
              <a:off x="1609" y="2024"/>
              <a:ext cx="635" cy="658"/>
              <a:chOff x="1400" y="679"/>
              <a:chExt cx="2960" cy="2960"/>
            </a:xfrm>
          </p:grpSpPr>
          <p:sp>
            <p:nvSpPr>
              <p:cNvPr id="40" name="Freeform 114"/>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41" name="Freeform 115"/>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2" name="Freeform 116"/>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sp>
        <p:nvSpPr>
          <p:cNvPr id="4" name="Arc 117"/>
          <p:cNvSpPr/>
          <p:nvPr/>
        </p:nvSpPr>
        <p:spPr bwMode="auto">
          <a:xfrm>
            <a:off x="4967288" y="1923578"/>
            <a:ext cx="792163" cy="7921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cap="rnd">
            <a:solidFill>
              <a:srgbClr val="808080"/>
            </a:solidFill>
            <a:prstDash val="sysDot"/>
            <a:rou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5" name="Group 118"/>
          <p:cNvGrpSpPr/>
          <p:nvPr/>
        </p:nvGrpSpPr>
        <p:grpSpPr bwMode="auto">
          <a:xfrm>
            <a:off x="5256213" y="2895128"/>
            <a:ext cx="1008063" cy="1044575"/>
            <a:chOff x="1400" y="679"/>
            <a:chExt cx="2960" cy="2960"/>
          </a:xfrm>
        </p:grpSpPr>
        <p:sp>
          <p:nvSpPr>
            <p:cNvPr id="10" name="Freeform 119"/>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03A550"/>
            </a:solidFill>
            <a:ln>
              <a:noFill/>
            </a:ln>
            <a:effectLst/>
            <a:extLst>
              <a:ext uri="{91240B29-F687-4F45-9708-019B960494DF}">
                <a14:hiddenLine xmlns:a14="http://schemas.microsoft.com/office/drawing/2010/main" w="9525">
                  <a:solidFill>
                    <a:srgbClr val="000000"/>
                  </a:solidFill>
                  <a:prstDash val="solid"/>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1" name="Freeform 120"/>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chemeClr val="bg2"/>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12" name="Freeform 121"/>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chemeClr val="bg2">
                <a:lumMod val="75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8" name="WordArt 123"/>
          <p:cNvSpPr>
            <a:spLocks noChangeArrowheads="1" noChangeShapeType="1" noTextEdit="1"/>
          </p:cNvSpPr>
          <p:nvPr/>
        </p:nvSpPr>
        <p:spPr bwMode="auto">
          <a:xfrm>
            <a:off x="5328221" y="4156050"/>
            <a:ext cx="899963" cy="215900"/>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r>
              <a:rPr lang="zh-CN" altLang="en-US" b="1" dirty="0">
                <a:solidFill>
                  <a:schemeClr val="bg2"/>
                </a:solidFill>
                <a:latin typeface="微软雅黑" panose="020B0503020204020204" pitchFamily="34" charset="-122"/>
                <a:ea typeface="微软雅黑" panose="020B0503020204020204" pitchFamily="34" charset="-122"/>
              </a:rPr>
              <a:t>填加文字</a:t>
            </a:r>
            <a:endParaRPr lang="en-US" altLang="ko-KR" b="1" dirty="0">
              <a:solidFill>
                <a:schemeClr val="bg2"/>
              </a:solidFill>
              <a:latin typeface="微软雅黑" panose="020B0503020204020204" pitchFamily="34" charset="-122"/>
              <a:ea typeface="微软雅黑" panose="020B0503020204020204" pitchFamily="34" charset="-122"/>
            </a:endParaRPr>
          </a:p>
        </p:txBody>
      </p:sp>
      <p:sp>
        <p:nvSpPr>
          <p:cNvPr id="122" name="Text Box 45"/>
          <p:cNvSpPr txBox="1">
            <a:spLocks noChangeArrowheads="1"/>
          </p:cNvSpPr>
          <p:nvPr/>
        </p:nvSpPr>
        <p:spPr bwMode="auto">
          <a:xfrm>
            <a:off x="6371976" y="1565379"/>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rgbClr val="03A550"/>
                </a:solidFill>
                <a:latin typeface="微软雅黑" panose="020B0503020204020204" pitchFamily="34" charset="-122"/>
                <a:ea typeface="微软雅黑" panose="020B0503020204020204" pitchFamily="34" charset="-122"/>
              </a:rPr>
              <a:t>单击填加标题</a:t>
            </a:r>
            <a:endParaRPr lang="en-US" altLang="ko-KR" sz="1400" b="1" dirty="0">
              <a:solidFill>
                <a:srgbClr val="03A550"/>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50000"/>
                </a:schemeClr>
              </a:solidFill>
              <a:latin typeface="微软雅黑" panose="020B0503020204020204" pitchFamily="34" charset="-122"/>
              <a:ea typeface="微软雅黑" panose="020B0503020204020204" pitchFamily="34" charset="-122"/>
            </a:endParaRPr>
          </a:p>
        </p:txBody>
      </p:sp>
      <p:sp>
        <p:nvSpPr>
          <p:cNvPr id="123" name="Text Box 45"/>
          <p:cNvSpPr txBox="1">
            <a:spLocks noChangeArrowheads="1"/>
          </p:cNvSpPr>
          <p:nvPr/>
        </p:nvSpPr>
        <p:spPr bwMode="auto">
          <a:xfrm>
            <a:off x="6371976" y="2285459"/>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6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p:txBody>
      </p:sp>
      <p:sp>
        <p:nvSpPr>
          <p:cNvPr id="125" name="Text Box 45"/>
          <p:cNvSpPr txBox="1">
            <a:spLocks noChangeArrowheads="1"/>
          </p:cNvSpPr>
          <p:nvPr/>
        </p:nvSpPr>
        <p:spPr bwMode="auto">
          <a:xfrm>
            <a:off x="6371976" y="3039050"/>
            <a:ext cx="2016448"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1">
                    <a:lumMod val="65000"/>
                  </a:schemeClr>
                </a:solidFill>
                <a:latin typeface="微软雅黑" panose="020B0503020204020204" pitchFamily="34" charset="-122"/>
                <a:ea typeface="微软雅黑" panose="020B0503020204020204" pitchFamily="34" charset="-122"/>
              </a:rPr>
              <a:t>单击填加标题</a:t>
            </a:r>
            <a:endParaRPr lang="en-US" altLang="ko-KR" sz="1400" b="1" dirty="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bg1">
                    <a:lumMod val="6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6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3"/>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childTnLst>
                          </p:cTn>
                        </p:par>
                        <p:par>
                          <p:cTn id="16" fill="hold">
                            <p:stCondLst>
                              <p:cond delay="500"/>
                            </p:stCondLst>
                            <p:childTnLst>
                              <p:par>
                                <p:cTn id="17" presetID="49" presetClass="entr" presetSubtype="0" decel="10000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500" fill="hold"/>
                                        <p:tgtEl>
                                          <p:spTgt spid="5"/>
                                        </p:tgtEl>
                                        <p:attrNameLst>
                                          <p:attrName>ppt_w</p:attrName>
                                        </p:attrNameLst>
                                      </p:cBhvr>
                                      <p:tavLst>
                                        <p:tav tm="0">
                                          <p:val>
                                            <p:fltVal val="0"/>
                                          </p:val>
                                        </p:tav>
                                        <p:tav tm="100000">
                                          <p:val>
                                            <p:strVal val="#ppt_w"/>
                                          </p:val>
                                        </p:tav>
                                      </p:tavLst>
                                    </p:anim>
                                    <p:anim calcmode="lin" valueType="num">
                                      <p:cBhvr>
                                        <p:cTn id="20" dur="500" fill="hold"/>
                                        <p:tgtEl>
                                          <p:spTgt spid="5"/>
                                        </p:tgtEl>
                                        <p:attrNameLst>
                                          <p:attrName>ppt_h</p:attrName>
                                        </p:attrNameLst>
                                      </p:cBhvr>
                                      <p:tavLst>
                                        <p:tav tm="0">
                                          <p:val>
                                            <p:fltVal val="0"/>
                                          </p:val>
                                        </p:tav>
                                        <p:tav tm="100000">
                                          <p:val>
                                            <p:strVal val="#ppt_h"/>
                                          </p:val>
                                        </p:tav>
                                      </p:tavLst>
                                    </p:anim>
                                    <p:anim calcmode="lin" valueType="num">
                                      <p:cBhvr>
                                        <p:cTn id="21" dur="500" fill="hold"/>
                                        <p:tgtEl>
                                          <p:spTgt spid="5"/>
                                        </p:tgtEl>
                                        <p:attrNameLst>
                                          <p:attrName>style.rotation</p:attrName>
                                        </p:attrNameLst>
                                      </p:cBhvr>
                                      <p:tavLst>
                                        <p:tav tm="0">
                                          <p:val>
                                            <p:fltVal val="360"/>
                                          </p:val>
                                        </p:tav>
                                        <p:tav tm="100000">
                                          <p:val>
                                            <p:fltVal val="0"/>
                                          </p:val>
                                        </p:tav>
                                      </p:tavLst>
                                    </p:anim>
                                    <p:animEffect transition="in" filter="fade">
                                      <p:cBhvr>
                                        <p:cTn id="22" dur="500"/>
                                        <p:tgtEl>
                                          <p:spTgt spid="5"/>
                                        </p:tgtEl>
                                      </p:cBhvr>
                                    </p:animEffect>
                                  </p:childTnLst>
                                </p:cTn>
                              </p:par>
                            </p:childTnLst>
                          </p:cTn>
                        </p:par>
                        <p:par>
                          <p:cTn id="23" fill="hold">
                            <p:stCondLst>
                              <p:cond delay="1000"/>
                            </p:stCondLst>
                            <p:childTnLst>
                              <p:par>
                                <p:cTn id="24" presetID="49" presetClass="entr" presetSubtype="0" decel="100000" fill="hold" grpId="0" nodeType="after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p:cTn id="26" dur="500" fill="hold"/>
                                        <p:tgtEl>
                                          <p:spTgt spid="8"/>
                                        </p:tgtEl>
                                        <p:attrNameLst>
                                          <p:attrName>ppt_w</p:attrName>
                                        </p:attrNameLst>
                                      </p:cBhvr>
                                      <p:tavLst>
                                        <p:tav tm="0">
                                          <p:val>
                                            <p:fltVal val="0"/>
                                          </p:val>
                                        </p:tav>
                                        <p:tav tm="100000">
                                          <p:val>
                                            <p:strVal val="#ppt_w"/>
                                          </p:val>
                                        </p:tav>
                                      </p:tavLst>
                                    </p:anim>
                                    <p:anim calcmode="lin" valueType="num">
                                      <p:cBhvr>
                                        <p:cTn id="27" dur="500" fill="hold"/>
                                        <p:tgtEl>
                                          <p:spTgt spid="8"/>
                                        </p:tgtEl>
                                        <p:attrNameLst>
                                          <p:attrName>ppt_h</p:attrName>
                                        </p:attrNameLst>
                                      </p:cBhvr>
                                      <p:tavLst>
                                        <p:tav tm="0">
                                          <p:val>
                                            <p:fltVal val="0"/>
                                          </p:val>
                                        </p:tav>
                                        <p:tav tm="100000">
                                          <p:val>
                                            <p:strVal val="#ppt_h"/>
                                          </p:val>
                                        </p:tav>
                                      </p:tavLst>
                                    </p:anim>
                                    <p:anim calcmode="lin" valueType="num">
                                      <p:cBhvr>
                                        <p:cTn id="28" dur="500" fill="hold"/>
                                        <p:tgtEl>
                                          <p:spTgt spid="8"/>
                                        </p:tgtEl>
                                        <p:attrNameLst>
                                          <p:attrName>style.rotation</p:attrName>
                                        </p:attrNameLst>
                                      </p:cBhvr>
                                      <p:tavLst>
                                        <p:tav tm="0">
                                          <p:val>
                                            <p:fltVal val="360"/>
                                          </p:val>
                                        </p:tav>
                                        <p:tav tm="100000">
                                          <p:val>
                                            <p:fltVal val="0"/>
                                          </p:val>
                                        </p:tav>
                                      </p:tavLst>
                                    </p:anim>
                                    <p:animEffect transition="in" filter="fade">
                                      <p:cBhvr>
                                        <p:cTn id="29" dur="500"/>
                                        <p:tgtEl>
                                          <p:spTgt spid="8"/>
                                        </p:tgtEl>
                                      </p:cBhvr>
                                    </p:animEffect>
                                  </p:childTnLst>
                                </p:cTn>
                              </p:par>
                            </p:childTnLst>
                          </p:cTn>
                        </p:par>
                        <p:par>
                          <p:cTn id="30" fill="hold">
                            <p:stCondLst>
                              <p:cond delay="1500"/>
                            </p:stCondLst>
                            <p:childTnLst>
                              <p:par>
                                <p:cTn id="31" presetID="42" presetClass="entr" presetSubtype="0" fill="hold" grpId="0" nodeType="after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750"/>
                                        <p:tgtEl>
                                          <p:spTgt spid="122"/>
                                        </p:tgtEl>
                                      </p:cBhvr>
                                    </p:animEffect>
                                    <p:anim calcmode="lin" valueType="num">
                                      <p:cBhvr>
                                        <p:cTn id="34" dur="750" fill="hold"/>
                                        <p:tgtEl>
                                          <p:spTgt spid="122"/>
                                        </p:tgtEl>
                                        <p:attrNameLst>
                                          <p:attrName>ppt_x</p:attrName>
                                        </p:attrNameLst>
                                      </p:cBhvr>
                                      <p:tavLst>
                                        <p:tav tm="0">
                                          <p:val>
                                            <p:strVal val="#ppt_x"/>
                                          </p:val>
                                        </p:tav>
                                        <p:tav tm="100000">
                                          <p:val>
                                            <p:strVal val="#ppt_x"/>
                                          </p:val>
                                        </p:tav>
                                      </p:tavLst>
                                    </p:anim>
                                    <p:anim calcmode="lin" valueType="num">
                                      <p:cBhvr>
                                        <p:cTn id="35" dur="750" fill="hold"/>
                                        <p:tgtEl>
                                          <p:spTgt spid="122"/>
                                        </p:tgtEl>
                                        <p:attrNameLst>
                                          <p:attrName>ppt_y</p:attrName>
                                        </p:attrNameLst>
                                      </p:cBhvr>
                                      <p:tavLst>
                                        <p:tav tm="0">
                                          <p:val>
                                            <p:strVal val="#ppt_y+.1"/>
                                          </p:val>
                                        </p:tav>
                                        <p:tav tm="100000">
                                          <p:val>
                                            <p:strVal val="#ppt_y"/>
                                          </p:val>
                                        </p:tav>
                                      </p:tavLst>
                                    </p:anim>
                                  </p:childTnLst>
                                </p:cTn>
                              </p:par>
                            </p:childTnLst>
                          </p:cTn>
                        </p:par>
                        <p:par>
                          <p:cTn id="36" fill="hold">
                            <p:stCondLst>
                              <p:cond delay="2500"/>
                            </p:stCondLst>
                            <p:childTnLst>
                              <p:par>
                                <p:cTn id="37" presetID="42" presetClass="entr" presetSubtype="0" fill="hold" grpId="0" nodeType="afterEffect">
                                  <p:stCondLst>
                                    <p:cond delay="0"/>
                                  </p:stCondLst>
                                  <p:childTnLst>
                                    <p:set>
                                      <p:cBhvr>
                                        <p:cTn id="38" dur="1" fill="hold">
                                          <p:stCondLst>
                                            <p:cond delay="0"/>
                                          </p:stCondLst>
                                        </p:cTn>
                                        <p:tgtEl>
                                          <p:spTgt spid="123"/>
                                        </p:tgtEl>
                                        <p:attrNameLst>
                                          <p:attrName>style.visibility</p:attrName>
                                        </p:attrNameLst>
                                      </p:cBhvr>
                                      <p:to>
                                        <p:strVal val="visible"/>
                                      </p:to>
                                    </p:set>
                                    <p:animEffect transition="in" filter="fade">
                                      <p:cBhvr>
                                        <p:cTn id="39" dur="750"/>
                                        <p:tgtEl>
                                          <p:spTgt spid="123"/>
                                        </p:tgtEl>
                                      </p:cBhvr>
                                    </p:animEffect>
                                    <p:anim calcmode="lin" valueType="num">
                                      <p:cBhvr>
                                        <p:cTn id="40" dur="750" fill="hold"/>
                                        <p:tgtEl>
                                          <p:spTgt spid="123"/>
                                        </p:tgtEl>
                                        <p:attrNameLst>
                                          <p:attrName>ppt_x</p:attrName>
                                        </p:attrNameLst>
                                      </p:cBhvr>
                                      <p:tavLst>
                                        <p:tav tm="0">
                                          <p:val>
                                            <p:strVal val="#ppt_x"/>
                                          </p:val>
                                        </p:tav>
                                        <p:tav tm="100000">
                                          <p:val>
                                            <p:strVal val="#ppt_x"/>
                                          </p:val>
                                        </p:tav>
                                      </p:tavLst>
                                    </p:anim>
                                    <p:anim calcmode="lin" valueType="num">
                                      <p:cBhvr>
                                        <p:cTn id="41" dur="750" fill="hold"/>
                                        <p:tgtEl>
                                          <p:spTgt spid="123"/>
                                        </p:tgtEl>
                                        <p:attrNameLst>
                                          <p:attrName>ppt_y</p:attrName>
                                        </p:attrNameLst>
                                      </p:cBhvr>
                                      <p:tavLst>
                                        <p:tav tm="0">
                                          <p:val>
                                            <p:strVal val="#ppt_y+.1"/>
                                          </p:val>
                                        </p:tav>
                                        <p:tav tm="100000">
                                          <p:val>
                                            <p:strVal val="#ppt_y"/>
                                          </p:val>
                                        </p:tav>
                                      </p:tavLst>
                                    </p:anim>
                                  </p:childTnLst>
                                </p:cTn>
                              </p:par>
                            </p:childTnLst>
                          </p:cTn>
                        </p:par>
                        <p:par>
                          <p:cTn id="42" fill="hold">
                            <p:stCondLst>
                              <p:cond delay="3500"/>
                            </p:stCondLst>
                            <p:childTnLst>
                              <p:par>
                                <p:cTn id="43" presetID="42" presetClass="entr" presetSubtype="0" fill="hold" grpId="0" nodeType="afterEffect">
                                  <p:stCondLst>
                                    <p:cond delay="0"/>
                                  </p:stCondLst>
                                  <p:childTnLst>
                                    <p:set>
                                      <p:cBhvr>
                                        <p:cTn id="44" dur="1" fill="hold">
                                          <p:stCondLst>
                                            <p:cond delay="0"/>
                                          </p:stCondLst>
                                        </p:cTn>
                                        <p:tgtEl>
                                          <p:spTgt spid="125"/>
                                        </p:tgtEl>
                                        <p:attrNameLst>
                                          <p:attrName>style.visibility</p:attrName>
                                        </p:attrNameLst>
                                      </p:cBhvr>
                                      <p:to>
                                        <p:strVal val="visible"/>
                                      </p:to>
                                    </p:set>
                                    <p:animEffect transition="in" filter="fade">
                                      <p:cBhvr>
                                        <p:cTn id="45" dur="750"/>
                                        <p:tgtEl>
                                          <p:spTgt spid="125"/>
                                        </p:tgtEl>
                                      </p:cBhvr>
                                    </p:animEffect>
                                    <p:anim calcmode="lin" valueType="num">
                                      <p:cBhvr>
                                        <p:cTn id="46" dur="750" fill="hold"/>
                                        <p:tgtEl>
                                          <p:spTgt spid="125"/>
                                        </p:tgtEl>
                                        <p:attrNameLst>
                                          <p:attrName>ppt_x</p:attrName>
                                        </p:attrNameLst>
                                      </p:cBhvr>
                                      <p:tavLst>
                                        <p:tav tm="0">
                                          <p:val>
                                            <p:strVal val="#ppt_x"/>
                                          </p:val>
                                        </p:tav>
                                        <p:tav tm="100000">
                                          <p:val>
                                            <p:strVal val="#ppt_x"/>
                                          </p:val>
                                        </p:tav>
                                      </p:tavLst>
                                    </p:anim>
                                    <p:anim calcmode="lin" valueType="num">
                                      <p:cBhvr>
                                        <p:cTn id="47" dur="750" fill="hold"/>
                                        <p:tgtEl>
                                          <p:spTgt spid="1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P spid="122" grpId="0"/>
      <p:bldP spid="123" grpId="0"/>
      <p:bldP spid="12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450613" y="2246179"/>
            <a:ext cx="2345523" cy="646331"/>
          </a:xfrm>
          <a:prstGeom prst="rect">
            <a:avLst/>
          </a:prstGeom>
        </p:spPr>
        <p:txBody>
          <a:bodyPr wrap="square">
            <a:spAutoFit/>
          </a:bodyPr>
          <a:lstStyle/>
          <a:p>
            <a:r>
              <a:rPr lang="en-US" altLang="zh-CN" sz="3600" b="1" dirty="0">
                <a:latin typeface="微软雅黑" panose="020B0503020204020204" pitchFamily="34" charset="-122"/>
                <a:ea typeface="微软雅黑" panose="020B0503020204020204" pitchFamily="34" charset="-122"/>
              </a:rPr>
              <a:t>THANKS!</a:t>
            </a:r>
            <a:endParaRPr lang="zh-CN" altLang="en-US" sz="3600" b="1" dirty="0">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anim calcmode="lin" valueType="num">
                                      <p:cBhvr>
                                        <p:cTn id="8" dur="750" fill="hold"/>
                                        <p:tgtEl>
                                          <p:spTgt spid="6"/>
                                        </p:tgtEl>
                                        <p:attrNameLst>
                                          <p:attrName>ppt_x</p:attrName>
                                        </p:attrNameLst>
                                      </p:cBhvr>
                                      <p:tavLst>
                                        <p:tav tm="0">
                                          <p:val>
                                            <p:strVal val="#ppt_x"/>
                                          </p:val>
                                        </p:tav>
                                        <p:tav tm="100000">
                                          <p:val>
                                            <p:strVal val="#ppt_x"/>
                                          </p:val>
                                        </p:tav>
                                      </p:tavLst>
                                    </p:anim>
                                    <p:anim calcmode="lin" valueType="num">
                                      <p:cBhvr>
                                        <p:cTn id="9" dur="7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utoShape 75"/>
          <p:cNvSpPr>
            <a:spLocks noChangeArrowheads="1"/>
          </p:cNvSpPr>
          <p:nvPr/>
        </p:nvSpPr>
        <p:spPr bwMode="gray">
          <a:xfrm>
            <a:off x="1991754" y="1630168"/>
            <a:ext cx="5292000" cy="1800000"/>
          </a:xfrm>
          <a:prstGeom prst="downArrow">
            <a:avLst>
              <a:gd name="adj1" fmla="val 80356"/>
              <a:gd name="adj2" fmla="val 54167"/>
            </a:avLst>
          </a:prstGeom>
          <a:gradFill flip="none" rotWithShape="1">
            <a:gsLst>
              <a:gs pos="1000">
                <a:schemeClr val="tx1">
                  <a:lumMod val="95000"/>
                </a:schemeClr>
              </a:gs>
              <a:gs pos="90000">
                <a:schemeClr val="tx1">
                  <a:lumMod val="75000"/>
                </a:schemeClr>
              </a:gs>
            </a:gsLst>
            <a:lin ang="2700000" scaled="1"/>
            <a:tileRect/>
          </a:gra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defRPr/>
            </a:pPr>
            <a:endParaRPr lang="zh-CN" altLang="en-US" sz="1600" b="1">
              <a:solidFill>
                <a:schemeClr val="bg1"/>
              </a:solidFill>
              <a:effectLst/>
              <a:latin typeface="微软雅黑" panose="020B0503020204020204" pitchFamily="34" charset="-122"/>
              <a:ea typeface="微软雅黑" panose="020B0503020204020204" pitchFamily="34" charset="-122"/>
            </a:endParaRPr>
          </a:p>
        </p:txBody>
      </p:sp>
      <p:sp>
        <p:nvSpPr>
          <p:cNvPr id="32" name="Text Box 76"/>
          <p:cNvSpPr txBox="1">
            <a:spLocks noChangeArrowheads="1"/>
          </p:cNvSpPr>
          <p:nvPr/>
        </p:nvSpPr>
        <p:spPr bwMode="auto">
          <a:xfrm>
            <a:off x="3511550" y="2734843"/>
            <a:ext cx="2274888" cy="307975"/>
          </a:xfrm>
          <a:prstGeom prst="rect">
            <a:avLst/>
          </a:prstGeom>
          <a:noFill/>
          <a:ln w="9525" algn="ctr">
            <a:noFill/>
            <a:miter lim="800000"/>
          </a:ln>
          <a:effectLst>
            <a:prstShdw prst="shdw17" dist="17961" dir="2700000">
              <a:schemeClr val="accent1">
                <a:gamma/>
                <a:shade val="60000"/>
                <a:invGamma/>
              </a:schemeClr>
            </a:prstShdw>
          </a:effectLst>
        </p:spPr>
        <p:txBody>
          <a:bodyPr>
            <a:spAutoFit/>
          </a:bodyPr>
          <a:lstStyle/>
          <a:p>
            <a:pPr algn="ctr" fontAlgn="auto">
              <a:spcBef>
                <a:spcPts val="0"/>
              </a:spcBef>
              <a:spcAft>
                <a:spcPts val="0"/>
              </a:spcAft>
              <a:defRPr/>
            </a:pPr>
            <a:r>
              <a:rPr lang="zh-CN" altLang="en-US" sz="1400" dirty="0">
                <a:solidFill>
                  <a:schemeClr val="tx2">
                    <a:lumMod val="50000"/>
                  </a:schemeClr>
                </a:solidFill>
                <a:effectLst/>
                <a:latin typeface="Arial" panose="020B0604020202020204" pitchFamily="34" charset="0"/>
                <a:ea typeface="微软雅黑" panose="020B0503020204020204" pitchFamily="34" charset="-122"/>
              </a:rPr>
              <a:t>箭头说明文字</a:t>
            </a:r>
          </a:p>
        </p:txBody>
      </p:sp>
      <p:sp>
        <p:nvSpPr>
          <p:cNvPr id="33" name="AutoShape 81"/>
          <p:cNvSpPr>
            <a:spLocks noChangeArrowheads="1"/>
          </p:cNvSpPr>
          <p:nvPr/>
        </p:nvSpPr>
        <p:spPr bwMode="auto">
          <a:xfrm>
            <a:off x="1387880" y="3574597"/>
            <a:ext cx="1980000" cy="1080000"/>
          </a:xfrm>
          <a:prstGeom prst="roundRect">
            <a:avLst>
              <a:gd name="adj" fmla="val 0"/>
            </a:avLst>
          </a:prstGeom>
          <a:solidFill>
            <a:schemeClr val="bg1">
              <a:lumMod val="85000"/>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34" name="AutoShape 82"/>
          <p:cNvSpPr>
            <a:spLocks noChangeArrowheads="1"/>
          </p:cNvSpPr>
          <p:nvPr/>
        </p:nvSpPr>
        <p:spPr bwMode="auto">
          <a:xfrm>
            <a:off x="3647860" y="3574597"/>
            <a:ext cx="1980000" cy="1080000"/>
          </a:xfrm>
          <a:prstGeom prst="roundRect">
            <a:avLst>
              <a:gd name="adj" fmla="val 0"/>
            </a:avLst>
          </a:prstGeom>
          <a:solidFill>
            <a:schemeClr val="bg1">
              <a:lumMod val="85000"/>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a:t>
            </a:r>
          </a:p>
        </p:txBody>
      </p:sp>
      <p:sp>
        <p:nvSpPr>
          <p:cNvPr id="35" name="AutoShape 83"/>
          <p:cNvSpPr>
            <a:spLocks noChangeArrowheads="1"/>
          </p:cNvSpPr>
          <p:nvPr/>
        </p:nvSpPr>
        <p:spPr bwMode="auto">
          <a:xfrm>
            <a:off x="5906325" y="3574597"/>
            <a:ext cx="1980000" cy="1080000"/>
          </a:xfrm>
          <a:prstGeom prst="roundRect">
            <a:avLst>
              <a:gd name="adj" fmla="val 0"/>
            </a:avLst>
          </a:prstGeom>
          <a:solidFill>
            <a:schemeClr val="bg1">
              <a:lumMod val="85000"/>
              <a:alpha val="60000"/>
            </a:schemeClr>
          </a:solidFill>
          <a:ln w="254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marL="0" lvl="2" algn="ctr" eaLnBrk="0" fontAlgn="ctr" hangingPunct="0">
              <a:spcBef>
                <a:spcPts val="0"/>
              </a:spcBef>
              <a:spcAft>
                <a:spcPts val="0"/>
              </a:spcAft>
              <a:buClr>
                <a:srgbClr val="FF0000"/>
              </a:buClr>
              <a:buSzPct val="70000"/>
              <a:tabLst>
                <a:tab pos="136525" algn="l"/>
              </a:tabLst>
              <a:defRPr/>
            </a:pPr>
            <a:r>
              <a:rPr lang="zh-CN" altLang="en-US" sz="1400" dirty="0">
                <a:solidFill>
                  <a:schemeClr val="accent2"/>
                </a:solidFill>
                <a:effectLst/>
                <a:latin typeface="微软雅黑" panose="020B0503020204020204" pitchFamily="34" charset="-122"/>
                <a:ea typeface="微软雅黑" panose="020B0503020204020204" pitchFamily="34" charset="-122"/>
              </a:rPr>
              <a:t>点击添加文本</a:t>
            </a:r>
          </a:p>
        </p:txBody>
      </p:sp>
      <p:grpSp>
        <p:nvGrpSpPr>
          <p:cNvPr id="36" name="组合 42"/>
          <p:cNvGrpSpPr/>
          <p:nvPr/>
        </p:nvGrpSpPr>
        <p:grpSpPr bwMode="auto">
          <a:xfrm>
            <a:off x="1331640" y="3527005"/>
            <a:ext cx="360362" cy="358775"/>
            <a:chOff x="1220659" y="4812330"/>
            <a:chExt cx="360000" cy="360000"/>
          </a:xfrm>
          <a:scene3d>
            <a:camera prst="orthographicFront">
              <a:rot lat="0" lon="0" rev="0"/>
            </a:camera>
            <a:lightRig rig="balanced" dir="t">
              <a:rot lat="0" lon="0" rev="8700000"/>
            </a:lightRig>
          </a:scene3d>
        </p:grpSpPr>
        <p:sp>
          <p:nvSpPr>
            <p:cNvPr id="37" name="Oval 84"/>
            <p:cNvSpPr>
              <a:spLocks noChangeAspect="1" noChangeArrowheads="1"/>
            </p:cNvSpPr>
            <p:nvPr/>
          </p:nvSpPr>
          <p:spPr bwMode="auto">
            <a:xfrm>
              <a:off x="1220659" y="4812330"/>
              <a:ext cx="360000" cy="360000"/>
            </a:xfrm>
            <a:prstGeom prst="ellips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defTabSz="913130"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38" name="Text Box 85"/>
            <p:cNvSpPr txBox="1">
              <a:spLocks noChangeArrowheads="1"/>
            </p:cNvSpPr>
            <p:nvPr/>
          </p:nvSpPr>
          <p:spPr bwMode="auto">
            <a:xfrm>
              <a:off x="1248883" y="4836224"/>
              <a:ext cx="331455" cy="307433"/>
            </a:xfrm>
            <a:prstGeom prst="rect">
              <a:avLst/>
            </a:prstGeom>
            <a:noFill/>
            <a:ln w="9525" algn="ctr">
              <a:noFill/>
              <a:miter lim="800000"/>
            </a:ln>
            <a:effectLst>
              <a:outerShdw blurRad="44450" dist="27940" dir="5400000" algn="ctr">
                <a:srgbClr val="000000">
                  <a:alpha val="32000"/>
                </a:srgbClr>
              </a:outerShdw>
            </a:effectLst>
            <a:sp3d>
              <a:bevelT w="190500" h="38100"/>
            </a:sp3d>
          </p:spPr>
          <p:txBody>
            <a:bodyPr>
              <a:spAutoFit/>
            </a:bodyPr>
            <a:lstStyle/>
            <a:p>
              <a:pPr algn="ctr" fontAlgn="auto">
                <a:spcBef>
                  <a:spcPts val="0"/>
                </a:spcBef>
                <a:spcAft>
                  <a:spcPts val="0"/>
                </a:spcAft>
                <a:defRPr/>
              </a:pPr>
              <a:r>
                <a:rPr lang="en-US" altLang="zh-CN" sz="1400" b="1" spc="50" dirty="0">
                  <a:ln w="11430"/>
                  <a:solidFill>
                    <a:schemeClr val="bg1"/>
                  </a:solidFill>
                  <a:latin typeface="微软雅黑" panose="020B0503020204020204" pitchFamily="34" charset="-122"/>
                  <a:ea typeface="微软雅黑" panose="020B0503020204020204" pitchFamily="34" charset="-122"/>
                </a:rPr>
                <a:t>1</a:t>
              </a:r>
            </a:p>
          </p:txBody>
        </p:sp>
      </p:grpSp>
      <p:grpSp>
        <p:nvGrpSpPr>
          <p:cNvPr id="39" name="组合 45"/>
          <p:cNvGrpSpPr/>
          <p:nvPr/>
        </p:nvGrpSpPr>
        <p:grpSpPr bwMode="auto">
          <a:xfrm>
            <a:off x="3590925" y="3527006"/>
            <a:ext cx="360363" cy="358775"/>
            <a:chOff x="3401927" y="4812331"/>
            <a:chExt cx="360000" cy="360000"/>
          </a:xfrm>
          <a:scene3d>
            <a:camera prst="orthographicFront">
              <a:rot lat="0" lon="0" rev="0"/>
            </a:camera>
            <a:lightRig rig="balanced" dir="t">
              <a:rot lat="0" lon="0" rev="8700000"/>
            </a:lightRig>
          </a:scene3d>
        </p:grpSpPr>
        <p:sp>
          <p:nvSpPr>
            <p:cNvPr id="40" name="Oval 88"/>
            <p:cNvSpPr>
              <a:spLocks noChangeAspect="1" noChangeArrowheads="1"/>
            </p:cNvSpPr>
            <p:nvPr/>
          </p:nvSpPr>
          <p:spPr bwMode="auto">
            <a:xfrm>
              <a:off x="3401927" y="4812331"/>
              <a:ext cx="360000" cy="360000"/>
            </a:xfrm>
            <a:prstGeom prst="ellips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defTabSz="913130"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1" name="Text Box 89"/>
            <p:cNvSpPr txBox="1">
              <a:spLocks noChangeArrowheads="1"/>
            </p:cNvSpPr>
            <p:nvPr/>
          </p:nvSpPr>
          <p:spPr bwMode="auto">
            <a:xfrm>
              <a:off x="3419372" y="4836224"/>
              <a:ext cx="325109" cy="307433"/>
            </a:xfrm>
            <a:prstGeom prst="rect">
              <a:avLst/>
            </a:prstGeom>
            <a:noFill/>
            <a:ln w="9525" algn="ctr">
              <a:noFill/>
              <a:miter lim="800000"/>
            </a:ln>
            <a:effectLst>
              <a:outerShdw blurRad="44450" dist="27940" dir="5400000" algn="ctr">
                <a:srgbClr val="000000">
                  <a:alpha val="32000"/>
                </a:srgbClr>
              </a:outerShdw>
            </a:effectLst>
            <a:sp3d>
              <a:bevelT w="190500" h="38100"/>
            </a:sp3d>
          </p:spPr>
          <p:txBody>
            <a:bodyPr>
              <a:spAutoFit/>
            </a:bodyPr>
            <a:lstStyle/>
            <a:p>
              <a:pPr algn="ctr" fontAlgn="auto">
                <a:spcBef>
                  <a:spcPts val="0"/>
                </a:spcBef>
                <a:spcAft>
                  <a:spcPts val="0"/>
                </a:spcAft>
                <a:defRPr/>
              </a:pPr>
              <a:r>
                <a:rPr lang="en-US" altLang="zh-CN" sz="1400" b="1" spc="50" dirty="0">
                  <a:ln w="11430"/>
                  <a:solidFill>
                    <a:schemeClr val="bg1"/>
                  </a:solidFill>
                  <a:latin typeface="微软雅黑" panose="020B0503020204020204" pitchFamily="34" charset="-122"/>
                  <a:ea typeface="微软雅黑" panose="020B0503020204020204" pitchFamily="34" charset="-122"/>
                </a:rPr>
                <a:t>2</a:t>
              </a:r>
            </a:p>
          </p:txBody>
        </p:sp>
      </p:grpSp>
      <p:grpSp>
        <p:nvGrpSpPr>
          <p:cNvPr id="42" name="组合 48"/>
          <p:cNvGrpSpPr/>
          <p:nvPr/>
        </p:nvGrpSpPr>
        <p:grpSpPr bwMode="auto">
          <a:xfrm>
            <a:off x="5849938" y="3527005"/>
            <a:ext cx="360362" cy="358775"/>
            <a:chOff x="5721318" y="4812330"/>
            <a:chExt cx="360000" cy="360000"/>
          </a:xfrm>
          <a:scene3d>
            <a:camera prst="orthographicFront">
              <a:rot lat="0" lon="0" rev="0"/>
            </a:camera>
            <a:lightRig rig="balanced" dir="t">
              <a:rot lat="0" lon="0" rev="8700000"/>
            </a:lightRig>
          </a:scene3d>
        </p:grpSpPr>
        <p:sp>
          <p:nvSpPr>
            <p:cNvPr id="43" name="Oval 91"/>
            <p:cNvSpPr>
              <a:spLocks noChangeAspect="1" noChangeArrowheads="1"/>
            </p:cNvSpPr>
            <p:nvPr/>
          </p:nvSpPr>
          <p:spPr bwMode="auto">
            <a:xfrm>
              <a:off x="5721318" y="4812330"/>
              <a:ext cx="360000" cy="360000"/>
            </a:xfrm>
            <a:prstGeom prst="ellips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defTabSz="913130"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4" name="Text Box 92"/>
            <p:cNvSpPr txBox="1">
              <a:spLocks noChangeArrowheads="1"/>
            </p:cNvSpPr>
            <p:nvPr/>
          </p:nvSpPr>
          <p:spPr bwMode="auto">
            <a:xfrm>
              <a:off x="5745106" y="4836224"/>
              <a:ext cx="312424" cy="307433"/>
            </a:xfrm>
            <a:prstGeom prst="rect">
              <a:avLst/>
            </a:prstGeom>
            <a:noFill/>
            <a:ln w="9525" algn="ctr">
              <a:noFill/>
              <a:miter lim="800000"/>
            </a:ln>
            <a:effectLst>
              <a:outerShdw blurRad="44450" dist="27940" dir="5400000" algn="ctr">
                <a:srgbClr val="000000">
                  <a:alpha val="32000"/>
                </a:srgbClr>
              </a:outerShdw>
            </a:effectLst>
            <a:sp3d>
              <a:bevelT w="190500" h="38100"/>
            </a:sp3d>
          </p:spPr>
          <p:txBody>
            <a:bodyPr>
              <a:spAutoFit/>
            </a:bodyPr>
            <a:lstStyle/>
            <a:p>
              <a:pPr algn="ctr" fontAlgn="auto">
                <a:spcBef>
                  <a:spcPts val="0"/>
                </a:spcBef>
                <a:spcAft>
                  <a:spcPts val="0"/>
                </a:spcAft>
                <a:defRPr/>
              </a:pPr>
              <a:r>
                <a:rPr lang="en-US" altLang="zh-CN" sz="1400" b="1" spc="50" dirty="0">
                  <a:ln w="11430"/>
                  <a:solidFill>
                    <a:schemeClr val="bg1"/>
                  </a:solidFill>
                  <a:latin typeface="微软雅黑" panose="020B0503020204020204" pitchFamily="34" charset="-122"/>
                  <a:ea typeface="微软雅黑" panose="020B0503020204020204" pitchFamily="34" charset="-122"/>
                </a:rPr>
                <a:t>3</a:t>
              </a:r>
            </a:p>
          </p:txBody>
        </p:sp>
      </p:grpSp>
      <p:grpSp>
        <p:nvGrpSpPr>
          <p:cNvPr id="60" name="组合 59"/>
          <p:cNvGrpSpPr/>
          <p:nvPr/>
        </p:nvGrpSpPr>
        <p:grpSpPr>
          <a:xfrm>
            <a:off x="1739773" y="908148"/>
            <a:ext cx="1383263" cy="1383264"/>
            <a:chOff x="5003216" y="2182757"/>
            <a:chExt cx="1383263" cy="1383264"/>
          </a:xfrm>
        </p:grpSpPr>
        <p:sp>
          <p:nvSpPr>
            <p:cNvPr id="61" name="Oval 60"/>
            <p:cNvSpPr>
              <a:spLocks noChangeArrowheads="1"/>
            </p:cNvSpPr>
            <p:nvPr/>
          </p:nvSpPr>
          <p:spPr bwMode="auto">
            <a:xfrm>
              <a:off x="5003216" y="2182757"/>
              <a:ext cx="1383263" cy="1383264"/>
            </a:xfrm>
            <a:prstGeom prst="ellipse">
              <a:avLst/>
            </a:prstGeom>
            <a:solidFill>
              <a:srgbClr val="3A9707"/>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2" name="Group 61"/>
            <p:cNvGrpSpPr/>
            <p:nvPr/>
          </p:nvGrpSpPr>
          <p:grpSpPr bwMode="auto">
            <a:xfrm>
              <a:off x="5118805" y="2220864"/>
              <a:ext cx="1153355" cy="375983"/>
              <a:chOff x="1431" y="1843"/>
              <a:chExt cx="907" cy="295"/>
            </a:xfrm>
          </p:grpSpPr>
          <p:sp>
            <p:nvSpPr>
              <p:cNvPr id="63" name="Freeform 6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4" name="Oval 6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59" name="TextBox 147"/>
          <p:cNvSpPr txBox="1">
            <a:spLocks noChangeArrowheads="1"/>
          </p:cNvSpPr>
          <p:nvPr/>
        </p:nvSpPr>
        <p:spPr bwMode="auto">
          <a:xfrm>
            <a:off x="1835696" y="1438753"/>
            <a:ext cx="1210776" cy="338554"/>
          </a:xfrm>
          <a:prstGeom prst="rect">
            <a:avLst/>
          </a:prstGeom>
          <a:noFill/>
          <a:scene3d>
            <a:camera prst="orthographicFront"/>
            <a:lightRig rig="threePt" dir="t"/>
          </a:scene3d>
          <a:sp3d/>
        </p:spPr>
        <p:txBody>
          <a:bodyPr>
            <a:spAutoFit/>
          </a:bodyPr>
          <a:lstStyle/>
          <a:p>
            <a:pPr algn="ctr" fontAlgn="ctr">
              <a:spcBef>
                <a:spcPts val="0"/>
              </a:spcBef>
              <a:spcAft>
                <a:spcPts val="0"/>
              </a:spcAft>
              <a:buClr>
                <a:srgbClr val="FF0000"/>
              </a:buClr>
              <a:buSzPct val="70000"/>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grpSp>
        <p:nvGrpSpPr>
          <p:cNvPr id="65" name="组合 64"/>
          <p:cNvGrpSpPr/>
          <p:nvPr/>
        </p:nvGrpSpPr>
        <p:grpSpPr>
          <a:xfrm>
            <a:off x="3936549" y="908148"/>
            <a:ext cx="1383263" cy="1383264"/>
            <a:chOff x="5003216" y="2182757"/>
            <a:chExt cx="1383263" cy="1383264"/>
          </a:xfrm>
        </p:grpSpPr>
        <p:sp>
          <p:nvSpPr>
            <p:cNvPr id="66" name="Oval 60"/>
            <p:cNvSpPr>
              <a:spLocks noChangeArrowheads="1"/>
            </p:cNvSpPr>
            <p:nvPr/>
          </p:nvSpPr>
          <p:spPr bwMode="auto">
            <a:xfrm>
              <a:off x="5003216" y="2182757"/>
              <a:ext cx="1383263" cy="1383264"/>
            </a:xfrm>
            <a:prstGeom prst="ellipse">
              <a:avLst/>
            </a:prstGeom>
            <a:solidFill>
              <a:srgbClr val="3A9707"/>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67" name="Group 61"/>
            <p:cNvGrpSpPr/>
            <p:nvPr/>
          </p:nvGrpSpPr>
          <p:grpSpPr bwMode="auto">
            <a:xfrm>
              <a:off x="5118805" y="2220864"/>
              <a:ext cx="1153355" cy="375983"/>
              <a:chOff x="1431" y="1843"/>
              <a:chExt cx="907" cy="295"/>
            </a:xfrm>
          </p:grpSpPr>
          <p:sp>
            <p:nvSpPr>
              <p:cNvPr id="68" name="Freeform 6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9" name="Oval 6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70" name="TextBox 147"/>
          <p:cNvSpPr txBox="1">
            <a:spLocks noChangeArrowheads="1"/>
          </p:cNvSpPr>
          <p:nvPr/>
        </p:nvSpPr>
        <p:spPr bwMode="auto">
          <a:xfrm>
            <a:off x="4009296" y="1438753"/>
            <a:ext cx="1210776" cy="338554"/>
          </a:xfrm>
          <a:prstGeom prst="rect">
            <a:avLst/>
          </a:prstGeom>
          <a:noFill/>
          <a:scene3d>
            <a:camera prst="orthographicFront"/>
            <a:lightRig rig="threePt" dir="t"/>
          </a:scene3d>
          <a:sp3d/>
        </p:spPr>
        <p:txBody>
          <a:bodyPr>
            <a:spAutoFit/>
          </a:bodyPr>
          <a:lstStyle/>
          <a:p>
            <a:pPr algn="ctr" fontAlgn="ctr">
              <a:spcBef>
                <a:spcPts val="0"/>
              </a:spcBef>
              <a:spcAft>
                <a:spcPts val="0"/>
              </a:spcAft>
              <a:buClr>
                <a:srgbClr val="FF0000"/>
              </a:buClr>
              <a:buSzPct val="70000"/>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grpSp>
        <p:nvGrpSpPr>
          <p:cNvPr id="71" name="组合 70"/>
          <p:cNvGrpSpPr/>
          <p:nvPr/>
        </p:nvGrpSpPr>
        <p:grpSpPr>
          <a:xfrm>
            <a:off x="6034559" y="908148"/>
            <a:ext cx="1383263" cy="1383264"/>
            <a:chOff x="5003216" y="2182757"/>
            <a:chExt cx="1383263" cy="1383264"/>
          </a:xfrm>
        </p:grpSpPr>
        <p:sp>
          <p:nvSpPr>
            <p:cNvPr id="72" name="Oval 60"/>
            <p:cNvSpPr>
              <a:spLocks noChangeArrowheads="1"/>
            </p:cNvSpPr>
            <p:nvPr/>
          </p:nvSpPr>
          <p:spPr bwMode="auto">
            <a:xfrm>
              <a:off x="5003216" y="2182757"/>
              <a:ext cx="1383263" cy="1383264"/>
            </a:xfrm>
            <a:prstGeom prst="ellipse">
              <a:avLst/>
            </a:prstGeom>
            <a:solidFill>
              <a:srgbClr val="3A9707"/>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73" name="Group 61"/>
            <p:cNvGrpSpPr/>
            <p:nvPr/>
          </p:nvGrpSpPr>
          <p:grpSpPr bwMode="auto">
            <a:xfrm>
              <a:off x="5118805" y="2220864"/>
              <a:ext cx="1153355" cy="375983"/>
              <a:chOff x="1431" y="1843"/>
              <a:chExt cx="907" cy="295"/>
            </a:xfrm>
          </p:grpSpPr>
          <p:sp>
            <p:nvSpPr>
              <p:cNvPr id="74" name="Freeform 6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5" name="Oval 6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76" name="TextBox 147"/>
          <p:cNvSpPr txBox="1">
            <a:spLocks noChangeArrowheads="1"/>
          </p:cNvSpPr>
          <p:nvPr/>
        </p:nvSpPr>
        <p:spPr bwMode="auto">
          <a:xfrm>
            <a:off x="6107306" y="1438753"/>
            <a:ext cx="1210776" cy="338554"/>
          </a:xfrm>
          <a:prstGeom prst="rect">
            <a:avLst/>
          </a:prstGeom>
          <a:noFill/>
          <a:scene3d>
            <a:camera prst="orthographicFront"/>
            <a:lightRig rig="threePt" dir="t"/>
          </a:scene3d>
          <a:sp3d/>
        </p:spPr>
        <p:txBody>
          <a:bodyPr>
            <a:spAutoFit/>
          </a:bodyPr>
          <a:lstStyle/>
          <a:p>
            <a:pPr algn="ctr" fontAlgn="ctr">
              <a:spcBef>
                <a:spcPts val="0"/>
              </a:spcBef>
              <a:spcAft>
                <a:spcPts val="0"/>
              </a:spcAft>
              <a:buClr>
                <a:srgbClr val="FF0000"/>
              </a:buClr>
              <a:buSzPct val="70000"/>
              <a:defRPr/>
            </a:pPr>
            <a:r>
              <a:rPr lang="zh-CN" altLang="en-US" sz="1600" dirty="0">
                <a:solidFill>
                  <a:schemeClr val="bg1"/>
                </a:solidFill>
                <a:effectLst/>
                <a:latin typeface="微软雅黑" panose="020B0503020204020204" pitchFamily="34" charset="-122"/>
                <a:ea typeface="微软雅黑" panose="020B0503020204020204" pitchFamily="34" charset="-122"/>
              </a:rPr>
              <a:t>添加标题</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nodeType="after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p:cTn id="7" dur="1000" fill="hold"/>
                                        <p:tgtEl>
                                          <p:spTgt spid="60"/>
                                        </p:tgtEl>
                                        <p:attrNameLst>
                                          <p:attrName>ppt_w</p:attrName>
                                        </p:attrNameLst>
                                      </p:cBhvr>
                                      <p:tavLst>
                                        <p:tav tm="0">
                                          <p:val>
                                            <p:fltVal val="0"/>
                                          </p:val>
                                        </p:tav>
                                        <p:tav tm="100000">
                                          <p:val>
                                            <p:strVal val="#ppt_w"/>
                                          </p:val>
                                        </p:tav>
                                      </p:tavLst>
                                    </p:anim>
                                    <p:anim calcmode="lin" valueType="num">
                                      <p:cBhvr>
                                        <p:cTn id="8" dur="1000" fill="hold"/>
                                        <p:tgtEl>
                                          <p:spTgt spid="60"/>
                                        </p:tgtEl>
                                        <p:attrNameLst>
                                          <p:attrName>ppt_h</p:attrName>
                                        </p:attrNameLst>
                                      </p:cBhvr>
                                      <p:tavLst>
                                        <p:tav tm="0">
                                          <p:val>
                                            <p:fltVal val="0"/>
                                          </p:val>
                                        </p:tav>
                                        <p:tav tm="100000">
                                          <p:val>
                                            <p:strVal val="#ppt_h"/>
                                          </p:val>
                                        </p:tav>
                                      </p:tavLst>
                                    </p:anim>
                                    <p:anim calcmode="lin" valueType="num">
                                      <p:cBhvr>
                                        <p:cTn id="9" dur="1000" fill="hold"/>
                                        <p:tgtEl>
                                          <p:spTgt spid="60"/>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60"/>
                                        </p:tgtEl>
                                        <p:attrNameLst>
                                          <p:attrName>ppt_y</p:attrName>
                                        </p:attrNameLst>
                                      </p:cBhvr>
                                      <p:tavLst>
                                        <p:tav tm="0" fmla="#ppt_y+(sin(-2*pi*(1-$))*-#ppt_x+cos(-2*pi*(1-$))*(1-#ppt_y))*(1-$)">
                                          <p:val>
                                            <p:fltVal val="0"/>
                                          </p:val>
                                        </p:tav>
                                        <p:tav tm="100000">
                                          <p:val>
                                            <p:fltVal val="1"/>
                                          </p:val>
                                        </p:tav>
                                      </p:tavLst>
                                    </p:anim>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59"/>
                                        </p:tgtEl>
                                        <p:attrNameLst>
                                          <p:attrName>style.visibility</p:attrName>
                                        </p:attrNameLst>
                                      </p:cBhvr>
                                      <p:to>
                                        <p:strVal val="visible"/>
                                      </p:to>
                                    </p:set>
                                    <p:anim calcmode="lin" valueType="num">
                                      <p:cBhvr>
                                        <p:cTn id="14" dur="500" fill="hold"/>
                                        <p:tgtEl>
                                          <p:spTgt spid="59"/>
                                        </p:tgtEl>
                                        <p:attrNameLst>
                                          <p:attrName>ppt_w</p:attrName>
                                        </p:attrNameLst>
                                      </p:cBhvr>
                                      <p:tavLst>
                                        <p:tav tm="0">
                                          <p:val>
                                            <p:fltVal val="0"/>
                                          </p:val>
                                        </p:tav>
                                        <p:tav tm="100000">
                                          <p:val>
                                            <p:strVal val="#ppt_w"/>
                                          </p:val>
                                        </p:tav>
                                      </p:tavLst>
                                    </p:anim>
                                    <p:anim calcmode="lin" valueType="num">
                                      <p:cBhvr>
                                        <p:cTn id="15" dur="500" fill="hold"/>
                                        <p:tgtEl>
                                          <p:spTgt spid="59"/>
                                        </p:tgtEl>
                                        <p:attrNameLst>
                                          <p:attrName>ppt_h</p:attrName>
                                        </p:attrNameLst>
                                      </p:cBhvr>
                                      <p:tavLst>
                                        <p:tav tm="0">
                                          <p:val>
                                            <p:fltVal val="0"/>
                                          </p:val>
                                        </p:tav>
                                        <p:tav tm="100000">
                                          <p:val>
                                            <p:strVal val="#ppt_h"/>
                                          </p:val>
                                        </p:tav>
                                      </p:tavLst>
                                    </p:anim>
                                    <p:anim calcmode="lin" valueType="num">
                                      <p:cBhvr>
                                        <p:cTn id="16" dur="500" fill="hold"/>
                                        <p:tgtEl>
                                          <p:spTgt spid="59"/>
                                        </p:tgtEl>
                                        <p:attrNameLst>
                                          <p:attrName>style.rotation</p:attrName>
                                        </p:attrNameLst>
                                      </p:cBhvr>
                                      <p:tavLst>
                                        <p:tav tm="0">
                                          <p:val>
                                            <p:fltVal val="360"/>
                                          </p:val>
                                        </p:tav>
                                        <p:tav tm="100000">
                                          <p:val>
                                            <p:fltVal val="0"/>
                                          </p:val>
                                        </p:tav>
                                      </p:tavLst>
                                    </p:anim>
                                    <p:animEffect transition="in" filter="fade">
                                      <p:cBhvr>
                                        <p:cTn id="17" dur="500"/>
                                        <p:tgtEl>
                                          <p:spTgt spid="59"/>
                                        </p:tgtEl>
                                      </p:cBhvr>
                                    </p:animEffect>
                                  </p:childTnLst>
                                </p:cTn>
                              </p:par>
                            </p:childTnLst>
                          </p:cTn>
                        </p:par>
                        <p:par>
                          <p:cTn id="18" fill="hold">
                            <p:stCondLst>
                              <p:cond delay="1500"/>
                            </p:stCondLst>
                            <p:childTnLst>
                              <p:par>
                                <p:cTn id="19" presetID="15" presetClass="entr" presetSubtype="0" fill="hold" nodeType="afterEffect">
                                  <p:stCondLst>
                                    <p:cond delay="0"/>
                                  </p:stCondLst>
                                  <p:childTnLst>
                                    <p:set>
                                      <p:cBhvr>
                                        <p:cTn id="20" dur="1" fill="hold">
                                          <p:stCondLst>
                                            <p:cond delay="0"/>
                                          </p:stCondLst>
                                        </p:cTn>
                                        <p:tgtEl>
                                          <p:spTgt spid="65"/>
                                        </p:tgtEl>
                                        <p:attrNameLst>
                                          <p:attrName>style.visibility</p:attrName>
                                        </p:attrNameLst>
                                      </p:cBhvr>
                                      <p:to>
                                        <p:strVal val="visible"/>
                                      </p:to>
                                    </p:set>
                                    <p:anim calcmode="lin" valueType="num">
                                      <p:cBhvr>
                                        <p:cTn id="21" dur="1000" fill="hold"/>
                                        <p:tgtEl>
                                          <p:spTgt spid="65"/>
                                        </p:tgtEl>
                                        <p:attrNameLst>
                                          <p:attrName>ppt_w</p:attrName>
                                        </p:attrNameLst>
                                      </p:cBhvr>
                                      <p:tavLst>
                                        <p:tav tm="0">
                                          <p:val>
                                            <p:fltVal val="0"/>
                                          </p:val>
                                        </p:tav>
                                        <p:tav tm="100000">
                                          <p:val>
                                            <p:strVal val="#ppt_w"/>
                                          </p:val>
                                        </p:tav>
                                      </p:tavLst>
                                    </p:anim>
                                    <p:anim calcmode="lin" valueType="num">
                                      <p:cBhvr>
                                        <p:cTn id="22" dur="1000" fill="hold"/>
                                        <p:tgtEl>
                                          <p:spTgt spid="65"/>
                                        </p:tgtEl>
                                        <p:attrNameLst>
                                          <p:attrName>ppt_h</p:attrName>
                                        </p:attrNameLst>
                                      </p:cBhvr>
                                      <p:tavLst>
                                        <p:tav tm="0">
                                          <p:val>
                                            <p:fltVal val="0"/>
                                          </p:val>
                                        </p:tav>
                                        <p:tav tm="100000">
                                          <p:val>
                                            <p:strVal val="#ppt_h"/>
                                          </p:val>
                                        </p:tav>
                                      </p:tavLst>
                                    </p:anim>
                                    <p:anim calcmode="lin" valueType="num">
                                      <p:cBhvr>
                                        <p:cTn id="23" dur="1000" fill="hold"/>
                                        <p:tgtEl>
                                          <p:spTgt spid="65"/>
                                        </p:tgtEl>
                                        <p:attrNameLst>
                                          <p:attrName>ppt_x</p:attrName>
                                        </p:attrNameLst>
                                      </p:cBhvr>
                                      <p:tavLst>
                                        <p:tav tm="0" fmla="#ppt_x+(cos(-2*pi*(1-$))*-#ppt_x-sin(-2*pi*(1-$))*(1-#ppt_y))*(1-$)">
                                          <p:val>
                                            <p:fltVal val="0"/>
                                          </p:val>
                                        </p:tav>
                                        <p:tav tm="100000">
                                          <p:val>
                                            <p:fltVal val="1"/>
                                          </p:val>
                                        </p:tav>
                                      </p:tavLst>
                                    </p:anim>
                                    <p:anim calcmode="lin" valueType="num">
                                      <p:cBhvr>
                                        <p:cTn id="24" dur="1000" fill="hold"/>
                                        <p:tgtEl>
                                          <p:spTgt spid="65"/>
                                        </p:tgtEl>
                                        <p:attrNameLst>
                                          <p:attrName>ppt_y</p:attrName>
                                        </p:attrNameLst>
                                      </p:cBhvr>
                                      <p:tavLst>
                                        <p:tav tm="0" fmla="#ppt_y+(sin(-2*pi*(1-$))*-#ppt_x+cos(-2*pi*(1-$))*(1-#ppt_y))*(1-$)">
                                          <p:val>
                                            <p:fltVal val="0"/>
                                          </p:val>
                                        </p:tav>
                                        <p:tav tm="100000">
                                          <p:val>
                                            <p:fltVal val="1"/>
                                          </p:val>
                                        </p:tav>
                                      </p:tavLst>
                                    </p:anim>
                                  </p:childTnLst>
                                </p:cTn>
                              </p:par>
                            </p:childTnLst>
                          </p:cTn>
                        </p:par>
                        <p:par>
                          <p:cTn id="25" fill="hold">
                            <p:stCondLst>
                              <p:cond delay="2500"/>
                            </p:stCondLst>
                            <p:childTnLst>
                              <p:par>
                                <p:cTn id="26" presetID="49" presetClass="entr" presetSubtype="0" decel="100000" fill="hold" grpId="0" nodeType="afterEffect">
                                  <p:stCondLst>
                                    <p:cond delay="0"/>
                                  </p:stCondLst>
                                  <p:childTnLst>
                                    <p:set>
                                      <p:cBhvr>
                                        <p:cTn id="27" dur="1" fill="hold">
                                          <p:stCondLst>
                                            <p:cond delay="0"/>
                                          </p:stCondLst>
                                        </p:cTn>
                                        <p:tgtEl>
                                          <p:spTgt spid="70"/>
                                        </p:tgtEl>
                                        <p:attrNameLst>
                                          <p:attrName>style.visibility</p:attrName>
                                        </p:attrNameLst>
                                      </p:cBhvr>
                                      <p:to>
                                        <p:strVal val="visible"/>
                                      </p:to>
                                    </p:set>
                                    <p:anim calcmode="lin" valueType="num">
                                      <p:cBhvr>
                                        <p:cTn id="28" dur="500" fill="hold"/>
                                        <p:tgtEl>
                                          <p:spTgt spid="70"/>
                                        </p:tgtEl>
                                        <p:attrNameLst>
                                          <p:attrName>ppt_w</p:attrName>
                                        </p:attrNameLst>
                                      </p:cBhvr>
                                      <p:tavLst>
                                        <p:tav tm="0">
                                          <p:val>
                                            <p:fltVal val="0"/>
                                          </p:val>
                                        </p:tav>
                                        <p:tav tm="100000">
                                          <p:val>
                                            <p:strVal val="#ppt_w"/>
                                          </p:val>
                                        </p:tav>
                                      </p:tavLst>
                                    </p:anim>
                                    <p:anim calcmode="lin" valueType="num">
                                      <p:cBhvr>
                                        <p:cTn id="29" dur="500" fill="hold"/>
                                        <p:tgtEl>
                                          <p:spTgt spid="70"/>
                                        </p:tgtEl>
                                        <p:attrNameLst>
                                          <p:attrName>ppt_h</p:attrName>
                                        </p:attrNameLst>
                                      </p:cBhvr>
                                      <p:tavLst>
                                        <p:tav tm="0">
                                          <p:val>
                                            <p:fltVal val="0"/>
                                          </p:val>
                                        </p:tav>
                                        <p:tav tm="100000">
                                          <p:val>
                                            <p:strVal val="#ppt_h"/>
                                          </p:val>
                                        </p:tav>
                                      </p:tavLst>
                                    </p:anim>
                                    <p:anim calcmode="lin" valueType="num">
                                      <p:cBhvr>
                                        <p:cTn id="30" dur="500" fill="hold"/>
                                        <p:tgtEl>
                                          <p:spTgt spid="70"/>
                                        </p:tgtEl>
                                        <p:attrNameLst>
                                          <p:attrName>style.rotation</p:attrName>
                                        </p:attrNameLst>
                                      </p:cBhvr>
                                      <p:tavLst>
                                        <p:tav tm="0">
                                          <p:val>
                                            <p:fltVal val="360"/>
                                          </p:val>
                                        </p:tav>
                                        <p:tav tm="100000">
                                          <p:val>
                                            <p:fltVal val="0"/>
                                          </p:val>
                                        </p:tav>
                                      </p:tavLst>
                                    </p:anim>
                                    <p:animEffect transition="in" filter="fade">
                                      <p:cBhvr>
                                        <p:cTn id="31" dur="500"/>
                                        <p:tgtEl>
                                          <p:spTgt spid="70"/>
                                        </p:tgtEl>
                                      </p:cBhvr>
                                    </p:animEffect>
                                  </p:childTnLst>
                                </p:cTn>
                              </p:par>
                            </p:childTnLst>
                          </p:cTn>
                        </p:par>
                        <p:par>
                          <p:cTn id="32" fill="hold">
                            <p:stCondLst>
                              <p:cond delay="3000"/>
                            </p:stCondLst>
                            <p:childTnLst>
                              <p:par>
                                <p:cTn id="33" presetID="15" presetClass="entr" presetSubtype="0" fill="hold" nodeType="afterEffect">
                                  <p:stCondLst>
                                    <p:cond delay="0"/>
                                  </p:stCondLst>
                                  <p:childTnLst>
                                    <p:set>
                                      <p:cBhvr>
                                        <p:cTn id="34" dur="1" fill="hold">
                                          <p:stCondLst>
                                            <p:cond delay="0"/>
                                          </p:stCondLst>
                                        </p:cTn>
                                        <p:tgtEl>
                                          <p:spTgt spid="71"/>
                                        </p:tgtEl>
                                        <p:attrNameLst>
                                          <p:attrName>style.visibility</p:attrName>
                                        </p:attrNameLst>
                                      </p:cBhvr>
                                      <p:to>
                                        <p:strVal val="visible"/>
                                      </p:to>
                                    </p:set>
                                    <p:anim calcmode="lin" valueType="num">
                                      <p:cBhvr>
                                        <p:cTn id="35" dur="1000" fill="hold"/>
                                        <p:tgtEl>
                                          <p:spTgt spid="71"/>
                                        </p:tgtEl>
                                        <p:attrNameLst>
                                          <p:attrName>ppt_w</p:attrName>
                                        </p:attrNameLst>
                                      </p:cBhvr>
                                      <p:tavLst>
                                        <p:tav tm="0">
                                          <p:val>
                                            <p:fltVal val="0"/>
                                          </p:val>
                                        </p:tav>
                                        <p:tav tm="100000">
                                          <p:val>
                                            <p:strVal val="#ppt_w"/>
                                          </p:val>
                                        </p:tav>
                                      </p:tavLst>
                                    </p:anim>
                                    <p:anim calcmode="lin" valueType="num">
                                      <p:cBhvr>
                                        <p:cTn id="36" dur="1000" fill="hold"/>
                                        <p:tgtEl>
                                          <p:spTgt spid="71"/>
                                        </p:tgtEl>
                                        <p:attrNameLst>
                                          <p:attrName>ppt_h</p:attrName>
                                        </p:attrNameLst>
                                      </p:cBhvr>
                                      <p:tavLst>
                                        <p:tav tm="0">
                                          <p:val>
                                            <p:fltVal val="0"/>
                                          </p:val>
                                        </p:tav>
                                        <p:tav tm="100000">
                                          <p:val>
                                            <p:strVal val="#ppt_h"/>
                                          </p:val>
                                        </p:tav>
                                      </p:tavLst>
                                    </p:anim>
                                    <p:anim calcmode="lin" valueType="num">
                                      <p:cBhvr>
                                        <p:cTn id="37" dur="1000" fill="hold"/>
                                        <p:tgtEl>
                                          <p:spTgt spid="71"/>
                                        </p:tgtEl>
                                        <p:attrNameLst>
                                          <p:attrName>ppt_x</p:attrName>
                                        </p:attrNameLst>
                                      </p:cBhvr>
                                      <p:tavLst>
                                        <p:tav tm="0" fmla="#ppt_x+(cos(-2*pi*(1-$))*-#ppt_x-sin(-2*pi*(1-$))*(1-#ppt_y))*(1-$)">
                                          <p:val>
                                            <p:fltVal val="0"/>
                                          </p:val>
                                        </p:tav>
                                        <p:tav tm="100000">
                                          <p:val>
                                            <p:fltVal val="1"/>
                                          </p:val>
                                        </p:tav>
                                      </p:tavLst>
                                    </p:anim>
                                    <p:anim calcmode="lin" valueType="num">
                                      <p:cBhvr>
                                        <p:cTn id="38" dur="1000" fill="hold"/>
                                        <p:tgtEl>
                                          <p:spTgt spid="71"/>
                                        </p:tgtEl>
                                        <p:attrNameLst>
                                          <p:attrName>ppt_y</p:attrName>
                                        </p:attrNameLst>
                                      </p:cBhvr>
                                      <p:tavLst>
                                        <p:tav tm="0" fmla="#ppt_y+(sin(-2*pi*(1-$))*-#ppt_x+cos(-2*pi*(1-$))*(1-#ppt_y))*(1-$)">
                                          <p:val>
                                            <p:fltVal val="0"/>
                                          </p:val>
                                        </p:tav>
                                        <p:tav tm="100000">
                                          <p:val>
                                            <p:fltVal val="1"/>
                                          </p:val>
                                        </p:tav>
                                      </p:tavLst>
                                    </p:anim>
                                  </p:childTnLst>
                                </p:cTn>
                              </p:par>
                            </p:childTnLst>
                          </p:cTn>
                        </p:par>
                        <p:par>
                          <p:cTn id="39" fill="hold">
                            <p:stCondLst>
                              <p:cond delay="4000"/>
                            </p:stCondLst>
                            <p:childTnLst>
                              <p:par>
                                <p:cTn id="40" presetID="49" presetClass="entr" presetSubtype="0" decel="100000" fill="hold" grpId="0" nodeType="afterEffect">
                                  <p:stCondLst>
                                    <p:cond delay="0"/>
                                  </p:stCondLst>
                                  <p:childTnLst>
                                    <p:set>
                                      <p:cBhvr>
                                        <p:cTn id="41" dur="1" fill="hold">
                                          <p:stCondLst>
                                            <p:cond delay="0"/>
                                          </p:stCondLst>
                                        </p:cTn>
                                        <p:tgtEl>
                                          <p:spTgt spid="76"/>
                                        </p:tgtEl>
                                        <p:attrNameLst>
                                          <p:attrName>style.visibility</p:attrName>
                                        </p:attrNameLst>
                                      </p:cBhvr>
                                      <p:to>
                                        <p:strVal val="visible"/>
                                      </p:to>
                                    </p:set>
                                    <p:anim calcmode="lin" valueType="num">
                                      <p:cBhvr>
                                        <p:cTn id="42" dur="500" fill="hold"/>
                                        <p:tgtEl>
                                          <p:spTgt spid="76"/>
                                        </p:tgtEl>
                                        <p:attrNameLst>
                                          <p:attrName>ppt_w</p:attrName>
                                        </p:attrNameLst>
                                      </p:cBhvr>
                                      <p:tavLst>
                                        <p:tav tm="0">
                                          <p:val>
                                            <p:fltVal val="0"/>
                                          </p:val>
                                        </p:tav>
                                        <p:tav tm="100000">
                                          <p:val>
                                            <p:strVal val="#ppt_w"/>
                                          </p:val>
                                        </p:tav>
                                      </p:tavLst>
                                    </p:anim>
                                    <p:anim calcmode="lin" valueType="num">
                                      <p:cBhvr>
                                        <p:cTn id="43" dur="500" fill="hold"/>
                                        <p:tgtEl>
                                          <p:spTgt spid="76"/>
                                        </p:tgtEl>
                                        <p:attrNameLst>
                                          <p:attrName>ppt_h</p:attrName>
                                        </p:attrNameLst>
                                      </p:cBhvr>
                                      <p:tavLst>
                                        <p:tav tm="0">
                                          <p:val>
                                            <p:fltVal val="0"/>
                                          </p:val>
                                        </p:tav>
                                        <p:tav tm="100000">
                                          <p:val>
                                            <p:strVal val="#ppt_h"/>
                                          </p:val>
                                        </p:tav>
                                      </p:tavLst>
                                    </p:anim>
                                    <p:anim calcmode="lin" valueType="num">
                                      <p:cBhvr>
                                        <p:cTn id="44" dur="500" fill="hold"/>
                                        <p:tgtEl>
                                          <p:spTgt spid="76"/>
                                        </p:tgtEl>
                                        <p:attrNameLst>
                                          <p:attrName>style.rotation</p:attrName>
                                        </p:attrNameLst>
                                      </p:cBhvr>
                                      <p:tavLst>
                                        <p:tav tm="0">
                                          <p:val>
                                            <p:fltVal val="360"/>
                                          </p:val>
                                        </p:tav>
                                        <p:tav tm="100000">
                                          <p:val>
                                            <p:fltVal val="0"/>
                                          </p:val>
                                        </p:tav>
                                      </p:tavLst>
                                    </p:anim>
                                    <p:animEffect transition="in" filter="fade">
                                      <p:cBhvr>
                                        <p:cTn id="45" dur="500"/>
                                        <p:tgtEl>
                                          <p:spTgt spid="76"/>
                                        </p:tgtEl>
                                      </p:cBhvr>
                                    </p:animEffect>
                                  </p:childTnLst>
                                </p:cTn>
                              </p:par>
                            </p:childTnLst>
                          </p:cTn>
                        </p:par>
                        <p:par>
                          <p:cTn id="46" fill="hold">
                            <p:stCondLst>
                              <p:cond delay="4500"/>
                            </p:stCondLst>
                            <p:childTnLst>
                              <p:par>
                                <p:cTn id="47" presetID="12" presetClass="entr" presetSubtype="1"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slide(fromTop)">
                                      <p:cBhvr>
                                        <p:cTn id="49" dur="1000"/>
                                        <p:tgtEl>
                                          <p:spTgt spid="31"/>
                                        </p:tgtEl>
                                      </p:cBhvr>
                                    </p:animEffect>
                                  </p:childTnLst>
                                </p:cTn>
                              </p:par>
                            </p:childTnLst>
                          </p:cTn>
                        </p:par>
                        <p:par>
                          <p:cTn id="50" fill="hold">
                            <p:stCondLst>
                              <p:cond delay="5500"/>
                            </p:stCondLst>
                            <p:childTnLst>
                              <p:par>
                                <p:cTn id="51" presetID="12" presetClass="entr" presetSubtype="1" fill="hold" grpId="0" nodeType="after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slide(fromTop)">
                                      <p:cBhvr>
                                        <p:cTn id="53" dur="500"/>
                                        <p:tgtEl>
                                          <p:spTgt spid="32"/>
                                        </p:tgtEl>
                                      </p:cBhvr>
                                    </p:animEffect>
                                  </p:childTnLst>
                                </p:cTn>
                              </p:par>
                            </p:childTnLst>
                          </p:cTn>
                        </p:par>
                        <p:par>
                          <p:cTn id="54" fill="hold">
                            <p:stCondLst>
                              <p:cond delay="6000"/>
                            </p:stCondLst>
                            <p:childTnLst>
                              <p:par>
                                <p:cTn id="55" presetID="12" presetClass="entr" presetSubtype="4" fill="hold" grpId="0" nodeType="after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slide(fromBottom)">
                                      <p:cBhvr>
                                        <p:cTn id="57" dur="500"/>
                                        <p:tgtEl>
                                          <p:spTgt spid="33"/>
                                        </p:tgtEl>
                                      </p:cBhvr>
                                    </p:animEffect>
                                  </p:childTnLst>
                                </p:cTn>
                              </p:par>
                            </p:childTnLst>
                          </p:cTn>
                        </p:par>
                        <p:par>
                          <p:cTn id="58" fill="hold">
                            <p:stCondLst>
                              <p:cond delay="6500"/>
                            </p:stCondLst>
                            <p:childTnLst>
                              <p:par>
                                <p:cTn id="59" presetID="37"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1000"/>
                                        <p:tgtEl>
                                          <p:spTgt spid="36"/>
                                        </p:tgtEl>
                                      </p:cBhvr>
                                    </p:animEffect>
                                    <p:anim calcmode="lin" valueType="num">
                                      <p:cBhvr>
                                        <p:cTn id="62" dur="1000" fill="hold"/>
                                        <p:tgtEl>
                                          <p:spTgt spid="36"/>
                                        </p:tgtEl>
                                        <p:attrNameLst>
                                          <p:attrName>ppt_x</p:attrName>
                                        </p:attrNameLst>
                                      </p:cBhvr>
                                      <p:tavLst>
                                        <p:tav tm="0">
                                          <p:val>
                                            <p:strVal val="#ppt_x"/>
                                          </p:val>
                                        </p:tav>
                                        <p:tav tm="100000">
                                          <p:val>
                                            <p:strVal val="#ppt_x"/>
                                          </p:val>
                                        </p:tav>
                                      </p:tavLst>
                                    </p:anim>
                                    <p:anim calcmode="lin" valueType="num">
                                      <p:cBhvr>
                                        <p:cTn id="63" dur="900" decel="100000" fill="hold"/>
                                        <p:tgtEl>
                                          <p:spTgt spid="36"/>
                                        </p:tgtEl>
                                        <p:attrNameLst>
                                          <p:attrName>ppt_y</p:attrName>
                                        </p:attrNameLst>
                                      </p:cBhvr>
                                      <p:tavLst>
                                        <p:tav tm="0">
                                          <p:val>
                                            <p:strVal val="#ppt_y+1"/>
                                          </p:val>
                                        </p:tav>
                                        <p:tav tm="100000">
                                          <p:val>
                                            <p:strVal val="#ppt_y-.03"/>
                                          </p:val>
                                        </p:tav>
                                      </p:tavLst>
                                    </p:anim>
                                    <p:anim calcmode="lin" valueType="num">
                                      <p:cBhvr>
                                        <p:cTn id="64" dur="100" accel="100000" fill="hold">
                                          <p:stCondLst>
                                            <p:cond delay="900"/>
                                          </p:stCondLst>
                                        </p:cTn>
                                        <p:tgtEl>
                                          <p:spTgt spid="36"/>
                                        </p:tgtEl>
                                        <p:attrNameLst>
                                          <p:attrName>ppt_y</p:attrName>
                                        </p:attrNameLst>
                                      </p:cBhvr>
                                      <p:tavLst>
                                        <p:tav tm="0">
                                          <p:val>
                                            <p:strVal val="#ppt_y-.03"/>
                                          </p:val>
                                        </p:tav>
                                        <p:tav tm="100000">
                                          <p:val>
                                            <p:strVal val="#ppt_y"/>
                                          </p:val>
                                        </p:tav>
                                      </p:tavLst>
                                    </p:anim>
                                  </p:childTnLst>
                                </p:cTn>
                              </p:par>
                            </p:childTnLst>
                          </p:cTn>
                        </p:par>
                        <p:par>
                          <p:cTn id="65" fill="hold">
                            <p:stCondLst>
                              <p:cond delay="7500"/>
                            </p:stCondLst>
                            <p:childTnLst>
                              <p:par>
                                <p:cTn id="66" presetID="12" presetClass="entr" presetSubtype="4" fill="hold" grpId="0" nodeType="afterEffect">
                                  <p:stCondLst>
                                    <p:cond delay="0"/>
                                  </p:stCondLst>
                                  <p:childTnLst>
                                    <p:set>
                                      <p:cBhvr>
                                        <p:cTn id="67" dur="1" fill="hold">
                                          <p:stCondLst>
                                            <p:cond delay="0"/>
                                          </p:stCondLst>
                                        </p:cTn>
                                        <p:tgtEl>
                                          <p:spTgt spid="34"/>
                                        </p:tgtEl>
                                        <p:attrNameLst>
                                          <p:attrName>style.visibility</p:attrName>
                                        </p:attrNameLst>
                                      </p:cBhvr>
                                      <p:to>
                                        <p:strVal val="visible"/>
                                      </p:to>
                                    </p:set>
                                    <p:animEffect transition="in" filter="slide(fromBottom)">
                                      <p:cBhvr>
                                        <p:cTn id="68" dur="500"/>
                                        <p:tgtEl>
                                          <p:spTgt spid="34"/>
                                        </p:tgtEl>
                                      </p:cBhvr>
                                    </p:animEffect>
                                  </p:childTnLst>
                                </p:cTn>
                              </p:par>
                            </p:childTnLst>
                          </p:cTn>
                        </p:par>
                        <p:par>
                          <p:cTn id="69" fill="hold">
                            <p:stCondLst>
                              <p:cond delay="8000"/>
                            </p:stCondLst>
                            <p:childTnLst>
                              <p:par>
                                <p:cTn id="70" presetID="37" presetClass="entr" presetSubtype="0" fill="hold" nodeType="afterEffect">
                                  <p:stCondLst>
                                    <p:cond delay="0"/>
                                  </p:stCondLst>
                                  <p:childTnLst>
                                    <p:set>
                                      <p:cBhvr>
                                        <p:cTn id="71" dur="1" fill="hold">
                                          <p:stCondLst>
                                            <p:cond delay="0"/>
                                          </p:stCondLst>
                                        </p:cTn>
                                        <p:tgtEl>
                                          <p:spTgt spid="39"/>
                                        </p:tgtEl>
                                        <p:attrNameLst>
                                          <p:attrName>style.visibility</p:attrName>
                                        </p:attrNameLst>
                                      </p:cBhvr>
                                      <p:to>
                                        <p:strVal val="visible"/>
                                      </p:to>
                                    </p:set>
                                    <p:animEffect transition="in" filter="fade">
                                      <p:cBhvr>
                                        <p:cTn id="72" dur="1000"/>
                                        <p:tgtEl>
                                          <p:spTgt spid="39"/>
                                        </p:tgtEl>
                                      </p:cBhvr>
                                    </p:animEffect>
                                    <p:anim calcmode="lin" valueType="num">
                                      <p:cBhvr>
                                        <p:cTn id="73" dur="1000" fill="hold"/>
                                        <p:tgtEl>
                                          <p:spTgt spid="39"/>
                                        </p:tgtEl>
                                        <p:attrNameLst>
                                          <p:attrName>ppt_x</p:attrName>
                                        </p:attrNameLst>
                                      </p:cBhvr>
                                      <p:tavLst>
                                        <p:tav tm="0">
                                          <p:val>
                                            <p:strVal val="#ppt_x"/>
                                          </p:val>
                                        </p:tav>
                                        <p:tav tm="100000">
                                          <p:val>
                                            <p:strVal val="#ppt_x"/>
                                          </p:val>
                                        </p:tav>
                                      </p:tavLst>
                                    </p:anim>
                                    <p:anim calcmode="lin" valueType="num">
                                      <p:cBhvr>
                                        <p:cTn id="74" dur="900" decel="100000" fill="hold"/>
                                        <p:tgtEl>
                                          <p:spTgt spid="39"/>
                                        </p:tgtEl>
                                        <p:attrNameLst>
                                          <p:attrName>ppt_y</p:attrName>
                                        </p:attrNameLst>
                                      </p:cBhvr>
                                      <p:tavLst>
                                        <p:tav tm="0">
                                          <p:val>
                                            <p:strVal val="#ppt_y+1"/>
                                          </p:val>
                                        </p:tav>
                                        <p:tav tm="100000">
                                          <p:val>
                                            <p:strVal val="#ppt_y-.03"/>
                                          </p:val>
                                        </p:tav>
                                      </p:tavLst>
                                    </p:anim>
                                    <p:anim calcmode="lin" valueType="num">
                                      <p:cBhvr>
                                        <p:cTn id="75" dur="100" accel="100000" fill="hold">
                                          <p:stCondLst>
                                            <p:cond delay="900"/>
                                          </p:stCondLst>
                                        </p:cTn>
                                        <p:tgtEl>
                                          <p:spTgt spid="39"/>
                                        </p:tgtEl>
                                        <p:attrNameLst>
                                          <p:attrName>ppt_y</p:attrName>
                                        </p:attrNameLst>
                                      </p:cBhvr>
                                      <p:tavLst>
                                        <p:tav tm="0">
                                          <p:val>
                                            <p:strVal val="#ppt_y-.03"/>
                                          </p:val>
                                        </p:tav>
                                        <p:tav tm="100000">
                                          <p:val>
                                            <p:strVal val="#ppt_y"/>
                                          </p:val>
                                        </p:tav>
                                      </p:tavLst>
                                    </p:anim>
                                  </p:childTnLst>
                                </p:cTn>
                              </p:par>
                            </p:childTnLst>
                          </p:cTn>
                        </p:par>
                        <p:par>
                          <p:cTn id="76" fill="hold">
                            <p:stCondLst>
                              <p:cond delay="9000"/>
                            </p:stCondLst>
                            <p:childTnLst>
                              <p:par>
                                <p:cTn id="77" presetID="12" presetClass="entr" presetSubtype="4" fill="hold" grpId="0" nodeType="afterEffect">
                                  <p:stCondLst>
                                    <p:cond delay="0"/>
                                  </p:stCondLst>
                                  <p:childTnLst>
                                    <p:set>
                                      <p:cBhvr>
                                        <p:cTn id="78" dur="1" fill="hold">
                                          <p:stCondLst>
                                            <p:cond delay="0"/>
                                          </p:stCondLst>
                                        </p:cTn>
                                        <p:tgtEl>
                                          <p:spTgt spid="35"/>
                                        </p:tgtEl>
                                        <p:attrNameLst>
                                          <p:attrName>style.visibility</p:attrName>
                                        </p:attrNameLst>
                                      </p:cBhvr>
                                      <p:to>
                                        <p:strVal val="visible"/>
                                      </p:to>
                                    </p:set>
                                    <p:animEffect transition="in" filter="slide(fromBottom)">
                                      <p:cBhvr>
                                        <p:cTn id="79" dur="500"/>
                                        <p:tgtEl>
                                          <p:spTgt spid="35"/>
                                        </p:tgtEl>
                                      </p:cBhvr>
                                    </p:animEffect>
                                  </p:childTnLst>
                                </p:cTn>
                              </p:par>
                            </p:childTnLst>
                          </p:cTn>
                        </p:par>
                        <p:par>
                          <p:cTn id="80" fill="hold">
                            <p:stCondLst>
                              <p:cond delay="9500"/>
                            </p:stCondLst>
                            <p:childTnLst>
                              <p:par>
                                <p:cTn id="81" presetID="37" presetClass="entr" presetSubtype="0" fill="hold" nodeType="after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000"/>
                                        <p:tgtEl>
                                          <p:spTgt spid="42"/>
                                        </p:tgtEl>
                                      </p:cBhvr>
                                    </p:animEffect>
                                    <p:anim calcmode="lin" valueType="num">
                                      <p:cBhvr>
                                        <p:cTn id="84" dur="1000" fill="hold"/>
                                        <p:tgtEl>
                                          <p:spTgt spid="42"/>
                                        </p:tgtEl>
                                        <p:attrNameLst>
                                          <p:attrName>ppt_x</p:attrName>
                                        </p:attrNameLst>
                                      </p:cBhvr>
                                      <p:tavLst>
                                        <p:tav tm="0">
                                          <p:val>
                                            <p:strVal val="#ppt_x"/>
                                          </p:val>
                                        </p:tav>
                                        <p:tav tm="100000">
                                          <p:val>
                                            <p:strVal val="#ppt_x"/>
                                          </p:val>
                                        </p:tav>
                                      </p:tavLst>
                                    </p:anim>
                                    <p:anim calcmode="lin" valueType="num">
                                      <p:cBhvr>
                                        <p:cTn id="85" dur="900" decel="100000" fill="hold"/>
                                        <p:tgtEl>
                                          <p:spTgt spid="42"/>
                                        </p:tgtEl>
                                        <p:attrNameLst>
                                          <p:attrName>ppt_y</p:attrName>
                                        </p:attrNameLst>
                                      </p:cBhvr>
                                      <p:tavLst>
                                        <p:tav tm="0">
                                          <p:val>
                                            <p:strVal val="#ppt_y+1"/>
                                          </p:val>
                                        </p:tav>
                                        <p:tav tm="100000">
                                          <p:val>
                                            <p:strVal val="#ppt_y-.03"/>
                                          </p:val>
                                        </p:tav>
                                      </p:tavLst>
                                    </p:anim>
                                    <p:anim calcmode="lin" valueType="num">
                                      <p:cBhvr>
                                        <p:cTn id="86" dur="100" accel="100000" fill="hold">
                                          <p:stCondLst>
                                            <p:cond delay="900"/>
                                          </p:stCondLst>
                                        </p:cTn>
                                        <p:tgtEl>
                                          <p:spTgt spid="4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P spid="33" grpId="0" animBg="1"/>
      <p:bldP spid="34" grpId="0" animBg="1"/>
      <p:bldP spid="35" grpId="0" animBg="1"/>
      <p:bldP spid="59" grpId="0"/>
      <p:bldP spid="70" grpId="0"/>
      <p:bldP spid="7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1"/>
          <p:cNvGrpSpPr/>
          <p:nvPr/>
        </p:nvGrpSpPr>
        <p:grpSpPr bwMode="auto">
          <a:xfrm>
            <a:off x="3783810" y="1922364"/>
            <a:ext cx="1854513" cy="1854513"/>
            <a:chOff x="2706" y="762"/>
            <a:chExt cx="1232" cy="1232"/>
          </a:xfrm>
        </p:grpSpPr>
        <p:sp>
          <p:nvSpPr>
            <p:cNvPr id="3" name="Freeform 52"/>
            <p:cNvSpPr>
              <a:spLocks noEditPoints="1"/>
            </p:cNvSpPr>
            <p:nvPr/>
          </p:nvSpPr>
          <p:spPr bwMode="auto">
            <a:xfrm>
              <a:off x="3138" y="1194"/>
              <a:ext cx="368" cy="368"/>
            </a:xfrm>
            <a:custGeom>
              <a:avLst/>
              <a:gdLst>
                <a:gd name="T0" fmla="*/ 0 w 368"/>
                <a:gd name="T1" fmla="*/ 184 h 368"/>
                <a:gd name="T2" fmla="*/ 4 w 368"/>
                <a:gd name="T3" fmla="*/ 222 h 368"/>
                <a:gd name="T4" fmla="*/ 14 w 368"/>
                <a:gd name="T5" fmla="*/ 256 h 368"/>
                <a:gd name="T6" fmla="*/ 32 w 368"/>
                <a:gd name="T7" fmla="*/ 286 h 368"/>
                <a:gd name="T8" fmla="*/ 54 w 368"/>
                <a:gd name="T9" fmla="*/ 314 h 368"/>
                <a:gd name="T10" fmla="*/ 82 w 368"/>
                <a:gd name="T11" fmla="*/ 336 h 368"/>
                <a:gd name="T12" fmla="*/ 112 w 368"/>
                <a:gd name="T13" fmla="*/ 354 h 368"/>
                <a:gd name="T14" fmla="*/ 146 w 368"/>
                <a:gd name="T15" fmla="*/ 364 h 368"/>
                <a:gd name="T16" fmla="*/ 184 w 368"/>
                <a:gd name="T17" fmla="*/ 368 h 368"/>
                <a:gd name="T18" fmla="*/ 202 w 368"/>
                <a:gd name="T19" fmla="*/ 368 h 368"/>
                <a:gd name="T20" fmla="*/ 238 w 368"/>
                <a:gd name="T21" fmla="*/ 360 h 368"/>
                <a:gd name="T22" fmla="*/ 272 w 368"/>
                <a:gd name="T23" fmla="*/ 346 h 368"/>
                <a:gd name="T24" fmla="*/ 300 w 368"/>
                <a:gd name="T25" fmla="*/ 326 h 368"/>
                <a:gd name="T26" fmla="*/ 326 w 368"/>
                <a:gd name="T27" fmla="*/ 300 h 368"/>
                <a:gd name="T28" fmla="*/ 346 w 368"/>
                <a:gd name="T29" fmla="*/ 272 h 368"/>
                <a:gd name="T30" fmla="*/ 360 w 368"/>
                <a:gd name="T31" fmla="*/ 238 h 368"/>
                <a:gd name="T32" fmla="*/ 368 w 368"/>
                <a:gd name="T33" fmla="*/ 202 h 368"/>
                <a:gd name="T34" fmla="*/ 368 w 368"/>
                <a:gd name="T35" fmla="*/ 184 h 368"/>
                <a:gd name="T36" fmla="*/ 364 w 368"/>
                <a:gd name="T37" fmla="*/ 146 h 368"/>
                <a:gd name="T38" fmla="*/ 354 w 368"/>
                <a:gd name="T39" fmla="*/ 112 h 368"/>
                <a:gd name="T40" fmla="*/ 336 w 368"/>
                <a:gd name="T41" fmla="*/ 82 h 368"/>
                <a:gd name="T42" fmla="*/ 314 w 368"/>
                <a:gd name="T43" fmla="*/ 54 h 368"/>
                <a:gd name="T44" fmla="*/ 286 w 368"/>
                <a:gd name="T45" fmla="*/ 32 h 368"/>
                <a:gd name="T46" fmla="*/ 256 w 368"/>
                <a:gd name="T47" fmla="*/ 14 h 368"/>
                <a:gd name="T48" fmla="*/ 222 w 368"/>
                <a:gd name="T49" fmla="*/ 4 h 368"/>
                <a:gd name="T50" fmla="*/ 184 w 368"/>
                <a:gd name="T51" fmla="*/ 0 h 368"/>
                <a:gd name="T52" fmla="*/ 166 w 368"/>
                <a:gd name="T53" fmla="*/ 0 h 368"/>
                <a:gd name="T54" fmla="*/ 130 w 368"/>
                <a:gd name="T55" fmla="*/ 8 h 368"/>
                <a:gd name="T56" fmla="*/ 96 w 368"/>
                <a:gd name="T57" fmla="*/ 22 h 368"/>
                <a:gd name="T58" fmla="*/ 68 w 368"/>
                <a:gd name="T59" fmla="*/ 42 h 368"/>
                <a:gd name="T60" fmla="*/ 42 w 368"/>
                <a:gd name="T61" fmla="*/ 68 h 368"/>
                <a:gd name="T62" fmla="*/ 22 w 368"/>
                <a:gd name="T63" fmla="*/ 96 h 368"/>
                <a:gd name="T64" fmla="*/ 8 w 368"/>
                <a:gd name="T65" fmla="*/ 130 h 368"/>
                <a:gd name="T66" fmla="*/ 0 w 368"/>
                <a:gd name="T67" fmla="*/ 166 h 368"/>
                <a:gd name="T68" fmla="*/ 0 w 368"/>
                <a:gd name="T69" fmla="*/ 184 h 368"/>
                <a:gd name="T70" fmla="*/ 80 w 368"/>
                <a:gd name="T71" fmla="*/ 184 h 368"/>
                <a:gd name="T72" fmla="*/ 88 w 368"/>
                <a:gd name="T73" fmla="*/ 144 h 368"/>
                <a:gd name="T74" fmla="*/ 110 w 368"/>
                <a:gd name="T75" fmla="*/ 110 h 368"/>
                <a:gd name="T76" fmla="*/ 144 w 368"/>
                <a:gd name="T77" fmla="*/ 88 h 368"/>
                <a:gd name="T78" fmla="*/ 184 w 368"/>
                <a:gd name="T79" fmla="*/ 80 h 368"/>
                <a:gd name="T80" fmla="*/ 204 w 368"/>
                <a:gd name="T81" fmla="*/ 82 h 368"/>
                <a:gd name="T82" fmla="*/ 242 w 368"/>
                <a:gd name="T83" fmla="*/ 98 h 368"/>
                <a:gd name="T84" fmla="*/ 270 w 368"/>
                <a:gd name="T85" fmla="*/ 126 h 368"/>
                <a:gd name="T86" fmla="*/ 286 w 368"/>
                <a:gd name="T87" fmla="*/ 164 h 368"/>
                <a:gd name="T88" fmla="*/ 288 w 368"/>
                <a:gd name="T89" fmla="*/ 184 h 368"/>
                <a:gd name="T90" fmla="*/ 280 w 368"/>
                <a:gd name="T91" fmla="*/ 224 h 368"/>
                <a:gd name="T92" fmla="*/ 258 w 368"/>
                <a:gd name="T93" fmla="*/ 258 h 368"/>
                <a:gd name="T94" fmla="*/ 224 w 368"/>
                <a:gd name="T95" fmla="*/ 280 h 368"/>
                <a:gd name="T96" fmla="*/ 184 w 368"/>
                <a:gd name="T97" fmla="*/ 288 h 368"/>
                <a:gd name="T98" fmla="*/ 164 w 368"/>
                <a:gd name="T99" fmla="*/ 286 h 368"/>
                <a:gd name="T100" fmla="*/ 126 w 368"/>
                <a:gd name="T101" fmla="*/ 270 h 368"/>
                <a:gd name="T102" fmla="*/ 98 w 368"/>
                <a:gd name="T103" fmla="*/ 242 h 368"/>
                <a:gd name="T104" fmla="*/ 82 w 368"/>
                <a:gd name="T105" fmla="*/ 204 h 368"/>
                <a:gd name="T106" fmla="*/ 80 w 368"/>
                <a:gd name="T107" fmla="*/ 18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8" h="368">
                  <a:moveTo>
                    <a:pt x="0" y="184"/>
                  </a:moveTo>
                  <a:lnTo>
                    <a:pt x="0" y="184"/>
                  </a:lnTo>
                  <a:lnTo>
                    <a:pt x="0" y="202"/>
                  </a:lnTo>
                  <a:lnTo>
                    <a:pt x="4" y="222"/>
                  </a:lnTo>
                  <a:lnTo>
                    <a:pt x="8" y="238"/>
                  </a:lnTo>
                  <a:lnTo>
                    <a:pt x="14" y="256"/>
                  </a:lnTo>
                  <a:lnTo>
                    <a:pt x="22" y="272"/>
                  </a:lnTo>
                  <a:lnTo>
                    <a:pt x="32" y="286"/>
                  </a:lnTo>
                  <a:lnTo>
                    <a:pt x="42" y="300"/>
                  </a:lnTo>
                  <a:lnTo>
                    <a:pt x="54" y="314"/>
                  </a:lnTo>
                  <a:lnTo>
                    <a:pt x="68" y="326"/>
                  </a:lnTo>
                  <a:lnTo>
                    <a:pt x="82" y="336"/>
                  </a:lnTo>
                  <a:lnTo>
                    <a:pt x="96" y="346"/>
                  </a:lnTo>
                  <a:lnTo>
                    <a:pt x="112" y="354"/>
                  </a:lnTo>
                  <a:lnTo>
                    <a:pt x="130" y="360"/>
                  </a:lnTo>
                  <a:lnTo>
                    <a:pt x="146" y="364"/>
                  </a:lnTo>
                  <a:lnTo>
                    <a:pt x="166" y="368"/>
                  </a:lnTo>
                  <a:lnTo>
                    <a:pt x="184" y="368"/>
                  </a:lnTo>
                  <a:lnTo>
                    <a:pt x="184" y="368"/>
                  </a:lnTo>
                  <a:lnTo>
                    <a:pt x="202" y="368"/>
                  </a:lnTo>
                  <a:lnTo>
                    <a:pt x="222" y="364"/>
                  </a:lnTo>
                  <a:lnTo>
                    <a:pt x="238" y="360"/>
                  </a:lnTo>
                  <a:lnTo>
                    <a:pt x="256" y="354"/>
                  </a:lnTo>
                  <a:lnTo>
                    <a:pt x="272" y="346"/>
                  </a:lnTo>
                  <a:lnTo>
                    <a:pt x="286" y="336"/>
                  </a:lnTo>
                  <a:lnTo>
                    <a:pt x="300" y="326"/>
                  </a:lnTo>
                  <a:lnTo>
                    <a:pt x="314" y="314"/>
                  </a:lnTo>
                  <a:lnTo>
                    <a:pt x="326" y="300"/>
                  </a:lnTo>
                  <a:lnTo>
                    <a:pt x="336" y="286"/>
                  </a:lnTo>
                  <a:lnTo>
                    <a:pt x="346" y="272"/>
                  </a:lnTo>
                  <a:lnTo>
                    <a:pt x="354" y="256"/>
                  </a:lnTo>
                  <a:lnTo>
                    <a:pt x="360" y="238"/>
                  </a:lnTo>
                  <a:lnTo>
                    <a:pt x="364" y="222"/>
                  </a:lnTo>
                  <a:lnTo>
                    <a:pt x="368" y="202"/>
                  </a:lnTo>
                  <a:lnTo>
                    <a:pt x="368" y="184"/>
                  </a:lnTo>
                  <a:lnTo>
                    <a:pt x="368" y="184"/>
                  </a:lnTo>
                  <a:lnTo>
                    <a:pt x="368" y="166"/>
                  </a:lnTo>
                  <a:lnTo>
                    <a:pt x="364" y="146"/>
                  </a:lnTo>
                  <a:lnTo>
                    <a:pt x="360" y="130"/>
                  </a:lnTo>
                  <a:lnTo>
                    <a:pt x="354" y="112"/>
                  </a:lnTo>
                  <a:lnTo>
                    <a:pt x="346" y="96"/>
                  </a:lnTo>
                  <a:lnTo>
                    <a:pt x="336" y="82"/>
                  </a:lnTo>
                  <a:lnTo>
                    <a:pt x="326" y="68"/>
                  </a:lnTo>
                  <a:lnTo>
                    <a:pt x="314" y="54"/>
                  </a:lnTo>
                  <a:lnTo>
                    <a:pt x="300" y="42"/>
                  </a:lnTo>
                  <a:lnTo>
                    <a:pt x="286" y="32"/>
                  </a:lnTo>
                  <a:lnTo>
                    <a:pt x="272" y="22"/>
                  </a:lnTo>
                  <a:lnTo>
                    <a:pt x="256" y="14"/>
                  </a:lnTo>
                  <a:lnTo>
                    <a:pt x="238" y="8"/>
                  </a:lnTo>
                  <a:lnTo>
                    <a:pt x="222" y="4"/>
                  </a:lnTo>
                  <a:lnTo>
                    <a:pt x="202" y="0"/>
                  </a:lnTo>
                  <a:lnTo>
                    <a:pt x="184" y="0"/>
                  </a:lnTo>
                  <a:lnTo>
                    <a:pt x="184" y="0"/>
                  </a:lnTo>
                  <a:lnTo>
                    <a:pt x="166" y="0"/>
                  </a:lnTo>
                  <a:lnTo>
                    <a:pt x="146" y="4"/>
                  </a:lnTo>
                  <a:lnTo>
                    <a:pt x="130" y="8"/>
                  </a:lnTo>
                  <a:lnTo>
                    <a:pt x="112" y="14"/>
                  </a:lnTo>
                  <a:lnTo>
                    <a:pt x="96" y="22"/>
                  </a:lnTo>
                  <a:lnTo>
                    <a:pt x="82" y="32"/>
                  </a:lnTo>
                  <a:lnTo>
                    <a:pt x="68" y="42"/>
                  </a:lnTo>
                  <a:lnTo>
                    <a:pt x="54" y="54"/>
                  </a:lnTo>
                  <a:lnTo>
                    <a:pt x="42" y="68"/>
                  </a:lnTo>
                  <a:lnTo>
                    <a:pt x="32" y="82"/>
                  </a:lnTo>
                  <a:lnTo>
                    <a:pt x="22" y="96"/>
                  </a:lnTo>
                  <a:lnTo>
                    <a:pt x="14" y="112"/>
                  </a:lnTo>
                  <a:lnTo>
                    <a:pt x="8" y="130"/>
                  </a:lnTo>
                  <a:lnTo>
                    <a:pt x="4" y="146"/>
                  </a:lnTo>
                  <a:lnTo>
                    <a:pt x="0" y="166"/>
                  </a:lnTo>
                  <a:lnTo>
                    <a:pt x="0" y="184"/>
                  </a:lnTo>
                  <a:lnTo>
                    <a:pt x="0" y="184"/>
                  </a:lnTo>
                  <a:close/>
                  <a:moveTo>
                    <a:pt x="80" y="184"/>
                  </a:moveTo>
                  <a:lnTo>
                    <a:pt x="80" y="184"/>
                  </a:lnTo>
                  <a:lnTo>
                    <a:pt x="82" y="164"/>
                  </a:lnTo>
                  <a:lnTo>
                    <a:pt x="88" y="144"/>
                  </a:lnTo>
                  <a:lnTo>
                    <a:pt x="98" y="126"/>
                  </a:lnTo>
                  <a:lnTo>
                    <a:pt x="110" y="110"/>
                  </a:lnTo>
                  <a:lnTo>
                    <a:pt x="126" y="98"/>
                  </a:lnTo>
                  <a:lnTo>
                    <a:pt x="144" y="88"/>
                  </a:lnTo>
                  <a:lnTo>
                    <a:pt x="164" y="82"/>
                  </a:lnTo>
                  <a:lnTo>
                    <a:pt x="184" y="80"/>
                  </a:lnTo>
                  <a:lnTo>
                    <a:pt x="184" y="80"/>
                  </a:lnTo>
                  <a:lnTo>
                    <a:pt x="204" y="82"/>
                  </a:lnTo>
                  <a:lnTo>
                    <a:pt x="224" y="88"/>
                  </a:lnTo>
                  <a:lnTo>
                    <a:pt x="242" y="98"/>
                  </a:lnTo>
                  <a:lnTo>
                    <a:pt x="258" y="110"/>
                  </a:lnTo>
                  <a:lnTo>
                    <a:pt x="270" y="126"/>
                  </a:lnTo>
                  <a:lnTo>
                    <a:pt x="280" y="144"/>
                  </a:lnTo>
                  <a:lnTo>
                    <a:pt x="286" y="164"/>
                  </a:lnTo>
                  <a:lnTo>
                    <a:pt x="288" y="184"/>
                  </a:lnTo>
                  <a:lnTo>
                    <a:pt x="288" y="184"/>
                  </a:lnTo>
                  <a:lnTo>
                    <a:pt x="286" y="204"/>
                  </a:lnTo>
                  <a:lnTo>
                    <a:pt x="280" y="224"/>
                  </a:lnTo>
                  <a:lnTo>
                    <a:pt x="270" y="242"/>
                  </a:lnTo>
                  <a:lnTo>
                    <a:pt x="258" y="258"/>
                  </a:lnTo>
                  <a:lnTo>
                    <a:pt x="242" y="270"/>
                  </a:lnTo>
                  <a:lnTo>
                    <a:pt x="224" y="280"/>
                  </a:lnTo>
                  <a:lnTo>
                    <a:pt x="204" y="286"/>
                  </a:lnTo>
                  <a:lnTo>
                    <a:pt x="184" y="288"/>
                  </a:lnTo>
                  <a:lnTo>
                    <a:pt x="184" y="288"/>
                  </a:lnTo>
                  <a:lnTo>
                    <a:pt x="164" y="286"/>
                  </a:lnTo>
                  <a:lnTo>
                    <a:pt x="144" y="280"/>
                  </a:lnTo>
                  <a:lnTo>
                    <a:pt x="126" y="270"/>
                  </a:lnTo>
                  <a:lnTo>
                    <a:pt x="110" y="258"/>
                  </a:lnTo>
                  <a:lnTo>
                    <a:pt x="98" y="242"/>
                  </a:lnTo>
                  <a:lnTo>
                    <a:pt x="88" y="224"/>
                  </a:lnTo>
                  <a:lnTo>
                    <a:pt x="82" y="204"/>
                  </a:lnTo>
                  <a:lnTo>
                    <a:pt x="80" y="184"/>
                  </a:lnTo>
                  <a:lnTo>
                    <a:pt x="80" y="184"/>
                  </a:lnTo>
                  <a:close/>
                </a:path>
              </a:pathLst>
            </a:custGeom>
            <a:solidFill>
              <a:schemeClr val="tx1">
                <a:alpha val="20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 name="Freeform 53"/>
            <p:cNvSpPr>
              <a:spLocks noEditPoints="1"/>
            </p:cNvSpPr>
            <p:nvPr/>
          </p:nvSpPr>
          <p:spPr bwMode="auto">
            <a:xfrm>
              <a:off x="2994" y="1050"/>
              <a:ext cx="656" cy="656"/>
            </a:xfrm>
            <a:custGeom>
              <a:avLst/>
              <a:gdLst>
                <a:gd name="T0" fmla="*/ 2 w 656"/>
                <a:gd name="T1" fmla="*/ 362 h 656"/>
                <a:gd name="T2" fmla="*/ 26 w 656"/>
                <a:gd name="T3" fmla="*/ 456 h 656"/>
                <a:gd name="T4" fmla="*/ 74 w 656"/>
                <a:gd name="T5" fmla="*/ 536 h 656"/>
                <a:gd name="T6" fmla="*/ 144 w 656"/>
                <a:gd name="T7" fmla="*/ 600 h 656"/>
                <a:gd name="T8" fmla="*/ 230 w 656"/>
                <a:gd name="T9" fmla="*/ 642 h 656"/>
                <a:gd name="T10" fmla="*/ 328 w 656"/>
                <a:gd name="T11" fmla="*/ 656 h 656"/>
                <a:gd name="T12" fmla="*/ 394 w 656"/>
                <a:gd name="T13" fmla="*/ 650 h 656"/>
                <a:gd name="T14" fmla="*/ 484 w 656"/>
                <a:gd name="T15" fmla="*/ 616 h 656"/>
                <a:gd name="T16" fmla="*/ 560 w 656"/>
                <a:gd name="T17" fmla="*/ 560 h 656"/>
                <a:gd name="T18" fmla="*/ 616 w 656"/>
                <a:gd name="T19" fmla="*/ 484 h 656"/>
                <a:gd name="T20" fmla="*/ 650 w 656"/>
                <a:gd name="T21" fmla="*/ 394 h 656"/>
                <a:gd name="T22" fmla="*/ 656 w 656"/>
                <a:gd name="T23" fmla="*/ 328 h 656"/>
                <a:gd name="T24" fmla="*/ 642 w 656"/>
                <a:gd name="T25" fmla="*/ 230 h 656"/>
                <a:gd name="T26" fmla="*/ 600 w 656"/>
                <a:gd name="T27" fmla="*/ 144 h 656"/>
                <a:gd name="T28" fmla="*/ 536 w 656"/>
                <a:gd name="T29" fmla="*/ 74 h 656"/>
                <a:gd name="T30" fmla="*/ 456 w 656"/>
                <a:gd name="T31" fmla="*/ 26 h 656"/>
                <a:gd name="T32" fmla="*/ 362 w 656"/>
                <a:gd name="T33" fmla="*/ 2 h 656"/>
                <a:gd name="T34" fmla="*/ 294 w 656"/>
                <a:gd name="T35" fmla="*/ 2 h 656"/>
                <a:gd name="T36" fmla="*/ 200 w 656"/>
                <a:gd name="T37" fmla="*/ 26 h 656"/>
                <a:gd name="T38" fmla="*/ 120 w 656"/>
                <a:gd name="T39" fmla="*/ 74 h 656"/>
                <a:gd name="T40" fmla="*/ 56 w 656"/>
                <a:gd name="T41" fmla="*/ 144 h 656"/>
                <a:gd name="T42" fmla="*/ 14 w 656"/>
                <a:gd name="T43" fmla="*/ 230 h 656"/>
                <a:gd name="T44" fmla="*/ 0 w 656"/>
                <a:gd name="T45" fmla="*/ 328 h 656"/>
                <a:gd name="T46" fmla="*/ 80 w 656"/>
                <a:gd name="T47" fmla="*/ 328 h 656"/>
                <a:gd name="T48" fmla="*/ 92 w 656"/>
                <a:gd name="T49" fmla="*/ 254 h 656"/>
                <a:gd name="T50" fmla="*/ 122 w 656"/>
                <a:gd name="T51" fmla="*/ 190 h 656"/>
                <a:gd name="T52" fmla="*/ 170 w 656"/>
                <a:gd name="T53" fmla="*/ 136 h 656"/>
                <a:gd name="T54" fmla="*/ 232 w 656"/>
                <a:gd name="T55" fmla="*/ 100 h 656"/>
                <a:gd name="T56" fmla="*/ 302 w 656"/>
                <a:gd name="T57" fmla="*/ 82 h 656"/>
                <a:gd name="T58" fmla="*/ 354 w 656"/>
                <a:gd name="T59" fmla="*/ 82 h 656"/>
                <a:gd name="T60" fmla="*/ 424 w 656"/>
                <a:gd name="T61" fmla="*/ 100 h 656"/>
                <a:gd name="T62" fmla="*/ 486 w 656"/>
                <a:gd name="T63" fmla="*/ 136 h 656"/>
                <a:gd name="T64" fmla="*/ 534 w 656"/>
                <a:gd name="T65" fmla="*/ 190 h 656"/>
                <a:gd name="T66" fmla="*/ 564 w 656"/>
                <a:gd name="T67" fmla="*/ 254 h 656"/>
                <a:gd name="T68" fmla="*/ 576 w 656"/>
                <a:gd name="T69" fmla="*/ 328 h 656"/>
                <a:gd name="T70" fmla="*/ 570 w 656"/>
                <a:gd name="T71" fmla="*/ 378 h 656"/>
                <a:gd name="T72" fmla="*/ 546 w 656"/>
                <a:gd name="T73" fmla="*/ 446 h 656"/>
                <a:gd name="T74" fmla="*/ 504 w 656"/>
                <a:gd name="T75" fmla="*/ 504 h 656"/>
                <a:gd name="T76" fmla="*/ 446 w 656"/>
                <a:gd name="T77" fmla="*/ 546 h 656"/>
                <a:gd name="T78" fmla="*/ 378 w 656"/>
                <a:gd name="T79" fmla="*/ 570 h 656"/>
                <a:gd name="T80" fmla="*/ 328 w 656"/>
                <a:gd name="T81" fmla="*/ 576 h 656"/>
                <a:gd name="T82" fmla="*/ 254 w 656"/>
                <a:gd name="T83" fmla="*/ 564 h 656"/>
                <a:gd name="T84" fmla="*/ 190 w 656"/>
                <a:gd name="T85" fmla="*/ 534 h 656"/>
                <a:gd name="T86" fmla="*/ 136 w 656"/>
                <a:gd name="T87" fmla="*/ 486 h 656"/>
                <a:gd name="T88" fmla="*/ 100 w 656"/>
                <a:gd name="T89" fmla="*/ 424 h 656"/>
                <a:gd name="T90" fmla="*/ 82 w 656"/>
                <a:gd name="T91" fmla="*/ 354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6" h="656">
                  <a:moveTo>
                    <a:pt x="0" y="328"/>
                  </a:moveTo>
                  <a:lnTo>
                    <a:pt x="0" y="328"/>
                  </a:lnTo>
                  <a:lnTo>
                    <a:pt x="2" y="362"/>
                  </a:lnTo>
                  <a:lnTo>
                    <a:pt x="6" y="394"/>
                  </a:lnTo>
                  <a:lnTo>
                    <a:pt x="14" y="426"/>
                  </a:lnTo>
                  <a:lnTo>
                    <a:pt x="26" y="456"/>
                  </a:lnTo>
                  <a:lnTo>
                    <a:pt x="40" y="484"/>
                  </a:lnTo>
                  <a:lnTo>
                    <a:pt x="56" y="512"/>
                  </a:lnTo>
                  <a:lnTo>
                    <a:pt x="74" y="536"/>
                  </a:lnTo>
                  <a:lnTo>
                    <a:pt x="96" y="560"/>
                  </a:lnTo>
                  <a:lnTo>
                    <a:pt x="120" y="582"/>
                  </a:lnTo>
                  <a:lnTo>
                    <a:pt x="144" y="600"/>
                  </a:lnTo>
                  <a:lnTo>
                    <a:pt x="172" y="616"/>
                  </a:lnTo>
                  <a:lnTo>
                    <a:pt x="200" y="630"/>
                  </a:lnTo>
                  <a:lnTo>
                    <a:pt x="230" y="642"/>
                  </a:lnTo>
                  <a:lnTo>
                    <a:pt x="262" y="650"/>
                  </a:lnTo>
                  <a:lnTo>
                    <a:pt x="294" y="654"/>
                  </a:lnTo>
                  <a:lnTo>
                    <a:pt x="328" y="656"/>
                  </a:lnTo>
                  <a:lnTo>
                    <a:pt x="328" y="656"/>
                  </a:lnTo>
                  <a:lnTo>
                    <a:pt x="362" y="654"/>
                  </a:lnTo>
                  <a:lnTo>
                    <a:pt x="394" y="650"/>
                  </a:lnTo>
                  <a:lnTo>
                    <a:pt x="426" y="642"/>
                  </a:lnTo>
                  <a:lnTo>
                    <a:pt x="456" y="630"/>
                  </a:lnTo>
                  <a:lnTo>
                    <a:pt x="484" y="616"/>
                  </a:lnTo>
                  <a:lnTo>
                    <a:pt x="512" y="600"/>
                  </a:lnTo>
                  <a:lnTo>
                    <a:pt x="536" y="582"/>
                  </a:lnTo>
                  <a:lnTo>
                    <a:pt x="560" y="560"/>
                  </a:lnTo>
                  <a:lnTo>
                    <a:pt x="582" y="536"/>
                  </a:lnTo>
                  <a:lnTo>
                    <a:pt x="600" y="512"/>
                  </a:lnTo>
                  <a:lnTo>
                    <a:pt x="616" y="484"/>
                  </a:lnTo>
                  <a:lnTo>
                    <a:pt x="630" y="456"/>
                  </a:lnTo>
                  <a:lnTo>
                    <a:pt x="642" y="426"/>
                  </a:lnTo>
                  <a:lnTo>
                    <a:pt x="650" y="394"/>
                  </a:lnTo>
                  <a:lnTo>
                    <a:pt x="654" y="362"/>
                  </a:lnTo>
                  <a:lnTo>
                    <a:pt x="656" y="328"/>
                  </a:lnTo>
                  <a:lnTo>
                    <a:pt x="656" y="328"/>
                  </a:lnTo>
                  <a:lnTo>
                    <a:pt x="654" y="294"/>
                  </a:lnTo>
                  <a:lnTo>
                    <a:pt x="650" y="262"/>
                  </a:lnTo>
                  <a:lnTo>
                    <a:pt x="642" y="230"/>
                  </a:lnTo>
                  <a:lnTo>
                    <a:pt x="630" y="200"/>
                  </a:lnTo>
                  <a:lnTo>
                    <a:pt x="616" y="172"/>
                  </a:lnTo>
                  <a:lnTo>
                    <a:pt x="600" y="144"/>
                  </a:lnTo>
                  <a:lnTo>
                    <a:pt x="582" y="120"/>
                  </a:lnTo>
                  <a:lnTo>
                    <a:pt x="560" y="96"/>
                  </a:lnTo>
                  <a:lnTo>
                    <a:pt x="536" y="74"/>
                  </a:lnTo>
                  <a:lnTo>
                    <a:pt x="512" y="56"/>
                  </a:lnTo>
                  <a:lnTo>
                    <a:pt x="484" y="40"/>
                  </a:lnTo>
                  <a:lnTo>
                    <a:pt x="456" y="26"/>
                  </a:lnTo>
                  <a:lnTo>
                    <a:pt x="426" y="14"/>
                  </a:lnTo>
                  <a:lnTo>
                    <a:pt x="394" y="6"/>
                  </a:lnTo>
                  <a:lnTo>
                    <a:pt x="362" y="2"/>
                  </a:lnTo>
                  <a:lnTo>
                    <a:pt x="328" y="0"/>
                  </a:lnTo>
                  <a:lnTo>
                    <a:pt x="328" y="0"/>
                  </a:lnTo>
                  <a:lnTo>
                    <a:pt x="294" y="2"/>
                  </a:lnTo>
                  <a:lnTo>
                    <a:pt x="262" y="6"/>
                  </a:lnTo>
                  <a:lnTo>
                    <a:pt x="230" y="14"/>
                  </a:lnTo>
                  <a:lnTo>
                    <a:pt x="200" y="26"/>
                  </a:lnTo>
                  <a:lnTo>
                    <a:pt x="172" y="40"/>
                  </a:lnTo>
                  <a:lnTo>
                    <a:pt x="144" y="56"/>
                  </a:lnTo>
                  <a:lnTo>
                    <a:pt x="120" y="74"/>
                  </a:lnTo>
                  <a:lnTo>
                    <a:pt x="96" y="96"/>
                  </a:lnTo>
                  <a:lnTo>
                    <a:pt x="74" y="120"/>
                  </a:lnTo>
                  <a:lnTo>
                    <a:pt x="56" y="144"/>
                  </a:lnTo>
                  <a:lnTo>
                    <a:pt x="40" y="172"/>
                  </a:lnTo>
                  <a:lnTo>
                    <a:pt x="26" y="200"/>
                  </a:lnTo>
                  <a:lnTo>
                    <a:pt x="14" y="230"/>
                  </a:lnTo>
                  <a:lnTo>
                    <a:pt x="6" y="262"/>
                  </a:lnTo>
                  <a:lnTo>
                    <a:pt x="2" y="294"/>
                  </a:lnTo>
                  <a:lnTo>
                    <a:pt x="0" y="328"/>
                  </a:lnTo>
                  <a:lnTo>
                    <a:pt x="0" y="328"/>
                  </a:lnTo>
                  <a:close/>
                  <a:moveTo>
                    <a:pt x="80" y="328"/>
                  </a:moveTo>
                  <a:lnTo>
                    <a:pt x="80" y="328"/>
                  </a:lnTo>
                  <a:lnTo>
                    <a:pt x="82" y="302"/>
                  </a:lnTo>
                  <a:lnTo>
                    <a:pt x="86" y="278"/>
                  </a:lnTo>
                  <a:lnTo>
                    <a:pt x="92" y="254"/>
                  </a:lnTo>
                  <a:lnTo>
                    <a:pt x="100" y="232"/>
                  </a:lnTo>
                  <a:lnTo>
                    <a:pt x="110" y="210"/>
                  </a:lnTo>
                  <a:lnTo>
                    <a:pt x="122" y="190"/>
                  </a:lnTo>
                  <a:lnTo>
                    <a:pt x="136" y="170"/>
                  </a:lnTo>
                  <a:lnTo>
                    <a:pt x="152" y="152"/>
                  </a:lnTo>
                  <a:lnTo>
                    <a:pt x="170" y="136"/>
                  </a:lnTo>
                  <a:lnTo>
                    <a:pt x="190" y="122"/>
                  </a:lnTo>
                  <a:lnTo>
                    <a:pt x="210" y="110"/>
                  </a:lnTo>
                  <a:lnTo>
                    <a:pt x="232" y="100"/>
                  </a:lnTo>
                  <a:lnTo>
                    <a:pt x="254" y="92"/>
                  </a:lnTo>
                  <a:lnTo>
                    <a:pt x="278" y="86"/>
                  </a:lnTo>
                  <a:lnTo>
                    <a:pt x="302" y="82"/>
                  </a:lnTo>
                  <a:lnTo>
                    <a:pt x="328" y="80"/>
                  </a:lnTo>
                  <a:lnTo>
                    <a:pt x="328" y="80"/>
                  </a:lnTo>
                  <a:lnTo>
                    <a:pt x="354" y="82"/>
                  </a:lnTo>
                  <a:lnTo>
                    <a:pt x="378" y="86"/>
                  </a:lnTo>
                  <a:lnTo>
                    <a:pt x="402" y="92"/>
                  </a:lnTo>
                  <a:lnTo>
                    <a:pt x="424" y="100"/>
                  </a:lnTo>
                  <a:lnTo>
                    <a:pt x="446" y="110"/>
                  </a:lnTo>
                  <a:lnTo>
                    <a:pt x="466" y="122"/>
                  </a:lnTo>
                  <a:lnTo>
                    <a:pt x="486" y="136"/>
                  </a:lnTo>
                  <a:lnTo>
                    <a:pt x="504" y="152"/>
                  </a:lnTo>
                  <a:lnTo>
                    <a:pt x="520" y="170"/>
                  </a:lnTo>
                  <a:lnTo>
                    <a:pt x="534" y="190"/>
                  </a:lnTo>
                  <a:lnTo>
                    <a:pt x="546" y="210"/>
                  </a:lnTo>
                  <a:lnTo>
                    <a:pt x="556" y="232"/>
                  </a:lnTo>
                  <a:lnTo>
                    <a:pt x="564" y="254"/>
                  </a:lnTo>
                  <a:lnTo>
                    <a:pt x="570" y="278"/>
                  </a:lnTo>
                  <a:lnTo>
                    <a:pt x="574" y="302"/>
                  </a:lnTo>
                  <a:lnTo>
                    <a:pt x="576" y="328"/>
                  </a:lnTo>
                  <a:lnTo>
                    <a:pt x="576" y="328"/>
                  </a:lnTo>
                  <a:lnTo>
                    <a:pt x="574" y="354"/>
                  </a:lnTo>
                  <a:lnTo>
                    <a:pt x="570" y="378"/>
                  </a:lnTo>
                  <a:lnTo>
                    <a:pt x="564" y="402"/>
                  </a:lnTo>
                  <a:lnTo>
                    <a:pt x="556" y="424"/>
                  </a:lnTo>
                  <a:lnTo>
                    <a:pt x="546" y="446"/>
                  </a:lnTo>
                  <a:lnTo>
                    <a:pt x="534" y="466"/>
                  </a:lnTo>
                  <a:lnTo>
                    <a:pt x="520" y="486"/>
                  </a:lnTo>
                  <a:lnTo>
                    <a:pt x="504" y="504"/>
                  </a:lnTo>
                  <a:lnTo>
                    <a:pt x="486" y="520"/>
                  </a:lnTo>
                  <a:lnTo>
                    <a:pt x="466" y="534"/>
                  </a:lnTo>
                  <a:lnTo>
                    <a:pt x="446" y="546"/>
                  </a:lnTo>
                  <a:lnTo>
                    <a:pt x="424" y="556"/>
                  </a:lnTo>
                  <a:lnTo>
                    <a:pt x="402" y="564"/>
                  </a:lnTo>
                  <a:lnTo>
                    <a:pt x="378" y="570"/>
                  </a:lnTo>
                  <a:lnTo>
                    <a:pt x="354" y="574"/>
                  </a:lnTo>
                  <a:lnTo>
                    <a:pt x="328" y="576"/>
                  </a:lnTo>
                  <a:lnTo>
                    <a:pt x="328" y="576"/>
                  </a:lnTo>
                  <a:lnTo>
                    <a:pt x="302" y="574"/>
                  </a:lnTo>
                  <a:lnTo>
                    <a:pt x="278" y="570"/>
                  </a:lnTo>
                  <a:lnTo>
                    <a:pt x="254" y="564"/>
                  </a:lnTo>
                  <a:lnTo>
                    <a:pt x="232" y="556"/>
                  </a:lnTo>
                  <a:lnTo>
                    <a:pt x="210" y="546"/>
                  </a:lnTo>
                  <a:lnTo>
                    <a:pt x="190" y="534"/>
                  </a:lnTo>
                  <a:lnTo>
                    <a:pt x="170" y="520"/>
                  </a:lnTo>
                  <a:lnTo>
                    <a:pt x="152" y="504"/>
                  </a:lnTo>
                  <a:lnTo>
                    <a:pt x="136" y="486"/>
                  </a:lnTo>
                  <a:lnTo>
                    <a:pt x="122" y="466"/>
                  </a:lnTo>
                  <a:lnTo>
                    <a:pt x="110" y="446"/>
                  </a:lnTo>
                  <a:lnTo>
                    <a:pt x="100" y="424"/>
                  </a:lnTo>
                  <a:lnTo>
                    <a:pt x="92" y="402"/>
                  </a:lnTo>
                  <a:lnTo>
                    <a:pt x="86" y="378"/>
                  </a:lnTo>
                  <a:lnTo>
                    <a:pt x="82" y="354"/>
                  </a:lnTo>
                  <a:lnTo>
                    <a:pt x="80" y="328"/>
                  </a:lnTo>
                  <a:lnTo>
                    <a:pt x="80" y="328"/>
                  </a:lnTo>
                  <a:close/>
                </a:path>
              </a:pathLst>
            </a:custGeom>
            <a:solidFill>
              <a:schemeClr val="tx1">
                <a:alpha val="14999"/>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 name="Freeform 54"/>
            <p:cNvSpPr>
              <a:spLocks noEditPoints="1"/>
            </p:cNvSpPr>
            <p:nvPr/>
          </p:nvSpPr>
          <p:spPr bwMode="auto">
            <a:xfrm>
              <a:off x="2850" y="906"/>
              <a:ext cx="944" cy="944"/>
            </a:xfrm>
            <a:custGeom>
              <a:avLst/>
              <a:gdLst>
                <a:gd name="T0" fmla="*/ 0 w 944"/>
                <a:gd name="T1" fmla="*/ 496 h 944"/>
                <a:gd name="T2" fmla="*/ 10 w 944"/>
                <a:gd name="T3" fmla="*/ 568 h 944"/>
                <a:gd name="T4" fmla="*/ 58 w 944"/>
                <a:gd name="T5" fmla="*/ 696 h 944"/>
                <a:gd name="T6" fmla="*/ 138 w 944"/>
                <a:gd name="T7" fmla="*/ 806 h 944"/>
                <a:gd name="T8" fmla="*/ 248 w 944"/>
                <a:gd name="T9" fmla="*/ 886 h 944"/>
                <a:gd name="T10" fmla="*/ 376 w 944"/>
                <a:gd name="T11" fmla="*/ 934 h 944"/>
                <a:gd name="T12" fmla="*/ 448 w 944"/>
                <a:gd name="T13" fmla="*/ 944 h 944"/>
                <a:gd name="T14" fmla="*/ 496 w 944"/>
                <a:gd name="T15" fmla="*/ 944 h 944"/>
                <a:gd name="T16" fmla="*/ 568 w 944"/>
                <a:gd name="T17" fmla="*/ 934 h 944"/>
                <a:gd name="T18" fmla="*/ 696 w 944"/>
                <a:gd name="T19" fmla="*/ 886 h 944"/>
                <a:gd name="T20" fmla="*/ 806 w 944"/>
                <a:gd name="T21" fmla="*/ 806 h 944"/>
                <a:gd name="T22" fmla="*/ 886 w 944"/>
                <a:gd name="T23" fmla="*/ 696 h 944"/>
                <a:gd name="T24" fmla="*/ 934 w 944"/>
                <a:gd name="T25" fmla="*/ 568 h 944"/>
                <a:gd name="T26" fmla="*/ 944 w 944"/>
                <a:gd name="T27" fmla="*/ 496 h 944"/>
                <a:gd name="T28" fmla="*/ 944 w 944"/>
                <a:gd name="T29" fmla="*/ 448 h 944"/>
                <a:gd name="T30" fmla="*/ 934 w 944"/>
                <a:gd name="T31" fmla="*/ 376 h 944"/>
                <a:gd name="T32" fmla="*/ 886 w 944"/>
                <a:gd name="T33" fmla="*/ 248 h 944"/>
                <a:gd name="T34" fmla="*/ 806 w 944"/>
                <a:gd name="T35" fmla="*/ 138 h 944"/>
                <a:gd name="T36" fmla="*/ 696 w 944"/>
                <a:gd name="T37" fmla="*/ 58 h 944"/>
                <a:gd name="T38" fmla="*/ 568 w 944"/>
                <a:gd name="T39" fmla="*/ 10 h 944"/>
                <a:gd name="T40" fmla="*/ 496 w 944"/>
                <a:gd name="T41" fmla="*/ 0 h 944"/>
                <a:gd name="T42" fmla="*/ 448 w 944"/>
                <a:gd name="T43" fmla="*/ 0 h 944"/>
                <a:gd name="T44" fmla="*/ 376 w 944"/>
                <a:gd name="T45" fmla="*/ 10 h 944"/>
                <a:gd name="T46" fmla="*/ 248 w 944"/>
                <a:gd name="T47" fmla="*/ 58 h 944"/>
                <a:gd name="T48" fmla="*/ 138 w 944"/>
                <a:gd name="T49" fmla="*/ 138 h 944"/>
                <a:gd name="T50" fmla="*/ 58 w 944"/>
                <a:gd name="T51" fmla="*/ 248 h 944"/>
                <a:gd name="T52" fmla="*/ 10 w 944"/>
                <a:gd name="T53" fmla="*/ 376 h 944"/>
                <a:gd name="T54" fmla="*/ 0 w 944"/>
                <a:gd name="T55" fmla="*/ 448 h 944"/>
                <a:gd name="T56" fmla="*/ 80 w 944"/>
                <a:gd name="T57" fmla="*/ 472 h 944"/>
                <a:gd name="T58" fmla="*/ 88 w 944"/>
                <a:gd name="T59" fmla="*/ 394 h 944"/>
                <a:gd name="T60" fmla="*/ 128 w 944"/>
                <a:gd name="T61" fmla="*/ 286 h 944"/>
                <a:gd name="T62" fmla="*/ 194 w 944"/>
                <a:gd name="T63" fmla="*/ 194 h 944"/>
                <a:gd name="T64" fmla="*/ 286 w 944"/>
                <a:gd name="T65" fmla="*/ 128 h 944"/>
                <a:gd name="T66" fmla="*/ 394 w 944"/>
                <a:gd name="T67" fmla="*/ 88 h 944"/>
                <a:gd name="T68" fmla="*/ 472 w 944"/>
                <a:gd name="T69" fmla="*/ 80 h 944"/>
                <a:gd name="T70" fmla="*/ 588 w 944"/>
                <a:gd name="T71" fmla="*/ 98 h 944"/>
                <a:gd name="T72" fmla="*/ 692 w 944"/>
                <a:gd name="T73" fmla="*/ 148 h 944"/>
                <a:gd name="T74" fmla="*/ 774 w 944"/>
                <a:gd name="T75" fmla="*/ 222 h 944"/>
                <a:gd name="T76" fmla="*/ 834 w 944"/>
                <a:gd name="T77" fmla="*/ 320 h 944"/>
                <a:gd name="T78" fmla="*/ 862 w 944"/>
                <a:gd name="T79" fmla="*/ 432 h 944"/>
                <a:gd name="T80" fmla="*/ 862 w 944"/>
                <a:gd name="T81" fmla="*/ 512 h 944"/>
                <a:gd name="T82" fmla="*/ 834 w 944"/>
                <a:gd name="T83" fmla="*/ 624 h 944"/>
                <a:gd name="T84" fmla="*/ 774 w 944"/>
                <a:gd name="T85" fmla="*/ 722 h 944"/>
                <a:gd name="T86" fmla="*/ 692 w 944"/>
                <a:gd name="T87" fmla="*/ 796 h 944"/>
                <a:gd name="T88" fmla="*/ 588 w 944"/>
                <a:gd name="T89" fmla="*/ 846 h 944"/>
                <a:gd name="T90" fmla="*/ 472 w 944"/>
                <a:gd name="T91" fmla="*/ 864 h 944"/>
                <a:gd name="T92" fmla="*/ 394 w 944"/>
                <a:gd name="T93" fmla="*/ 856 h 944"/>
                <a:gd name="T94" fmla="*/ 286 w 944"/>
                <a:gd name="T95" fmla="*/ 816 h 944"/>
                <a:gd name="T96" fmla="*/ 194 w 944"/>
                <a:gd name="T97" fmla="*/ 750 h 944"/>
                <a:gd name="T98" fmla="*/ 128 w 944"/>
                <a:gd name="T99" fmla="*/ 658 h 944"/>
                <a:gd name="T100" fmla="*/ 88 w 944"/>
                <a:gd name="T101" fmla="*/ 550 h 944"/>
                <a:gd name="T102" fmla="*/ 80 w 944"/>
                <a:gd name="T103" fmla="*/ 472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4" h="944">
                  <a:moveTo>
                    <a:pt x="0" y="472"/>
                  </a:moveTo>
                  <a:lnTo>
                    <a:pt x="0" y="472"/>
                  </a:lnTo>
                  <a:lnTo>
                    <a:pt x="0" y="496"/>
                  </a:lnTo>
                  <a:lnTo>
                    <a:pt x="2" y="520"/>
                  </a:lnTo>
                  <a:lnTo>
                    <a:pt x="6" y="544"/>
                  </a:lnTo>
                  <a:lnTo>
                    <a:pt x="10" y="568"/>
                  </a:lnTo>
                  <a:lnTo>
                    <a:pt x="22" y="612"/>
                  </a:lnTo>
                  <a:lnTo>
                    <a:pt x="38" y="656"/>
                  </a:lnTo>
                  <a:lnTo>
                    <a:pt x="58" y="696"/>
                  </a:lnTo>
                  <a:lnTo>
                    <a:pt x="80" y="736"/>
                  </a:lnTo>
                  <a:lnTo>
                    <a:pt x="108" y="772"/>
                  </a:lnTo>
                  <a:lnTo>
                    <a:pt x="138" y="806"/>
                  </a:lnTo>
                  <a:lnTo>
                    <a:pt x="172" y="836"/>
                  </a:lnTo>
                  <a:lnTo>
                    <a:pt x="208" y="864"/>
                  </a:lnTo>
                  <a:lnTo>
                    <a:pt x="248" y="886"/>
                  </a:lnTo>
                  <a:lnTo>
                    <a:pt x="288" y="906"/>
                  </a:lnTo>
                  <a:lnTo>
                    <a:pt x="332" y="922"/>
                  </a:lnTo>
                  <a:lnTo>
                    <a:pt x="376" y="934"/>
                  </a:lnTo>
                  <a:lnTo>
                    <a:pt x="400" y="938"/>
                  </a:lnTo>
                  <a:lnTo>
                    <a:pt x="424" y="942"/>
                  </a:lnTo>
                  <a:lnTo>
                    <a:pt x="448" y="944"/>
                  </a:lnTo>
                  <a:lnTo>
                    <a:pt x="472" y="944"/>
                  </a:lnTo>
                  <a:lnTo>
                    <a:pt x="472" y="944"/>
                  </a:lnTo>
                  <a:lnTo>
                    <a:pt x="496" y="944"/>
                  </a:lnTo>
                  <a:lnTo>
                    <a:pt x="520" y="942"/>
                  </a:lnTo>
                  <a:lnTo>
                    <a:pt x="544" y="938"/>
                  </a:lnTo>
                  <a:lnTo>
                    <a:pt x="568" y="934"/>
                  </a:lnTo>
                  <a:lnTo>
                    <a:pt x="612" y="922"/>
                  </a:lnTo>
                  <a:lnTo>
                    <a:pt x="656" y="906"/>
                  </a:lnTo>
                  <a:lnTo>
                    <a:pt x="696" y="886"/>
                  </a:lnTo>
                  <a:lnTo>
                    <a:pt x="736" y="864"/>
                  </a:lnTo>
                  <a:lnTo>
                    <a:pt x="772" y="836"/>
                  </a:lnTo>
                  <a:lnTo>
                    <a:pt x="806" y="806"/>
                  </a:lnTo>
                  <a:lnTo>
                    <a:pt x="836" y="772"/>
                  </a:lnTo>
                  <a:lnTo>
                    <a:pt x="864" y="736"/>
                  </a:lnTo>
                  <a:lnTo>
                    <a:pt x="886" y="696"/>
                  </a:lnTo>
                  <a:lnTo>
                    <a:pt x="906" y="656"/>
                  </a:lnTo>
                  <a:lnTo>
                    <a:pt x="922" y="612"/>
                  </a:lnTo>
                  <a:lnTo>
                    <a:pt x="934" y="568"/>
                  </a:lnTo>
                  <a:lnTo>
                    <a:pt x="938" y="544"/>
                  </a:lnTo>
                  <a:lnTo>
                    <a:pt x="942" y="520"/>
                  </a:lnTo>
                  <a:lnTo>
                    <a:pt x="944" y="496"/>
                  </a:lnTo>
                  <a:lnTo>
                    <a:pt x="944" y="472"/>
                  </a:lnTo>
                  <a:lnTo>
                    <a:pt x="944" y="472"/>
                  </a:lnTo>
                  <a:lnTo>
                    <a:pt x="944" y="448"/>
                  </a:lnTo>
                  <a:lnTo>
                    <a:pt x="942" y="424"/>
                  </a:lnTo>
                  <a:lnTo>
                    <a:pt x="938" y="400"/>
                  </a:lnTo>
                  <a:lnTo>
                    <a:pt x="934" y="376"/>
                  </a:lnTo>
                  <a:lnTo>
                    <a:pt x="922" y="332"/>
                  </a:lnTo>
                  <a:lnTo>
                    <a:pt x="906" y="288"/>
                  </a:lnTo>
                  <a:lnTo>
                    <a:pt x="886" y="248"/>
                  </a:lnTo>
                  <a:lnTo>
                    <a:pt x="864" y="208"/>
                  </a:lnTo>
                  <a:lnTo>
                    <a:pt x="836" y="172"/>
                  </a:lnTo>
                  <a:lnTo>
                    <a:pt x="806" y="138"/>
                  </a:lnTo>
                  <a:lnTo>
                    <a:pt x="772" y="108"/>
                  </a:lnTo>
                  <a:lnTo>
                    <a:pt x="736" y="80"/>
                  </a:lnTo>
                  <a:lnTo>
                    <a:pt x="696" y="58"/>
                  </a:lnTo>
                  <a:lnTo>
                    <a:pt x="656" y="38"/>
                  </a:lnTo>
                  <a:lnTo>
                    <a:pt x="612" y="22"/>
                  </a:lnTo>
                  <a:lnTo>
                    <a:pt x="568" y="10"/>
                  </a:lnTo>
                  <a:lnTo>
                    <a:pt x="544" y="6"/>
                  </a:lnTo>
                  <a:lnTo>
                    <a:pt x="520" y="2"/>
                  </a:lnTo>
                  <a:lnTo>
                    <a:pt x="496" y="0"/>
                  </a:lnTo>
                  <a:lnTo>
                    <a:pt x="472" y="0"/>
                  </a:lnTo>
                  <a:lnTo>
                    <a:pt x="472" y="0"/>
                  </a:lnTo>
                  <a:lnTo>
                    <a:pt x="448" y="0"/>
                  </a:lnTo>
                  <a:lnTo>
                    <a:pt x="424" y="2"/>
                  </a:lnTo>
                  <a:lnTo>
                    <a:pt x="400" y="6"/>
                  </a:lnTo>
                  <a:lnTo>
                    <a:pt x="376" y="10"/>
                  </a:lnTo>
                  <a:lnTo>
                    <a:pt x="332" y="22"/>
                  </a:lnTo>
                  <a:lnTo>
                    <a:pt x="288" y="38"/>
                  </a:lnTo>
                  <a:lnTo>
                    <a:pt x="248" y="58"/>
                  </a:lnTo>
                  <a:lnTo>
                    <a:pt x="208" y="80"/>
                  </a:lnTo>
                  <a:lnTo>
                    <a:pt x="172" y="108"/>
                  </a:lnTo>
                  <a:lnTo>
                    <a:pt x="138" y="138"/>
                  </a:lnTo>
                  <a:lnTo>
                    <a:pt x="108" y="172"/>
                  </a:lnTo>
                  <a:lnTo>
                    <a:pt x="80" y="208"/>
                  </a:lnTo>
                  <a:lnTo>
                    <a:pt x="58" y="248"/>
                  </a:lnTo>
                  <a:lnTo>
                    <a:pt x="38" y="288"/>
                  </a:lnTo>
                  <a:lnTo>
                    <a:pt x="22" y="332"/>
                  </a:lnTo>
                  <a:lnTo>
                    <a:pt x="10" y="376"/>
                  </a:lnTo>
                  <a:lnTo>
                    <a:pt x="6" y="400"/>
                  </a:lnTo>
                  <a:lnTo>
                    <a:pt x="2" y="424"/>
                  </a:lnTo>
                  <a:lnTo>
                    <a:pt x="0" y="448"/>
                  </a:lnTo>
                  <a:lnTo>
                    <a:pt x="0" y="472"/>
                  </a:lnTo>
                  <a:lnTo>
                    <a:pt x="0" y="472"/>
                  </a:lnTo>
                  <a:close/>
                  <a:moveTo>
                    <a:pt x="80" y="472"/>
                  </a:moveTo>
                  <a:lnTo>
                    <a:pt x="80" y="472"/>
                  </a:lnTo>
                  <a:lnTo>
                    <a:pt x="82" y="432"/>
                  </a:lnTo>
                  <a:lnTo>
                    <a:pt x="88" y="394"/>
                  </a:lnTo>
                  <a:lnTo>
                    <a:pt x="98" y="356"/>
                  </a:lnTo>
                  <a:lnTo>
                    <a:pt x="110" y="320"/>
                  </a:lnTo>
                  <a:lnTo>
                    <a:pt x="128" y="286"/>
                  </a:lnTo>
                  <a:lnTo>
                    <a:pt x="148" y="252"/>
                  </a:lnTo>
                  <a:lnTo>
                    <a:pt x="170" y="222"/>
                  </a:lnTo>
                  <a:lnTo>
                    <a:pt x="194" y="194"/>
                  </a:lnTo>
                  <a:lnTo>
                    <a:pt x="222" y="170"/>
                  </a:lnTo>
                  <a:lnTo>
                    <a:pt x="252" y="148"/>
                  </a:lnTo>
                  <a:lnTo>
                    <a:pt x="286" y="128"/>
                  </a:lnTo>
                  <a:lnTo>
                    <a:pt x="320" y="110"/>
                  </a:lnTo>
                  <a:lnTo>
                    <a:pt x="356" y="98"/>
                  </a:lnTo>
                  <a:lnTo>
                    <a:pt x="394" y="88"/>
                  </a:lnTo>
                  <a:lnTo>
                    <a:pt x="432" y="82"/>
                  </a:lnTo>
                  <a:lnTo>
                    <a:pt x="472" y="80"/>
                  </a:lnTo>
                  <a:lnTo>
                    <a:pt x="472" y="80"/>
                  </a:lnTo>
                  <a:lnTo>
                    <a:pt x="512" y="82"/>
                  </a:lnTo>
                  <a:lnTo>
                    <a:pt x="550" y="88"/>
                  </a:lnTo>
                  <a:lnTo>
                    <a:pt x="588" y="98"/>
                  </a:lnTo>
                  <a:lnTo>
                    <a:pt x="624" y="110"/>
                  </a:lnTo>
                  <a:lnTo>
                    <a:pt x="658" y="128"/>
                  </a:lnTo>
                  <a:lnTo>
                    <a:pt x="692" y="148"/>
                  </a:lnTo>
                  <a:lnTo>
                    <a:pt x="722" y="170"/>
                  </a:lnTo>
                  <a:lnTo>
                    <a:pt x="750" y="194"/>
                  </a:lnTo>
                  <a:lnTo>
                    <a:pt x="774" y="222"/>
                  </a:lnTo>
                  <a:lnTo>
                    <a:pt x="796" y="252"/>
                  </a:lnTo>
                  <a:lnTo>
                    <a:pt x="816" y="286"/>
                  </a:lnTo>
                  <a:lnTo>
                    <a:pt x="834" y="320"/>
                  </a:lnTo>
                  <a:lnTo>
                    <a:pt x="846" y="356"/>
                  </a:lnTo>
                  <a:lnTo>
                    <a:pt x="856" y="394"/>
                  </a:lnTo>
                  <a:lnTo>
                    <a:pt x="862" y="432"/>
                  </a:lnTo>
                  <a:lnTo>
                    <a:pt x="864" y="472"/>
                  </a:lnTo>
                  <a:lnTo>
                    <a:pt x="864" y="472"/>
                  </a:lnTo>
                  <a:lnTo>
                    <a:pt x="862" y="512"/>
                  </a:lnTo>
                  <a:lnTo>
                    <a:pt x="856" y="550"/>
                  </a:lnTo>
                  <a:lnTo>
                    <a:pt x="846" y="588"/>
                  </a:lnTo>
                  <a:lnTo>
                    <a:pt x="834" y="624"/>
                  </a:lnTo>
                  <a:lnTo>
                    <a:pt x="816" y="658"/>
                  </a:lnTo>
                  <a:lnTo>
                    <a:pt x="796" y="692"/>
                  </a:lnTo>
                  <a:lnTo>
                    <a:pt x="774" y="722"/>
                  </a:lnTo>
                  <a:lnTo>
                    <a:pt x="750" y="750"/>
                  </a:lnTo>
                  <a:lnTo>
                    <a:pt x="722" y="774"/>
                  </a:lnTo>
                  <a:lnTo>
                    <a:pt x="692" y="796"/>
                  </a:lnTo>
                  <a:lnTo>
                    <a:pt x="658" y="816"/>
                  </a:lnTo>
                  <a:lnTo>
                    <a:pt x="624" y="834"/>
                  </a:lnTo>
                  <a:lnTo>
                    <a:pt x="588" y="846"/>
                  </a:lnTo>
                  <a:lnTo>
                    <a:pt x="550" y="856"/>
                  </a:lnTo>
                  <a:lnTo>
                    <a:pt x="512" y="862"/>
                  </a:lnTo>
                  <a:lnTo>
                    <a:pt x="472" y="864"/>
                  </a:lnTo>
                  <a:lnTo>
                    <a:pt x="472" y="864"/>
                  </a:lnTo>
                  <a:lnTo>
                    <a:pt x="432" y="862"/>
                  </a:lnTo>
                  <a:lnTo>
                    <a:pt x="394" y="856"/>
                  </a:lnTo>
                  <a:lnTo>
                    <a:pt x="356" y="846"/>
                  </a:lnTo>
                  <a:lnTo>
                    <a:pt x="320" y="834"/>
                  </a:lnTo>
                  <a:lnTo>
                    <a:pt x="286" y="816"/>
                  </a:lnTo>
                  <a:lnTo>
                    <a:pt x="252" y="796"/>
                  </a:lnTo>
                  <a:lnTo>
                    <a:pt x="222" y="774"/>
                  </a:lnTo>
                  <a:lnTo>
                    <a:pt x="194" y="750"/>
                  </a:lnTo>
                  <a:lnTo>
                    <a:pt x="170" y="722"/>
                  </a:lnTo>
                  <a:lnTo>
                    <a:pt x="148" y="692"/>
                  </a:lnTo>
                  <a:lnTo>
                    <a:pt x="128" y="658"/>
                  </a:lnTo>
                  <a:lnTo>
                    <a:pt x="110" y="624"/>
                  </a:lnTo>
                  <a:lnTo>
                    <a:pt x="98" y="588"/>
                  </a:lnTo>
                  <a:lnTo>
                    <a:pt x="88" y="550"/>
                  </a:lnTo>
                  <a:lnTo>
                    <a:pt x="82" y="512"/>
                  </a:lnTo>
                  <a:lnTo>
                    <a:pt x="80" y="472"/>
                  </a:lnTo>
                  <a:lnTo>
                    <a:pt x="80" y="472"/>
                  </a:lnTo>
                  <a:close/>
                </a:path>
              </a:pathLst>
            </a:custGeom>
            <a:solidFill>
              <a:schemeClr val="tx1">
                <a:alpha val="10001"/>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6" name="Freeform 55"/>
            <p:cNvSpPr>
              <a:spLocks noEditPoints="1"/>
            </p:cNvSpPr>
            <p:nvPr/>
          </p:nvSpPr>
          <p:spPr bwMode="auto">
            <a:xfrm>
              <a:off x="2706" y="762"/>
              <a:ext cx="1232" cy="1232"/>
            </a:xfrm>
            <a:custGeom>
              <a:avLst/>
              <a:gdLst>
                <a:gd name="T0" fmla="*/ 8 w 1232"/>
                <a:gd name="T1" fmla="*/ 710 h 1232"/>
                <a:gd name="T2" fmla="*/ 48 w 1232"/>
                <a:gd name="T3" fmla="*/ 856 h 1232"/>
                <a:gd name="T4" fmla="*/ 122 w 1232"/>
                <a:gd name="T5" fmla="*/ 984 h 1232"/>
                <a:gd name="T6" fmla="*/ 224 w 1232"/>
                <a:gd name="T7" fmla="*/ 1092 h 1232"/>
                <a:gd name="T8" fmla="*/ 350 w 1232"/>
                <a:gd name="T9" fmla="*/ 1172 h 1232"/>
                <a:gd name="T10" fmla="*/ 492 w 1232"/>
                <a:gd name="T11" fmla="*/ 1220 h 1232"/>
                <a:gd name="T12" fmla="*/ 616 w 1232"/>
                <a:gd name="T13" fmla="*/ 1232 h 1232"/>
                <a:gd name="T14" fmla="*/ 770 w 1232"/>
                <a:gd name="T15" fmla="*/ 1212 h 1232"/>
                <a:gd name="T16" fmla="*/ 910 w 1232"/>
                <a:gd name="T17" fmla="*/ 1158 h 1232"/>
                <a:gd name="T18" fmla="*/ 1030 w 1232"/>
                <a:gd name="T19" fmla="*/ 1072 h 1232"/>
                <a:gd name="T20" fmla="*/ 1126 w 1232"/>
                <a:gd name="T21" fmla="*/ 960 h 1232"/>
                <a:gd name="T22" fmla="*/ 1194 w 1232"/>
                <a:gd name="T23" fmla="*/ 828 h 1232"/>
                <a:gd name="T24" fmla="*/ 1228 w 1232"/>
                <a:gd name="T25" fmla="*/ 678 h 1232"/>
                <a:gd name="T26" fmla="*/ 1228 w 1232"/>
                <a:gd name="T27" fmla="*/ 554 h 1232"/>
                <a:gd name="T28" fmla="*/ 1194 w 1232"/>
                <a:gd name="T29" fmla="*/ 404 h 1232"/>
                <a:gd name="T30" fmla="*/ 1126 w 1232"/>
                <a:gd name="T31" fmla="*/ 272 h 1232"/>
                <a:gd name="T32" fmla="*/ 1030 w 1232"/>
                <a:gd name="T33" fmla="*/ 160 h 1232"/>
                <a:gd name="T34" fmla="*/ 910 w 1232"/>
                <a:gd name="T35" fmla="*/ 74 h 1232"/>
                <a:gd name="T36" fmla="*/ 770 w 1232"/>
                <a:gd name="T37" fmla="*/ 20 h 1232"/>
                <a:gd name="T38" fmla="*/ 616 w 1232"/>
                <a:gd name="T39" fmla="*/ 0 h 1232"/>
                <a:gd name="T40" fmla="*/ 492 w 1232"/>
                <a:gd name="T41" fmla="*/ 12 h 1232"/>
                <a:gd name="T42" fmla="*/ 350 w 1232"/>
                <a:gd name="T43" fmla="*/ 60 h 1232"/>
                <a:gd name="T44" fmla="*/ 224 w 1232"/>
                <a:gd name="T45" fmla="*/ 140 h 1232"/>
                <a:gd name="T46" fmla="*/ 122 w 1232"/>
                <a:gd name="T47" fmla="*/ 248 h 1232"/>
                <a:gd name="T48" fmla="*/ 48 w 1232"/>
                <a:gd name="T49" fmla="*/ 376 h 1232"/>
                <a:gd name="T50" fmla="*/ 8 w 1232"/>
                <a:gd name="T51" fmla="*/ 522 h 1232"/>
                <a:gd name="T52" fmla="*/ 80 w 1232"/>
                <a:gd name="T53" fmla="*/ 616 h 1232"/>
                <a:gd name="T54" fmla="*/ 90 w 1232"/>
                <a:gd name="T55" fmla="*/ 508 h 1232"/>
                <a:gd name="T56" fmla="*/ 132 w 1232"/>
                <a:gd name="T57" fmla="*/ 384 h 1232"/>
                <a:gd name="T58" fmla="*/ 202 w 1232"/>
                <a:gd name="T59" fmla="*/ 276 h 1232"/>
                <a:gd name="T60" fmla="*/ 296 w 1232"/>
                <a:gd name="T61" fmla="*/ 186 h 1232"/>
                <a:gd name="T62" fmla="*/ 408 w 1232"/>
                <a:gd name="T63" fmla="*/ 122 h 1232"/>
                <a:gd name="T64" fmla="*/ 534 w 1232"/>
                <a:gd name="T65" fmla="*/ 86 h 1232"/>
                <a:gd name="T66" fmla="*/ 644 w 1232"/>
                <a:gd name="T67" fmla="*/ 80 h 1232"/>
                <a:gd name="T68" fmla="*/ 776 w 1232"/>
                <a:gd name="T69" fmla="*/ 104 h 1232"/>
                <a:gd name="T70" fmla="*/ 894 w 1232"/>
                <a:gd name="T71" fmla="*/ 158 h 1232"/>
                <a:gd name="T72" fmla="*/ 994 w 1232"/>
                <a:gd name="T73" fmla="*/ 238 h 1232"/>
                <a:gd name="T74" fmla="*/ 1074 w 1232"/>
                <a:gd name="T75" fmla="*/ 338 h 1232"/>
                <a:gd name="T76" fmla="*/ 1128 w 1232"/>
                <a:gd name="T77" fmla="*/ 456 h 1232"/>
                <a:gd name="T78" fmla="*/ 1152 w 1232"/>
                <a:gd name="T79" fmla="*/ 588 h 1232"/>
                <a:gd name="T80" fmla="*/ 1146 w 1232"/>
                <a:gd name="T81" fmla="*/ 698 h 1232"/>
                <a:gd name="T82" fmla="*/ 1110 w 1232"/>
                <a:gd name="T83" fmla="*/ 824 h 1232"/>
                <a:gd name="T84" fmla="*/ 1046 w 1232"/>
                <a:gd name="T85" fmla="*/ 936 h 1232"/>
                <a:gd name="T86" fmla="*/ 956 w 1232"/>
                <a:gd name="T87" fmla="*/ 1030 h 1232"/>
                <a:gd name="T88" fmla="*/ 848 w 1232"/>
                <a:gd name="T89" fmla="*/ 1100 h 1232"/>
                <a:gd name="T90" fmla="*/ 724 w 1232"/>
                <a:gd name="T91" fmla="*/ 1142 h 1232"/>
                <a:gd name="T92" fmla="*/ 616 w 1232"/>
                <a:gd name="T93" fmla="*/ 1152 h 1232"/>
                <a:gd name="T94" fmla="*/ 482 w 1232"/>
                <a:gd name="T95" fmla="*/ 1136 h 1232"/>
                <a:gd name="T96" fmla="*/ 360 w 1232"/>
                <a:gd name="T97" fmla="*/ 1088 h 1232"/>
                <a:gd name="T98" fmla="*/ 256 w 1232"/>
                <a:gd name="T99" fmla="*/ 1012 h 1232"/>
                <a:gd name="T100" fmla="*/ 172 w 1232"/>
                <a:gd name="T101" fmla="*/ 916 h 1232"/>
                <a:gd name="T102" fmla="*/ 112 w 1232"/>
                <a:gd name="T103" fmla="*/ 800 h 1232"/>
                <a:gd name="T104" fmla="*/ 82 w 1232"/>
                <a:gd name="T105" fmla="*/ 670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2" h="1232">
                  <a:moveTo>
                    <a:pt x="0" y="616"/>
                  </a:moveTo>
                  <a:lnTo>
                    <a:pt x="0" y="616"/>
                  </a:lnTo>
                  <a:lnTo>
                    <a:pt x="0" y="648"/>
                  </a:lnTo>
                  <a:lnTo>
                    <a:pt x="4" y="678"/>
                  </a:lnTo>
                  <a:lnTo>
                    <a:pt x="8" y="710"/>
                  </a:lnTo>
                  <a:lnTo>
                    <a:pt x="12" y="740"/>
                  </a:lnTo>
                  <a:lnTo>
                    <a:pt x="20" y="770"/>
                  </a:lnTo>
                  <a:lnTo>
                    <a:pt x="28" y="798"/>
                  </a:lnTo>
                  <a:lnTo>
                    <a:pt x="38" y="828"/>
                  </a:lnTo>
                  <a:lnTo>
                    <a:pt x="48" y="856"/>
                  </a:lnTo>
                  <a:lnTo>
                    <a:pt x="60" y="882"/>
                  </a:lnTo>
                  <a:lnTo>
                    <a:pt x="74" y="910"/>
                  </a:lnTo>
                  <a:lnTo>
                    <a:pt x="90" y="936"/>
                  </a:lnTo>
                  <a:lnTo>
                    <a:pt x="106" y="960"/>
                  </a:lnTo>
                  <a:lnTo>
                    <a:pt x="122" y="984"/>
                  </a:lnTo>
                  <a:lnTo>
                    <a:pt x="140" y="1008"/>
                  </a:lnTo>
                  <a:lnTo>
                    <a:pt x="160" y="1030"/>
                  </a:lnTo>
                  <a:lnTo>
                    <a:pt x="180" y="1052"/>
                  </a:lnTo>
                  <a:lnTo>
                    <a:pt x="202" y="1072"/>
                  </a:lnTo>
                  <a:lnTo>
                    <a:pt x="224" y="1092"/>
                  </a:lnTo>
                  <a:lnTo>
                    <a:pt x="248" y="1110"/>
                  </a:lnTo>
                  <a:lnTo>
                    <a:pt x="272" y="1126"/>
                  </a:lnTo>
                  <a:lnTo>
                    <a:pt x="296" y="1142"/>
                  </a:lnTo>
                  <a:lnTo>
                    <a:pt x="322" y="1158"/>
                  </a:lnTo>
                  <a:lnTo>
                    <a:pt x="350" y="1172"/>
                  </a:lnTo>
                  <a:lnTo>
                    <a:pt x="376" y="1184"/>
                  </a:lnTo>
                  <a:lnTo>
                    <a:pt x="404" y="1194"/>
                  </a:lnTo>
                  <a:lnTo>
                    <a:pt x="434" y="1204"/>
                  </a:lnTo>
                  <a:lnTo>
                    <a:pt x="462" y="1212"/>
                  </a:lnTo>
                  <a:lnTo>
                    <a:pt x="492" y="1220"/>
                  </a:lnTo>
                  <a:lnTo>
                    <a:pt x="522" y="1224"/>
                  </a:lnTo>
                  <a:lnTo>
                    <a:pt x="554" y="1228"/>
                  </a:lnTo>
                  <a:lnTo>
                    <a:pt x="584" y="1232"/>
                  </a:lnTo>
                  <a:lnTo>
                    <a:pt x="616" y="1232"/>
                  </a:lnTo>
                  <a:lnTo>
                    <a:pt x="616" y="1232"/>
                  </a:lnTo>
                  <a:lnTo>
                    <a:pt x="648" y="1232"/>
                  </a:lnTo>
                  <a:lnTo>
                    <a:pt x="678" y="1228"/>
                  </a:lnTo>
                  <a:lnTo>
                    <a:pt x="710" y="1224"/>
                  </a:lnTo>
                  <a:lnTo>
                    <a:pt x="740" y="1220"/>
                  </a:lnTo>
                  <a:lnTo>
                    <a:pt x="770" y="1212"/>
                  </a:lnTo>
                  <a:lnTo>
                    <a:pt x="798" y="1204"/>
                  </a:lnTo>
                  <a:lnTo>
                    <a:pt x="828" y="1194"/>
                  </a:lnTo>
                  <a:lnTo>
                    <a:pt x="856" y="1184"/>
                  </a:lnTo>
                  <a:lnTo>
                    <a:pt x="882" y="1172"/>
                  </a:lnTo>
                  <a:lnTo>
                    <a:pt x="910" y="1158"/>
                  </a:lnTo>
                  <a:lnTo>
                    <a:pt x="936" y="1142"/>
                  </a:lnTo>
                  <a:lnTo>
                    <a:pt x="960" y="1126"/>
                  </a:lnTo>
                  <a:lnTo>
                    <a:pt x="984" y="1110"/>
                  </a:lnTo>
                  <a:lnTo>
                    <a:pt x="1008" y="1092"/>
                  </a:lnTo>
                  <a:lnTo>
                    <a:pt x="1030" y="1072"/>
                  </a:lnTo>
                  <a:lnTo>
                    <a:pt x="1052" y="1052"/>
                  </a:lnTo>
                  <a:lnTo>
                    <a:pt x="1072" y="1030"/>
                  </a:lnTo>
                  <a:lnTo>
                    <a:pt x="1092" y="1008"/>
                  </a:lnTo>
                  <a:lnTo>
                    <a:pt x="1110" y="984"/>
                  </a:lnTo>
                  <a:lnTo>
                    <a:pt x="1126" y="960"/>
                  </a:lnTo>
                  <a:lnTo>
                    <a:pt x="1142" y="936"/>
                  </a:lnTo>
                  <a:lnTo>
                    <a:pt x="1158" y="910"/>
                  </a:lnTo>
                  <a:lnTo>
                    <a:pt x="1172" y="882"/>
                  </a:lnTo>
                  <a:lnTo>
                    <a:pt x="1184" y="856"/>
                  </a:lnTo>
                  <a:lnTo>
                    <a:pt x="1194" y="828"/>
                  </a:lnTo>
                  <a:lnTo>
                    <a:pt x="1204" y="798"/>
                  </a:lnTo>
                  <a:lnTo>
                    <a:pt x="1212" y="770"/>
                  </a:lnTo>
                  <a:lnTo>
                    <a:pt x="1220" y="740"/>
                  </a:lnTo>
                  <a:lnTo>
                    <a:pt x="1224" y="710"/>
                  </a:lnTo>
                  <a:lnTo>
                    <a:pt x="1228" y="678"/>
                  </a:lnTo>
                  <a:lnTo>
                    <a:pt x="1232" y="648"/>
                  </a:lnTo>
                  <a:lnTo>
                    <a:pt x="1232" y="616"/>
                  </a:lnTo>
                  <a:lnTo>
                    <a:pt x="1232" y="616"/>
                  </a:lnTo>
                  <a:lnTo>
                    <a:pt x="1232" y="584"/>
                  </a:lnTo>
                  <a:lnTo>
                    <a:pt x="1228" y="554"/>
                  </a:lnTo>
                  <a:lnTo>
                    <a:pt x="1224" y="522"/>
                  </a:lnTo>
                  <a:lnTo>
                    <a:pt x="1220" y="492"/>
                  </a:lnTo>
                  <a:lnTo>
                    <a:pt x="1212" y="462"/>
                  </a:lnTo>
                  <a:lnTo>
                    <a:pt x="1204" y="434"/>
                  </a:lnTo>
                  <a:lnTo>
                    <a:pt x="1194" y="404"/>
                  </a:lnTo>
                  <a:lnTo>
                    <a:pt x="1184" y="376"/>
                  </a:lnTo>
                  <a:lnTo>
                    <a:pt x="1172" y="350"/>
                  </a:lnTo>
                  <a:lnTo>
                    <a:pt x="1158" y="322"/>
                  </a:lnTo>
                  <a:lnTo>
                    <a:pt x="1142" y="296"/>
                  </a:lnTo>
                  <a:lnTo>
                    <a:pt x="1126" y="272"/>
                  </a:lnTo>
                  <a:lnTo>
                    <a:pt x="1110" y="248"/>
                  </a:lnTo>
                  <a:lnTo>
                    <a:pt x="1092" y="224"/>
                  </a:lnTo>
                  <a:lnTo>
                    <a:pt x="1072" y="202"/>
                  </a:lnTo>
                  <a:lnTo>
                    <a:pt x="1052" y="180"/>
                  </a:lnTo>
                  <a:lnTo>
                    <a:pt x="1030" y="160"/>
                  </a:lnTo>
                  <a:lnTo>
                    <a:pt x="1008" y="140"/>
                  </a:lnTo>
                  <a:lnTo>
                    <a:pt x="984" y="122"/>
                  </a:lnTo>
                  <a:lnTo>
                    <a:pt x="960" y="106"/>
                  </a:lnTo>
                  <a:lnTo>
                    <a:pt x="936" y="90"/>
                  </a:lnTo>
                  <a:lnTo>
                    <a:pt x="910" y="74"/>
                  </a:lnTo>
                  <a:lnTo>
                    <a:pt x="882" y="60"/>
                  </a:lnTo>
                  <a:lnTo>
                    <a:pt x="856" y="48"/>
                  </a:lnTo>
                  <a:lnTo>
                    <a:pt x="828" y="38"/>
                  </a:lnTo>
                  <a:lnTo>
                    <a:pt x="798" y="28"/>
                  </a:lnTo>
                  <a:lnTo>
                    <a:pt x="770" y="20"/>
                  </a:lnTo>
                  <a:lnTo>
                    <a:pt x="740" y="12"/>
                  </a:lnTo>
                  <a:lnTo>
                    <a:pt x="710" y="8"/>
                  </a:lnTo>
                  <a:lnTo>
                    <a:pt x="678" y="4"/>
                  </a:lnTo>
                  <a:lnTo>
                    <a:pt x="648" y="0"/>
                  </a:lnTo>
                  <a:lnTo>
                    <a:pt x="616" y="0"/>
                  </a:lnTo>
                  <a:lnTo>
                    <a:pt x="616" y="0"/>
                  </a:lnTo>
                  <a:lnTo>
                    <a:pt x="584" y="0"/>
                  </a:lnTo>
                  <a:lnTo>
                    <a:pt x="554" y="4"/>
                  </a:lnTo>
                  <a:lnTo>
                    <a:pt x="522" y="8"/>
                  </a:lnTo>
                  <a:lnTo>
                    <a:pt x="492" y="12"/>
                  </a:lnTo>
                  <a:lnTo>
                    <a:pt x="462" y="20"/>
                  </a:lnTo>
                  <a:lnTo>
                    <a:pt x="434" y="28"/>
                  </a:lnTo>
                  <a:lnTo>
                    <a:pt x="404" y="38"/>
                  </a:lnTo>
                  <a:lnTo>
                    <a:pt x="376" y="48"/>
                  </a:lnTo>
                  <a:lnTo>
                    <a:pt x="350" y="60"/>
                  </a:lnTo>
                  <a:lnTo>
                    <a:pt x="322" y="74"/>
                  </a:lnTo>
                  <a:lnTo>
                    <a:pt x="296" y="90"/>
                  </a:lnTo>
                  <a:lnTo>
                    <a:pt x="272" y="106"/>
                  </a:lnTo>
                  <a:lnTo>
                    <a:pt x="248" y="122"/>
                  </a:lnTo>
                  <a:lnTo>
                    <a:pt x="224" y="140"/>
                  </a:lnTo>
                  <a:lnTo>
                    <a:pt x="202" y="160"/>
                  </a:lnTo>
                  <a:lnTo>
                    <a:pt x="180" y="180"/>
                  </a:lnTo>
                  <a:lnTo>
                    <a:pt x="160" y="202"/>
                  </a:lnTo>
                  <a:lnTo>
                    <a:pt x="140" y="224"/>
                  </a:lnTo>
                  <a:lnTo>
                    <a:pt x="122" y="248"/>
                  </a:lnTo>
                  <a:lnTo>
                    <a:pt x="106" y="272"/>
                  </a:lnTo>
                  <a:lnTo>
                    <a:pt x="90" y="296"/>
                  </a:lnTo>
                  <a:lnTo>
                    <a:pt x="74" y="322"/>
                  </a:lnTo>
                  <a:lnTo>
                    <a:pt x="60" y="350"/>
                  </a:lnTo>
                  <a:lnTo>
                    <a:pt x="48" y="376"/>
                  </a:lnTo>
                  <a:lnTo>
                    <a:pt x="38" y="404"/>
                  </a:lnTo>
                  <a:lnTo>
                    <a:pt x="28" y="434"/>
                  </a:lnTo>
                  <a:lnTo>
                    <a:pt x="20" y="462"/>
                  </a:lnTo>
                  <a:lnTo>
                    <a:pt x="12" y="492"/>
                  </a:lnTo>
                  <a:lnTo>
                    <a:pt x="8" y="522"/>
                  </a:lnTo>
                  <a:lnTo>
                    <a:pt x="4" y="554"/>
                  </a:lnTo>
                  <a:lnTo>
                    <a:pt x="0" y="584"/>
                  </a:lnTo>
                  <a:lnTo>
                    <a:pt x="0" y="616"/>
                  </a:lnTo>
                  <a:lnTo>
                    <a:pt x="0" y="616"/>
                  </a:lnTo>
                  <a:close/>
                  <a:moveTo>
                    <a:pt x="80" y="616"/>
                  </a:moveTo>
                  <a:lnTo>
                    <a:pt x="80" y="616"/>
                  </a:lnTo>
                  <a:lnTo>
                    <a:pt x="80" y="588"/>
                  </a:lnTo>
                  <a:lnTo>
                    <a:pt x="82" y="562"/>
                  </a:lnTo>
                  <a:lnTo>
                    <a:pt x="86" y="534"/>
                  </a:lnTo>
                  <a:lnTo>
                    <a:pt x="90" y="508"/>
                  </a:lnTo>
                  <a:lnTo>
                    <a:pt x="96" y="482"/>
                  </a:lnTo>
                  <a:lnTo>
                    <a:pt x="104" y="456"/>
                  </a:lnTo>
                  <a:lnTo>
                    <a:pt x="112" y="432"/>
                  </a:lnTo>
                  <a:lnTo>
                    <a:pt x="122" y="408"/>
                  </a:lnTo>
                  <a:lnTo>
                    <a:pt x="132" y="384"/>
                  </a:lnTo>
                  <a:lnTo>
                    <a:pt x="144" y="360"/>
                  </a:lnTo>
                  <a:lnTo>
                    <a:pt x="158" y="338"/>
                  </a:lnTo>
                  <a:lnTo>
                    <a:pt x="172" y="316"/>
                  </a:lnTo>
                  <a:lnTo>
                    <a:pt x="186" y="296"/>
                  </a:lnTo>
                  <a:lnTo>
                    <a:pt x="202" y="276"/>
                  </a:lnTo>
                  <a:lnTo>
                    <a:pt x="220" y="256"/>
                  </a:lnTo>
                  <a:lnTo>
                    <a:pt x="238" y="238"/>
                  </a:lnTo>
                  <a:lnTo>
                    <a:pt x="256" y="220"/>
                  </a:lnTo>
                  <a:lnTo>
                    <a:pt x="276" y="202"/>
                  </a:lnTo>
                  <a:lnTo>
                    <a:pt x="296" y="186"/>
                  </a:lnTo>
                  <a:lnTo>
                    <a:pt x="316" y="172"/>
                  </a:lnTo>
                  <a:lnTo>
                    <a:pt x="338" y="158"/>
                  </a:lnTo>
                  <a:lnTo>
                    <a:pt x="360" y="144"/>
                  </a:lnTo>
                  <a:lnTo>
                    <a:pt x="384" y="132"/>
                  </a:lnTo>
                  <a:lnTo>
                    <a:pt x="408" y="122"/>
                  </a:lnTo>
                  <a:lnTo>
                    <a:pt x="432" y="112"/>
                  </a:lnTo>
                  <a:lnTo>
                    <a:pt x="456" y="104"/>
                  </a:lnTo>
                  <a:lnTo>
                    <a:pt x="482" y="96"/>
                  </a:lnTo>
                  <a:lnTo>
                    <a:pt x="508" y="90"/>
                  </a:lnTo>
                  <a:lnTo>
                    <a:pt x="534" y="86"/>
                  </a:lnTo>
                  <a:lnTo>
                    <a:pt x="562" y="82"/>
                  </a:lnTo>
                  <a:lnTo>
                    <a:pt x="588" y="80"/>
                  </a:lnTo>
                  <a:lnTo>
                    <a:pt x="616" y="80"/>
                  </a:lnTo>
                  <a:lnTo>
                    <a:pt x="616" y="80"/>
                  </a:lnTo>
                  <a:lnTo>
                    <a:pt x="644" y="80"/>
                  </a:lnTo>
                  <a:lnTo>
                    <a:pt x="670" y="82"/>
                  </a:lnTo>
                  <a:lnTo>
                    <a:pt x="698" y="86"/>
                  </a:lnTo>
                  <a:lnTo>
                    <a:pt x="724" y="90"/>
                  </a:lnTo>
                  <a:lnTo>
                    <a:pt x="750" y="96"/>
                  </a:lnTo>
                  <a:lnTo>
                    <a:pt x="776" y="104"/>
                  </a:lnTo>
                  <a:lnTo>
                    <a:pt x="800" y="112"/>
                  </a:lnTo>
                  <a:lnTo>
                    <a:pt x="824" y="122"/>
                  </a:lnTo>
                  <a:lnTo>
                    <a:pt x="848" y="132"/>
                  </a:lnTo>
                  <a:lnTo>
                    <a:pt x="872" y="144"/>
                  </a:lnTo>
                  <a:lnTo>
                    <a:pt x="894" y="158"/>
                  </a:lnTo>
                  <a:lnTo>
                    <a:pt x="916" y="172"/>
                  </a:lnTo>
                  <a:lnTo>
                    <a:pt x="936" y="186"/>
                  </a:lnTo>
                  <a:lnTo>
                    <a:pt x="956" y="202"/>
                  </a:lnTo>
                  <a:lnTo>
                    <a:pt x="976" y="220"/>
                  </a:lnTo>
                  <a:lnTo>
                    <a:pt x="994" y="238"/>
                  </a:lnTo>
                  <a:lnTo>
                    <a:pt x="1012" y="256"/>
                  </a:lnTo>
                  <a:lnTo>
                    <a:pt x="1030" y="276"/>
                  </a:lnTo>
                  <a:lnTo>
                    <a:pt x="1046" y="296"/>
                  </a:lnTo>
                  <a:lnTo>
                    <a:pt x="1060" y="316"/>
                  </a:lnTo>
                  <a:lnTo>
                    <a:pt x="1074" y="338"/>
                  </a:lnTo>
                  <a:lnTo>
                    <a:pt x="1088" y="360"/>
                  </a:lnTo>
                  <a:lnTo>
                    <a:pt x="1100" y="384"/>
                  </a:lnTo>
                  <a:lnTo>
                    <a:pt x="1110" y="408"/>
                  </a:lnTo>
                  <a:lnTo>
                    <a:pt x="1120" y="432"/>
                  </a:lnTo>
                  <a:lnTo>
                    <a:pt x="1128" y="456"/>
                  </a:lnTo>
                  <a:lnTo>
                    <a:pt x="1136" y="482"/>
                  </a:lnTo>
                  <a:lnTo>
                    <a:pt x="1142" y="508"/>
                  </a:lnTo>
                  <a:lnTo>
                    <a:pt x="1146" y="534"/>
                  </a:lnTo>
                  <a:lnTo>
                    <a:pt x="1150" y="562"/>
                  </a:lnTo>
                  <a:lnTo>
                    <a:pt x="1152" y="588"/>
                  </a:lnTo>
                  <a:lnTo>
                    <a:pt x="1152" y="616"/>
                  </a:lnTo>
                  <a:lnTo>
                    <a:pt x="1152" y="616"/>
                  </a:lnTo>
                  <a:lnTo>
                    <a:pt x="1152" y="644"/>
                  </a:lnTo>
                  <a:lnTo>
                    <a:pt x="1150" y="670"/>
                  </a:lnTo>
                  <a:lnTo>
                    <a:pt x="1146" y="698"/>
                  </a:lnTo>
                  <a:lnTo>
                    <a:pt x="1142" y="724"/>
                  </a:lnTo>
                  <a:lnTo>
                    <a:pt x="1136" y="750"/>
                  </a:lnTo>
                  <a:lnTo>
                    <a:pt x="1128" y="776"/>
                  </a:lnTo>
                  <a:lnTo>
                    <a:pt x="1120" y="800"/>
                  </a:lnTo>
                  <a:lnTo>
                    <a:pt x="1110" y="824"/>
                  </a:lnTo>
                  <a:lnTo>
                    <a:pt x="1100" y="848"/>
                  </a:lnTo>
                  <a:lnTo>
                    <a:pt x="1088" y="872"/>
                  </a:lnTo>
                  <a:lnTo>
                    <a:pt x="1074" y="894"/>
                  </a:lnTo>
                  <a:lnTo>
                    <a:pt x="1060" y="916"/>
                  </a:lnTo>
                  <a:lnTo>
                    <a:pt x="1046" y="936"/>
                  </a:lnTo>
                  <a:lnTo>
                    <a:pt x="1030" y="956"/>
                  </a:lnTo>
                  <a:lnTo>
                    <a:pt x="1012" y="976"/>
                  </a:lnTo>
                  <a:lnTo>
                    <a:pt x="994" y="994"/>
                  </a:lnTo>
                  <a:lnTo>
                    <a:pt x="976" y="1012"/>
                  </a:lnTo>
                  <a:lnTo>
                    <a:pt x="956" y="1030"/>
                  </a:lnTo>
                  <a:lnTo>
                    <a:pt x="936" y="1046"/>
                  </a:lnTo>
                  <a:lnTo>
                    <a:pt x="916" y="1060"/>
                  </a:lnTo>
                  <a:lnTo>
                    <a:pt x="894" y="1074"/>
                  </a:lnTo>
                  <a:lnTo>
                    <a:pt x="872" y="1088"/>
                  </a:lnTo>
                  <a:lnTo>
                    <a:pt x="848" y="1100"/>
                  </a:lnTo>
                  <a:lnTo>
                    <a:pt x="824" y="1110"/>
                  </a:lnTo>
                  <a:lnTo>
                    <a:pt x="800" y="1120"/>
                  </a:lnTo>
                  <a:lnTo>
                    <a:pt x="776" y="1128"/>
                  </a:lnTo>
                  <a:lnTo>
                    <a:pt x="750" y="1136"/>
                  </a:lnTo>
                  <a:lnTo>
                    <a:pt x="724" y="1142"/>
                  </a:lnTo>
                  <a:lnTo>
                    <a:pt x="698" y="1146"/>
                  </a:lnTo>
                  <a:lnTo>
                    <a:pt x="670" y="1150"/>
                  </a:lnTo>
                  <a:lnTo>
                    <a:pt x="644" y="1152"/>
                  </a:lnTo>
                  <a:lnTo>
                    <a:pt x="616" y="1152"/>
                  </a:lnTo>
                  <a:lnTo>
                    <a:pt x="616" y="1152"/>
                  </a:lnTo>
                  <a:lnTo>
                    <a:pt x="588" y="1152"/>
                  </a:lnTo>
                  <a:lnTo>
                    <a:pt x="562" y="1150"/>
                  </a:lnTo>
                  <a:lnTo>
                    <a:pt x="534" y="1146"/>
                  </a:lnTo>
                  <a:lnTo>
                    <a:pt x="508" y="1142"/>
                  </a:lnTo>
                  <a:lnTo>
                    <a:pt x="482" y="1136"/>
                  </a:lnTo>
                  <a:lnTo>
                    <a:pt x="456" y="1128"/>
                  </a:lnTo>
                  <a:lnTo>
                    <a:pt x="432" y="1120"/>
                  </a:lnTo>
                  <a:lnTo>
                    <a:pt x="408" y="1110"/>
                  </a:lnTo>
                  <a:lnTo>
                    <a:pt x="384" y="1100"/>
                  </a:lnTo>
                  <a:lnTo>
                    <a:pt x="360" y="1088"/>
                  </a:lnTo>
                  <a:lnTo>
                    <a:pt x="338" y="1074"/>
                  </a:lnTo>
                  <a:lnTo>
                    <a:pt x="316" y="1060"/>
                  </a:lnTo>
                  <a:lnTo>
                    <a:pt x="296" y="1046"/>
                  </a:lnTo>
                  <a:lnTo>
                    <a:pt x="276" y="1030"/>
                  </a:lnTo>
                  <a:lnTo>
                    <a:pt x="256" y="1012"/>
                  </a:lnTo>
                  <a:lnTo>
                    <a:pt x="238" y="994"/>
                  </a:lnTo>
                  <a:lnTo>
                    <a:pt x="220" y="976"/>
                  </a:lnTo>
                  <a:lnTo>
                    <a:pt x="202" y="956"/>
                  </a:lnTo>
                  <a:lnTo>
                    <a:pt x="186" y="936"/>
                  </a:lnTo>
                  <a:lnTo>
                    <a:pt x="172" y="916"/>
                  </a:lnTo>
                  <a:lnTo>
                    <a:pt x="158" y="894"/>
                  </a:lnTo>
                  <a:lnTo>
                    <a:pt x="144" y="872"/>
                  </a:lnTo>
                  <a:lnTo>
                    <a:pt x="132" y="848"/>
                  </a:lnTo>
                  <a:lnTo>
                    <a:pt x="122" y="824"/>
                  </a:lnTo>
                  <a:lnTo>
                    <a:pt x="112" y="800"/>
                  </a:lnTo>
                  <a:lnTo>
                    <a:pt x="104" y="776"/>
                  </a:lnTo>
                  <a:lnTo>
                    <a:pt x="96" y="750"/>
                  </a:lnTo>
                  <a:lnTo>
                    <a:pt x="90" y="724"/>
                  </a:lnTo>
                  <a:lnTo>
                    <a:pt x="86" y="698"/>
                  </a:lnTo>
                  <a:lnTo>
                    <a:pt x="82" y="670"/>
                  </a:lnTo>
                  <a:lnTo>
                    <a:pt x="80" y="644"/>
                  </a:lnTo>
                  <a:lnTo>
                    <a:pt x="80" y="616"/>
                  </a:lnTo>
                  <a:lnTo>
                    <a:pt x="80" y="616"/>
                  </a:lnTo>
                  <a:close/>
                </a:path>
              </a:pathLst>
            </a:custGeom>
            <a:solidFill>
              <a:schemeClr val="tx1">
                <a:alpha val="5000"/>
              </a:schemeClr>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sp>
        <p:nvSpPr>
          <p:cNvPr id="7" name="AutoShape 58"/>
          <p:cNvSpPr>
            <a:spLocks noChangeArrowheads="1"/>
          </p:cNvSpPr>
          <p:nvPr/>
        </p:nvSpPr>
        <p:spPr bwMode="auto">
          <a:xfrm>
            <a:off x="855966" y="2585416"/>
            <a:ext cx="3860181" cy="546192"/>
          </a:xfrm>
          <a:prstGeom prst="homePlate">
            <a:avLst>
              <a:gd name="adj" fmla="val 43942"/>
            </a:avLst>
          </a:prstGeom>
          <a:solidFill>
            <a:srgbClr val="3A9707"/>
          </a:solidFill>
          <a:ln>
            <a:noFill/>
          </a:ln>
          <a:effectLst/>
        </p:spPr>
        <p:txBody>
          <a:bodyPr wrap="none" anchor="ctr"/>
          <a:lstStyle/>
          <a:p>
            <a:endParaRPr lang="zh-CN" altLang="en-US"/>
          </a:p>
        </p:txBody>
      </p:sp>
      <p:sp>
        <p:nvSpPr>
          <p:cNvPr id="8" name="Text Box 59"/>
          <p:cNvSpPr txBox="1">
            <a:spLocks noChangeArrowheads="1"/>
          </p:cNvSpPr>
          <p:nvPr/>
        </p:nvSpPr>
        <p:spPr bwMode="auto">
          <a:xfrm>
            <a:off x="2073216" y="2700986"/>
            <a:ext cx="1994728" cy="29551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zh-CN" altLang="en-US" dirty="0">
                <a:latin typeface="微软雅黑" panose="020B0503020204020204" pitchFamily="34" charset="-122"/>
                <a:ea typeface="微软雅黑" panose="020B0503020204020204" pitchFamily="34" charset="-122"/>
              </a:rPr>
              <a:t>单击此处输入标题文字</a:t>
            </a:r>
          </a:p>
        </p:txBody>
      </p:sp>
      <p:grpSp>
        <p:nvGrpSpPr>
          <p:cNvPr id="16" name="组合 15"/>
          <p:cNvGrpSpPr/>
          <p:nvPr/>
        </p:nvGrpSpPr>
        <p:grpSpPr>
          <a:xfrm>
            <a:off x="5003216" y="2182757"/>
            <a:ext cx="1383263" cy="1383264"/>
            <a:chOff x="5003216" y="2182757"/>
            <a:chExt cx="1383263" cy="1383264"/>
          </a:xfrm>
        </p:grpSpPr>
        <p:sp>
          <p:nvSpPr>
            <p:cNvPr id="9" name="Oval 60"/>
            <p:cNvSpPr>
              <a:spLocks noChangeArrowheads="1"/>
            </p:cNvSpPr>
            <p:nvPr/>
          </p:nvSpPr>
          <p:spPr bwMode="auto">
            <a:xfrm>
              <a:off x="5003216" y="2182757"/>
              <a:ext cx="1383263" cy="1383264"/>
            </a:xfrm>
            <a:prstGeom prst="ellipse">
              <a:avLst/>
            </a:prstGeom>
            <a:solidFill>
              <a:schemeClr val="bg2"/>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0" name="Group 61"/>
            <p:cNvGrpSpPr/>
            <p:nvPr/>
          </p:nvGrpSpPr>
          <p:grpSpPr bwMode="auto">
            <a:xfrm>
              <a:off x="5118805" y="2220864"/>
              <a:ext cx="1153355" cy="375983"/>
              <a:chOff x="1431" y="1843"/>
              <a:chExt cx="907" cy="295"/>
            </a:xfrm>
          </p:grpSpPr>
          <p:sp>
            <p:nvSpPr>
              <p:cNvPr id="11" name="Freeform 6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2" name="Oval 6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13" name="Text Box 64"/>
          <p:cNvSpPr txBox="1">
            <a:spLocks noChangeArrowheads="1"/>
          </p:cNvSpPr>
          <p:nvPr/>
        </p:nvSpPr>
        <p:spPr bwMode="auto">
          <a:xfrm>
            <a:off x="5364088" y="2571750"/>
            <a:ext cx="6463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rPr>
              <a:t>填加</a:t>
            </a:r>
            <a:endParaRPr lang="en-US" altLang="zh-CN" b="1" dirty="0">
              <a:solidFill>
                <a:schemeClr val="bg1"/>
              </a:solidFill>
              <a:latin typeface="微软雅黑" panose="020B0503020204020204" pitchFamily="34" charset="-122"/>
              <a:ea typeface="微软雅黑" panose="020B0503020204020204" pitchFamily="34" charset="-122"/>
            </a:endParaRPr>
          </a:p>
          <a:p>
            <a:pPr algn="ctr"/>
            <a:r>
              <a:rPr lang="zh-CN" altLang="en-US" b="1" dirty="0">
                <a:solidFill>
                  <a:schemeClr val="bg1"/>
                </a:solidFill>
                <a:latin typeface="微软雅黑" panose="020B0503020204020204" pitchFamily="34" charset="-122"/>
                <a:ea typeface="微软雅黑" panose="020B0503020204020204" pitchFamily="34" charset="-122"/>
              </a:rPr>
              <a:t>标题</a:t>
            </a:r>
            <a:endParaRPr lang="en-US" altLang="ko-KR" b="1" dirty="0">
              <a:solidFill>
                <a:schemeClr val="bg1"/>
              </a:solidFill>
              <a:latin typeface="微软雅黑" panose="020B0503020204020204" pitchFamily="34" charset="-122"/>
              <a:ea typeface="微软雅黑" panose="020B0503020204020204" pitchFamily="34" charset="-122"/>
            </a:endParaRPr>
          </a:p>
        </p:txBody>
      </p:sp>
      <p:sp>
        <p:nvSpPr>
          <p:cNvPr id="15" name="Text Box 66"/>
          <p:cNvSpPr txBox="1">
            <a:spLocks noChangeArrowheads="1"/>
          </p:cNvSpPr>
          <p:nvPr/>
        </p:nvSpPr>
        <p:spPr bwMode="auto">
          <a:xfrm>
            <a:off x="7022980" y="2731972"/>
            <a:ext cx="1005404" cy="3385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a:solidFill>
                  <a:schemeClr val="bg1"/>
                </a:solidFill>
                <a:latin typeface="微软雅黑" panose="020B0503020204020204" pitchFamily="34" charset="-122"/>
                <a:ea typeface="微软雅黑" panose="020B0503020204020204" pitchFamily="34" charset="-122"/>
              </a:rPr>
              <a:t>填加文字</a:t>
            </a:r>
            <a:endParaRPr lang="en-US" altLang="ko-KR" sz="1600" dirty="0">
              <a:solidFill>
                <a:schemeClr val="bg1"/>
              </a:solidFill>
              <a:latin typeface="微软雅黑" panose="020B0503020204020204" pitchFamily="34" charset="-122"/>
              <a:ea typeface="微软雅黑" panose="020B0503020204020204" pitchFamily="34" charset="-122"/>
            </a:endParaRPr>
          </a:p>
        </p:txBody>
      </p:sp>
      <p:grpSp>
        <p:nvGrpSpPr>
          <p:cNvPr id="17" name="组合 16"/>
          <p:cNvGrpSpPr/>
          <p:nvPr/>
        </p:nvGrpSpPr>
        <p:grpSpPr>
          <a:xfrm>
            <a:off x="1085875" y="1231368"/>
            <a:ext cx="3399093" cy="1210514"/>
            <a:chOff x="1085875" y="1231368"/>
            <a:chExt cx="3399093" cy="1210514"/>
          </a:xfrm>
        </p:grpSpPr>
        <p:sp>
          <p:nvSpPr>
            <p:cNvPr id="20" name="AutoShape 71"/>
            <p:cNvSpPr>
              <a:spLocks noChangeArrowheads="1"/>
            </p:cNvSpPr>
            <p:nvPr/>
          </p:nvSpPr>
          <p:spPr bwMode="auto">
            <a:xfrm>
              <a:off x="1085875" y="1231368"/>
              <a:ext cx="3399093" cy="1210514"/>
            </a:xfrm>
            <a:prstGeom prst="roundRect">
              <a:avLst>
                <a:gd name="adj" fmla="val 5528"/>
              </a:avLst>
            </a:prstGeom>
            <a:solidFill>
              <a:schemeClr val="tx1">
                <a:alpha val="10001"/>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a:solidFill>
                  <a:schemeClr val="bg2"/>
                </a:solidFill>
              </a:endParaRPr>
            </a:p>
          </p:txBody>
        </p:sp>
        <p:sp>
          <p:nvSpPr>
            <p:cNvPr id="21" name="Text Box 72"/>
            <p:cNvSpPr txBox="1">
              <a:spLocks noChangeArrowheads="1"/>
            </p:cNvSpPr>
            <p:nvPr/>
          </p:nvSpPr>
          <p:spPr bwMode="auto">
            <a:xfrm>
              <a:off x="1115616" y="1324675"/>
              <a:ext cx="3255559" cy="101566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altLang="zh-CN" sz="900" spc="50" dirty="0">
                <a:ln w="11430"/>
                <a:solidFill>
                  <a:schemeClr val="bg2"/>
                </a:solidFill>
                <a:latin typeface="微软雅黑" panose="020B0503020204020204" pitchFamily="34" charset="-122"/>
                <a:ea typeface="微软雅黑" panose="020B0503020204020204" pitchFamily="34" charset="-122"/>
              </a:endParaRPr>
            </a:p>
            <a:p>
              <a:pPr algn="r"/>
              <a:r>
                <a:rPr lang="zh-CN" altLang="en-US" spc="50" dirty="0">
                  <a:ln w="11430"/>
                  <a:solidFill>
                    <a:schemeClr val="bg2"/>
                  </a:solidFill>
                  <a:latin typeface="微软雅黑" panose="020B0503020204020204" pitchFamily="34" charset="-122"/>
                  <a:ea typeface="微软雅黑" panose="020B0503020204020204" pitchFamily="34" charset="-122"/>
                </a:rPr>
                <a:t>单击添加标题</a:t>
              </a:r>
              <a:endParaRPr lang="en-US" altLang="zh-CN" spc="50" dirty="0">
                <a:ln w="11430"/>
                <a:solidFill>
                  <a:schemeClr val="bg2"/>
                </a:solidFill>
                <a:latin typeface="微软雅黑" panose="020B0503020204020204" pitchFamily="34" charset="-122"/>
                <a:ea typeface="微软雅黑" panose="020B0503020204020204" pitchFamily="34" charset="-122"/>
              </a:endParaRPr>
            </a:p>
            <a:p>
              <a:pPr algn="r"/>
              <a:endParaRPr lang="en-US" altLang="zh-CN" sz="1200" spc="50" dirty="0">
                <a:ln w="11430"/>
                <a:solidFill>
                  <a:schemeClr val="bg2"/>
                </a:solidFill>
                <a:latin typeface="微软雅黑" panose="020B0503020204020204" pitchFamily="34" charset="-122"/>
                <a:ea typeface="微软雅黑" panose="020B0503020204020204" pitchFamily="34" charset="-122"/>
              </a:endParaRPr>
            </a:p>
            <a:p>
              <a:pPr algn="r"/>
              <a:r>
                <a:rPr lang="zh-CN" altLang="en-US" sz="1200" spc="50" dirty="0">
                  <a:ln w="11430"/>
                  <a:solidFill>
                    <a:schemeClr val="bg2"/>
                  </a:solidFill>
                  <a:latin typeface="微软雅黑" panose="020B0503020204020204" pitchFamily="34" charset="-122"/>
                  <a:ea typeface="微软雅黑" panose="020B0503020204020204" pitchFamily="34" charset="-122"/>
                </a:rPr>
                <a:t>点击添加文本</a:t>
              </a:r>
              <a:endParaRPr lang="en-US" altLang="ko-KR" sz="1200" dirty="0">
                <a:solidFill>
                  <a:schemeClr val="bg2"/>
                </a:solidFill>
                <a:latin typeface="Arial" panose="020B0604020202020204" pitchFamily="34" charset="0"/>
              </a:endParaRPr>
            </a:p>
            <a:p>
              <a:pPr algn="r"/>
              <a:endParaRPr lang="en-US" altLang="ko-KR" sz="900" dirty="0">
                <a:solidFill>
                  <a:schemeClr val="bg2"/>
                </a:solidFill>
                <a:latin typeface="Arial" panose="020B0604020202020204" pitchFamily="34" charset="0"/>
              </a:endParaRPr>
            </a:p>
          </p:txBody>
        </p:sp>
      </p:grpSp>
      <p:sp>
        <p:nvSpPr>
          <p:cNvPr id="24" name="Arc 75"/>
          <p:cNvSpPr/>
          <p:nvPr/>
        </p:nvSpPr>
        <p:spPr bwMode="auto">
          <a:xfrm>
            <a:off x="5680240" y="1664510"/>
            <a:ext cx="1239729" cy="2418488"/>
          </a:xfrm>
          <a:custGeom>
            <a:avLst/>
            <a:gdLst>
              <a:gd name="G0" fmla="+- 0 0 0"/>
              <a:gd name="G1" fmla="+- 21600 0 0"/>
              <a:gd name="G2" fmla="+- 21600 0 0"/>
              <a:gd name="T0" fmla="*/ 0 w 21600"/>
              <a:gd name="T1" fmla="*/ 0 h 43200"/>
              <a:gd name="T2" fmla="*/ 102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489"/>
                  <a:pt x="11991" y="43143"/>
                  <a:pt x="101" y="43199"/>
                </a:cubicBezTo>
              </a:path>
              <a:path w="21600" h="43200" stroke="0" extrusionOk="0">
                <a:moveTo>
                  <a:pt x="-1" y="0"/>
                </a:moveTo>
                <a:cubicBezTo>
                  <a:pt x="11929" y="0"/>
                  <a:pt x="21600" y="9670"/>
                  <a:pt x="21600" y="21600"/>
                </a:cubicBezTo>
                <a:cubicBezTo>
                  <a:pt x="21600" y="33489"/>
                  <a:pt x="11991" y="43143"/>
                  <a:pt x="101" y="43199"/>
                </a:cubicBezTo>
                <a:lnTo>
                  <a:pt x="0" y="21600"/>
                </a:lnTo>
                <a:close/>
              </a:path>
            </a:pathLst>
          </a:custGeom>
          <a:noFill/>
          <a:ln w="25400" cap="rnd">
            <a:solidFill>
              <a:srgbClr val="9E9E9E"/>
            </a:solidFill>
            <a:prstDash val="sysDot"/>
            <a:roun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8" name="组合 17"/>
          <p:cNvGrpSpPr/>
          <p:nvPr/>
        </p:nvGrpSpPr>
        <p:grpSpPr>
          <a:xfrm>
            <a:off x="5641469" y="1367721"/>
            <a:ext cx="1525527" cy="546192"/>
            <a:chOff x="5641469" y="1367721"/>
            <a:chExt cx="1525527" cy="546192"/>
          </a:xfrm>
        </p:grpSpPr>
        <p:sp>
          <p:nvSpPr>
            <p:cNvPr id="28" name="AutoShape 65"/>
            <p:cNvSpPr>
              <a:spLocks noChangeArrowheads="1"/>
            </p:cNvSpPr>
            <p:nvPr/>
          </p:nvSpPr>
          <p:spPr bwMode="auto">
            <a:xfrm rot="10800000">
              <a:off x="5641469" y="1367721"/>
              <a:ext cx="1525527" cy="546192"/>
            </a:xfrm>
            <a:prstGeom prst="homePlate">
              <a:avLst>
                <a:gd name="adj" fmla="val 43731"/>
              </a:avLst>
            </a:prstGeom>
            <a:solidFill>
              <a:srgbClr val="9E9E9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9" name="Text Box 66"/>
            <p:cNvSpPr txBox="1">
              <a:spLocks noChangeArrowheads="1"/>
            </p:cNvSpPr>
            <p:nvPr/>
          </p:nvSpPr>
          <p:spPr bwMode="auto">
            <a:xfrm>
              <a:off x="6017576" y="1498071"/>
              <a:ext cx="1005404" cy="3385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a:solidFill>
                    <a:schemeClr val="bg1"/>
                  </a:solidFill>
                  <a:latin typeface="微软雅黑" panose="020B0503020204020204" pitchFamily="34" charset="-122"/>
                  <a:ea typeface="微软雅黑" panose="020B0503020204020204" pitchFamily="34" charset="-122"/>
                </a:rPr>
                <a:t>填加文字</a:t>
              </a:r>
              <a:endParaRPr lang="en-US" altLang="ko-KR" sz="1600" dirty="0">
                <a:solidFill>
                  <a:schemeClr val="bg1"/>
                </a:solidFill>
                <a:latin typeface="微软雅黑" panose="020B0503020204020204" pitchFamily="34" charset="-122"/>
                <a:ea typeface="微软雅黑" panose="020B0503020204020204" pitchFamily="34" charset="-122"/>
              </a:endParaRPr>
            </a:p>
          </p:txBody>
        </p:sp>
      </p:grpSp>
      <p:sp>
        <p:nvSpPr>
          <p:cNvPr id="31" name="Text Box 66"/>
          <p:cNvSpPr txBox="1">
            <a:spLocks noChangeArrowheads="1"/>
          </p:cNvSpPr>
          <p:nvPr/>
        </p:nvSpPr>
        <p:spPr bwMode="auto">
          <a:xfrm>
            <a:off x="6032527" y="3913721"/>
            <a:ext cx="1005404" cy="3385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a:solidFill>
                  <a:schemeClr val="bg1"/>
                </a:solidFill>
                <a:latin typeface="微软雅黑" panose="020B0503020204020204" pitchFamily="34" charset="-122"/>
                <a:ea typeface="微软雅黑" panose="020B0503020204020204" pitchFamily="34" charset="-122"/>
              </a:rPr>
              <a:t>填加文字</a:t>
            </a:r>
            <a:endParaRPr lang="en-US" altLang="ko-KR" sz="1600" dirty="0">
              <a:solidFill>
                <a:schemeClr val="bg1"/>
              </a:solidFill>
              <a:latin typeface="微软雅黑" panose="020B0503020204020204" pitchFamily="34" charset="-122"/>
              <a:ea typeface="微软雅黑" panose="020B0503020204020204" pitchFamily="34" charset="-122"/>
            </a:endParaRPr>
          </a:p>
        </p:txBody>
      </p:sp>
      <p:grpSp>
        <p:nvGrpSpPr>
          <p:cNvPr id="32" name="组合 31"/>
          <p:cNvGrpSpPr/>
          <p:nvPr/>
        </p:nvGrpSpPr>
        <p:grpSpPr>
          <a:xfrm>
            <a:off x="1085875" y="3305452"/>
            <a:ext cx="3399093" cy="1210514"/>
            <a:chOff x="1085875" y="1231368"/>
            <a:chExt cx="3399093" cy="1210514"/>
          </a:xfrm>
        </p:grpSpPr>
        <p:sp>
          <p:nvSpPr>
            <p:cNvPr id="33" name="AutoShape 71"/>
            <p:cNvSpPr>
              <a:spLocks noChangeArrowheads="1"/>
            </p:cNvSpPr>
            <p:nvPr/>
          </p:nvSpPr>
          <p:spPr bwMode="auto">
            <a:xfrm>
              <a:off x="1085875" y="1231368"/>
              <a:ext cx="3399093" cy="1210514"/>
            </a:xfrm>
            <a:prstGeom prst="roundRect">
              <a:avLst>
                <a:gd name="adj" fmla="val 5528"/>
              </a:avLst>
            </a:prstGeom>
            <a:solidFill>
              <a:schemeClr val="tx1">
                <a:alpha val="10001"/>
              </a:schemeClr>
            </a:solidFill>
            <a:ln w="19050" cap="rnd" algn="ctr">
              <a:solidFill>
                <a:srgbClr val="9E9E9E"/>
              </a:solidFill>
              <a:prstDash val="sysDot"/>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zh-CN" altLang="en-US">
                <a:solidFill>
                  <a:schemeClr val="bg2"/>
                </a:solidFill>
              </a:endParaRPr>
            </a:p>
          </p:txBody>
        </p:sp>
        <p:sp>
          <p:nvSpPr>
            <p:cNvPr id="34" name="Text Box 72"/>
            <p:cNvSpPr txBox="1">
              <a:spLocks noChangeArrowheads="1"/>
            </p:cNvSpPr>
            <p:nvPr/>
          </p:nvSpPr>
          <p:spPr bwMode="auto">
            <a:xfrm>
              <a:off x="1115616" y="1324675"/>
              <a:ext cx="3255559" cy="101566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endParaRPr lang="en-US" altLang="zh-CN" sz="900" spc="50" dirty="0">
                <a:ln w="11430"/>
                <a:solidFill>
                  <a:schemeClr val="bg2"/>
                </a:solidFill>
                <a:latin typeface="微软雅黑" panose="020B0503020204020204" pitchFamily="34" charset="-122"/>
                <a:ea typeface="微软雅黑" panose="020B0503020204020204" pitchFamily="34" charset="-122"/>
              </a:endParaRPr>
            </a:p>
            <a:p>
              <a:pPr algn="r"/>
              <a:r>
                <a:rPr lang="zh-CN" altLang="en-US" spc="50" dirty="0">
                  <a:ln w="11430"/>
                  <a:solidFill>
                    <a:schemeClr val="bg2"/>
                  </a:solidFill>
                  <a:latin typeface="微软雅黑" panose="020B0503020204020204" pitchFamily="34" charset="-122"/>
                  <a:ea typeface="微软雅黑" panose="020B0503020204020204" pitchFamily="34" charset="-122"/>
                </a:rPr>
                <a:t>单击添加标题</a:t>
              </a:r>
              <a:endParaRPr lang="en-US" altLang="zh-CN" spc="50" dirty="0">
                <a:ln w="11430"/>
                <a:solidFill>
                  <a:schemeClr val="bg2"/>
                </a:solidFill>
                <a:latin typeface="微软雅黑" panose="020B0503020204020204" pitchFamily="34" charset="-122"/>
                <a:ea typeface="微软雅黑" panose="020B0503020204020204" pitchFamily="34" charset="-122"/>
              </a:endParaRPr>
            </a:p>
            <a:p>
              <a:pPr algn="r"/>
              <a:endParaRPr lang="en-US" altLang="zh-CN" sz="1200" spc="50" dirty="0">
                <a:ln w="11430"/>
                <a:solidFill>
                  <a:schemeClr val="bg2"/>
                </a:solidFill>
                <a:latin typeface="微软雅黑" panose="020B0503020204020204" pitchFamily="34" charset="-122"/>
                <a:ea typeface="微软雅黑" panose="020B0503020204020204" pitchFamily="34" charset="-122"/>
              </a:endParaRPr>
            </a:p>
            <a:p>
              <a:pPr algn="r"/>
              <a:r>
                <a:rPr lang="zh-CN" altLang="en-US" sz="1200" spc="50" dirty="0">
                  <a:ln w="11430"/>
                  <a:solidFill>
                    <a:schemeClr val="bg2"/>
                  </a:solidFill>
                  <a:latin typeface="微软雅黑" panose="020B0503020204020204" pitchFamily="34" charset="-122"/>
                  <a:ea typeface="微软雅黑" panose="020B0503020204020204" pitchFamily="34" charset="-122"/>
                </a:rPr>
                <a:t>点击添加文本</a:t>
              </a:r>
              <a:endParaRPr lang="en-US" altLang="ko-KR" sz="1200" dirty="0">
                <a:solidFill>
                  <a:schemeClr val="bg2"/>
                </a:solidFill>
                <a:latin typeface="Arial" panose="020B0604020202020204" pitchFamily="34" charset="0"/>
              </a:endParaRPr>
            </a:p>
            <a:p>
              <a:pPr algn="r"/>
              <a:endParaRPr lang="en-US" altLang="ko-KR" sz="900" dirty="0">
                <a:solidFill>
                  <a:schemeClr val="bg2"/>
                </a:solidFill>
                <a:latin typeface="Arial" panose="020B0604020202020204" pitchFamily="34" charset="0"/>
              </a:endParaRPr>
            </a:p>
          </p:txBody>
        </p:sp>
      </p:grpSp>
      <p:grpSp>
        <p:nvGrpSpPr>
          <p:cNvPr id="35" name="组合 34"/>
          <p:cNvGrpSpPr/>
          <p:nvPr/>
        </p:nvGrpSpPr>
        <p:grpSpPr>
          <a:xfrm>
            <a:off x="6660232" y="2575647"/>
            <a:ext cx="1525527" cy="546192"/>
            <a:chOff x="5641469" y="1367721"/>
            <a:chExt cx="1525527" cy="546192"/>
          </a:xfrm>
        </p:grpSpPr>
        <p:sp>
          <p:nvSpPr>
            <p:cNvPr id="36" name="AutoShape 65"/>
            <p:cNvSpPr>
              <a:spLocks noChangeArrowheads="1"/>
            </p:cNvSpPr>
            <p:nvPr/>
          </p:nvSpPr>
          <p:spPr bwMode="auto">
            <a:xfrm rot="10800000">
              <a:off x="5641469" y="1367721"/>
              <a:ext cx="1525527" cy="546192"/>
            </a:xfrm>
            <a:prstGeom prst="homePlate">
              <a:avLst>
                <a:gd name="adj" fmla="val 43731"/>
              </a:avLst>
            </a:prstGeom>
            <a:solidFill>
              <a:srgbClr val="9E9E9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7" name="Text Box 66"/>
            <p:cNvSpPr txBox="1">
              <a:spLocks noChangeArrowheads="1"/>
            </p:cNvSpPr>
            <p:nvPr/>
          </p:nvSpPr>
          <p:spPr bwMode="auto">
            <a:xfrm>
              <a:off x="6017576" y="1498071"/>
              <a:ext cx="1005404" cy="3385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a:solidFill>
                    <a:schemeClr val="bg1"/>
                  </a:solidFill>
                  <a:latin typeface="微软雅黑" panose="020B0503020204020204" pitchFamily="34" charset="-122"/>
                  <a:ea typeface="微软雅黑" panose="020B0503020204020204" pitchFamily="34" charset="-122"/>
                </a:rPr>
                <a:t>填加文字</a:t>
              </a:r>
              <a:endParaRPr lang="en-US" altLang="ko-KR" sz="1600" dirty="0">
                <a:solidFill>
                  <a:schemeClr val="bg1"/>
                </a:solidFill>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5680240" y="3774003"/>
            <a:ext cx="1525527" cy="546192"/>
            <a:chOff x="5641469" y="1367721"/>
            <a:chExt cx="1525527" cy="546192"/>
          </a:xfrm>
        </p:grpSpPr>
        <p:sp>
          <p:nvSpPr>
            <p:cNvPr id="39" name="AutoShape 65"/>
            <p:cNvSpPr>
              <a:spLocks noChangeArrowheads="1"/>
            </p:cNvSpPr>
            <p:nvPr/>
          </p:nvSpPr>
          <p:spPr bwMode="auto">
            <a:xfrm rot="10800000">
              <a:off x="5641469" y="1367721"/>
              <a:ext cx="1525527" cy="546192"/>
            </a:xfrm>
            <a:prstGeom prst="homePlate">
              <a:avLst>
                <a:gd name="adj" fmla="val 43731"/>
              </a:avLst>
            </a:prstGeom>
            <a:solidFill>
              <a:srgbClr val="9E9E9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0" name="Text Box 66"/>
            <p:cNvSpPr txBox="1">
              <a:spLocks noChangeArrowheads="1"/>
            </p:cNvSpPr>
            <p:nvPr/>
          </p:nvSpPr>
          <p:spPr bwMode="auto">
            <a:xfrm>
              <a:off x="6017576" y="1498071"/>
              <a:ext cx="1005404" cy="338554"/>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600">
                  <a:solidFill>
                    <a:schemeClr val="bg1"/>
                  </a:solidFill>
                  <a:latin typeface="微软雅黑" panose="020B0503020204020204" pitchFamily="34" charset="-122"/>
                  <a:ea typeface="微软雅黑" panose="020B0503020204020204" pitchFamily="34" charset="-122"/>
                </a:rPr>
                <a:t>填加文字</a:t>
              </a:r>
              <a:endParaRPr lang="en-US" altLang="ko-KR" sz="16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0-#ppt_w/2"/>
                                          </p:val>
                                        </p:tav>
                                        <p:tav tm="100000">
                                          <p:val>
                                            <p:strVal val="#ppt_x"/>
                                          </p:val>
                                        </p:tav>
                                      </p:tavLst>
                                    </p:anim>
                                    <p:anim calcmode="lin" valueType="num">
                                      <p:cBhvr additive="base">
                                        <p:cTn id="8" dur="5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slide(fromBottom)">
                                      <p:cBhvr>
                                        <p:cTn id="12" dur="500"/>
                                        <p:tgtEl>
                                          <p:spTgt spid="13"/>
                                        </p:tgtEl>
                                      </p:cBhvr>
                                    </p:animEffect>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0-#ppt_w/2"/>
                                          </p:val>
                                        </p:tav>
                                        <p:tav tm="100000">
                                          <p:val>
                                            <p:strVal val="#ppt_x"/>
                                          </p:val>
                                        </p:tav>
                                      </p:tavLst>
                                    </p:anim>
                                    <p:anim calcmode="lin" valueType="num">
                                      <p:cBhvr additive="base">
                                        <p:cTn id="17" dur="500" fill="hold"/>
                                        <p:tgtEl>
                                          <p:spTgt spid="7"/>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0-#ppt_w/2"/>
                                          </p:val>
                                        </p:tav>
                                        <p:tav tm="100000">
                                          <p:val>
                                            <p:strVal val="#ppt_x"/>
                                          </p:val>
                                        </p:tav>
                                      </p:tavLst>
                                    </p:anim>
                                    <p:anim calcmode="lin" valueType="num">
                                      <p:cBhvr additive="base">
                                        <p:cTn id="22" dur="500" fill="hold"/>
                                        <p:tgtEl>
                                          <p:spTgt spid="8"/>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3" presetClass="entr" presetSubtype="16" fill="hold" nodeType="after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500" fill="hold"/>
                                        <p:tgtEl>
                                          <p:spTgt spid="17"/>
                                        </p:tgtEl>
                                        <p:attrNameLst>
                                          <p:attrName>ppt_w</p:attrName>
                                        </p:attrNameLst>
                                      </p:cBhvr>
                                      <p:tavLst>
                                        <p:tav tm="0">
                                          <p:val>
                                            <p:fltVal val="0"/>
                                          </p:val>
                                        </p:tav>
                                        <p:tav tm="100000">
                                          <p:val>
                                            <p:strVal val="#ppt_w"/>
                                          </p:val>
                                        </p:tav>
                                      </p:tavLst>
                                    </p:anim>
                                    <p:anim calcmode="lin" valueType="num">
                                      <p:cBhvr>
                                        <p:cTn id="27" dur="500" fill="hold"/>
                                        <p:tgtEl>
                                          <p:spTgt spid="17"/>
                                        </p:tgtEl>
                                        <p:attrNameLst>
                                          <p:attrName>ppt_h</p:attrName>
                                        </p:attrNameLst>
                                      </p:cBhvr>
                                      <p:tavLst>
                                        <p:tav tm="0">
                                          <p:val>
                                            <p:fltVal val="0"/>
                                          </p:val>
                                        </p:tav>
                                        <p:tav tm="100000">
                                          <p:val>
                                            <p:strVal val="#ppt_h"/>
                                          </p:val>
                                        </p:tav>
                                      </p:tavLst>
                                    </p:anim>
                                  </p:childTnLst>
                                </p:cTn>
                              </p:par>
                            </p:childTnLst>
                          </p:cTn>
                        </p:par>
                        <p:par>
                          <p:cTn id="28" fill="hold">
                            <p:stCondLst>
                              <p:cond delay="2500"/>
                            </p:stCondLst>
                            <p:childTnLst>
                              <p:par>
                                <p:cTn id="29" presetID="23" presetClass="entr" presetSubtype="16"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p:cTn id="31" dur="500" fill="hold"/>
                                        <p:tgtEl>
                                          <p:spTgt spid="32"/>
                                        </p:tgtEl>
                                        <p:attrNameLst>
                                          <p:attrName>ppt_w</p:attrName>
                                        </p:attrNameLst>
                                      </p:cBhvr>
                                      <p:tavLst>
                                        <p:tav tm="0">
                                          <p:val>
                                            <p:fltVal val="0"/>
                                          </p:val>
                                        </p:tav>
                                        <p:tav tm="100000">
                                          <p:val>
                                            <p:strVal val="#ppt_w"/>
                                          </p:val>
                                        </p:tav>
                                      </p:tavLst>
                                    </p:anim>
                                    <p:anim calcmode="lin" valueType="num">
                                      <p:cBhvr>
                                        <p:cTn id="32" dur="500" fill="hold"/>
                                        <p:tgtEl>
                                          <p:spTgt spid="32"/>
                                        </p:tgtEl>
                                        <p:attrNameLst>
                                          <p:attrName>ppt_h</p:attrName>
                                        </p:attrNameLst>
                                      </p:cBhvr>
                                      <p:tavLst>
                                        <p:tav tm="0">
                                          <p:val>
                                            <p:fltVal val="0"/>
                                          </p:val>
                                        </p:tav>
                                        <p:tav tm="100000">
                                          <p:val>
                                            <p:strVal val="#ppt_h"/>
                                          </p:val>
                                        </p:tav>
                                      </p:tavLst>
                                    </p:anim>
                                  </p:childTnLst>
                                </p:cTn>
                              </p:par>
                            </p:childTnLst>
                          </p:cTn>
                        </p:par>
                        <p:par>
                          <p:cTn id="33" fill="hold">
                            <p:stCondLst>
                              <p:cond delay="3000"/>
                            </p:stCondLst>
                            <p:childTnLst>
                              <p:par>
                                <p:cTn id="34" presetID="16" presetClass="entr" presetSubtype="21" fill="hold" grpId="0" nodeType="after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barn(inVertical)">
                                      <p:cBhvr>
                                        <p:cTn id="36" dur="500"/>
                                        <p:tgtEl>
                                          <p:spTgt spid="24"/>
                                        </p:tgtEl>
                                      </p:cBhvr>
                                    </p:animEffect>
                                  </p:childTnLst>
                                </p:cTn>
                              </p:par>
                            </p:childTnLst>
                          </p:cTn>
                        </p:par>
                        <p:par>
                          <p:cTn id="37" fill="hold">
                            <p:stCondLst>
                              <p:cond delay="3500"/>
                            </p:stCondLst>
                            <p:childTnLst>
                              <p:par>
                                <p:cTn id="38" presetID="2" presetClass="entr" presetSubtype="2" fill="hold" nodeType="afterEffect">
                                  <p:stCondLst>
                                    <p:cond delay="0"/>
                                  </p:stCondLst>
                                  <p:childTnLst>
                                    <p:set>
                                      <p:cBhvr>
                                        <p:cTn id="39" dur="1" fill="hold">
                                          <p:stCondLst>
                                            <p:cond delay="0"/>
                                          </p:stCondLst>
                                        </p:cTn>
                                        <p:tgtEl>
                                          <p:spTgt spid="18"/>
                                        </p:tgtEl>
                                        <p:attrNameLst>
                                          <p:attrName>style.visibility</p:attrName>
                                        </p:attrNameLst>
                                      </p:cBhvr>
                                      <p:to>
                                        <p:strVal val="visible"/>
                                      </p:to>
                                    </p:set>
                                    <p:anim calcmode="lin" valueType="num">
                                      <p:cBhvr additive="base">
                                        <p:cTn id="40" dur="500" fill="hold"/>
                                        <p:tgtEl>
                                          <p:spTgt spid="18"/>
                                        </p:tgtEl>
                                        <p:attrNameLst>
                                          <p:attrName>ppt_x</p:attrName>
                                        </p:attrNameLst>
                                      </p:cBhvr>
                                      <p:tavLst>
                                        <p:tav tm="0">
                                          <p:val>
                                            <p:strVal val="1+#ppt_w/2"/>
                                          </p:val>
                                        </p:tav>
                                        <p:tav tm="100000">
                                          <p:val>
                                            <p:strVal val="#ppt_x"/>
                                          </p:val>
                                        </p:tav>
                                      </p:tavLst>
                                    </p:anim>
                                    <p:anim calcmode="lin" valueType="num">
                                      <p:cBhvr additive="base">
                                        <p:cTn id="41" dur="500" fill="hold"/>
                                        <p:tgtEl>
                                          <p:spTgt spid="18"/>
                                        </p:tgtEl>
                                        <p:attrNameLst>
                                          <p:attrName>ppt_y</p:attrName>
                                        </p:attrNameLst>
                                      </p:cBhvr>
                                      <p:tavLst>
                                        <p:tav tm="0">
                                          <p:val>
                                            <p:strVal val="#ppt_y"/>
                                          </p:val>
                                        </p:tav>
                                        <p:tav tm="100000">
                                          <p:val>
                                            <p:strVal val="#ppt_y"/>
                                          </p:val>
                                        </p:tav>
                                      </p:tavLst>
                                    </p:anim>
                                  </p:childTnLst>
                                </p:cTn>
                              </p:par>
                            </p:childTnLst>
                          </p:cTn>
                        </p:par>
                        <p:par>
                          <p:cTn id="42" fill="hold">
                            <p:stCondLst>
                              <p:cond delay="4000"/>
                            </p:stCondLst>
                            <p:childTnLst>
                              <p:par>
                                <p:cTn id="43" presetID="2" presetClass="entr" presetSubtype="2" fill="hold" nodeType="afterEffect">
                                  <p:stCondLst>
                                    <p:cond delay="0"/>
                                  </p:stCondLst>
                                  <p:childTnLst>
                                    <p:set>
                                      <p:cBhvr>
                                        <p:cTn id="44" dur="1" fill="hold">
                                          <p:stCondLst>
                                            <p:cond delay="0"/>
                                          </p:stCondLst>
                                        </p:cTn>
                                        <p:tgtEl>
                                          <p:spTgt spid="35"/>
                                        </p:tgtEl>
                                        <p:attrNameLst>
                                          <p:attrName>style.visibility</p:attrName>
                                        </p:attrNameLst>
                                      </p:cBhvr>
                                      <p:to>
                                        <p:strVal val="visible"/>
                                      </p:to>
                                    </p:set>
                                    <p:anim calcmode="lin" valueType="num">
                                      <p:cBhvr additive="base">
                                        <p:cTn id="45" dur="500" fill="hold"/>
                                        <p:tgtEl>
                                          <p:spTgt spid="35"/>
                                        </p:tgtEl>
                                        <p:attrNameLst>
                                          <p:attrName>ppt_x</p:attrName>
                                        </p:attrNameLst>
                                      </p:cBhvr>
                                      <p:tavLst>
                                        <p:tav tm="0">
                                          <p:val>
                                            <p:strVal val="1+#ppt_w/2"/>
                                          </p:val>
                                        </p:tav>
                                        <p:tav tm="100000">
                                          <p:val>
                                            <p:strVal val="#ppt_x"/>
                                          </p:val>
                                        </p:tav>
                                      </p:tavLst>
                                    </p:anim>
                                    <p:anim calcmode="lin" valueType="num">
                                      <p:cBhvr additive="base">
                                        <p:cTn id="46" dur="500" fill="hold"/>
                                        <p:tgtEl>
                                          <p:spTgt spid="35"/>
                                        </p:tgtEl>
                                        <p:attrNameLst>
                                          <p:attrName>ppt_y</p:attrName>
                                        </p:attrNameLst>
                                      </p:cBhvr>
                                      <p:tavLst>
                                        <p:tav tm="0">
                                          <p:val>
                                            <p:strVal val="#ppt_y"/>
                                          </p:val>
                                        </p:tav>
                                        <p:tav tm="100000">
                                          <p:val>
                                            <p:strVal val="#ppt_y"/>
                                          </p:val>
                                        </p:tav>
                                      </p:tavLst>
                                    </p:anim>
                                  </p:childTnLst>
                                </p:cTn>
                              </p:par>
                            </p:childTnLst>
                          </p:cTn>
                        </p:par>
                        <p:par>
                          <p:cTn id="47" fill="hold">
                            <p:stCondLst>
                              <p:cond delay="4500"/>
                            </p:stCondLst>
                            <p:childTnLst>
                              <p:par>
                                <p:cTn id="48" presetID="2" presetClass="entr" presetSubtype="2" fill="hold" nodeType="afterEffect">
                                  <p:stCondLst>
                                    <p:cond delay="0"/>
                                  </p:stCondLst>
                                  <p:childTnLst>
                                    <p:set>
                                      <p:cBhvr>
                                        <p:cTn id="49" dur="1" fill="hold">
                                          <p:stCondLst>
                                            <p:cond delay="0"/>
                                          </p:stCondLst>
                                        </p:cTn>
                                        <p:tgtEl>
                                          <p:spTgt spid="38"/>
                                        </p:tgtEl>
                                        <p:attrNameLst>
                                          <p:attrName>style.visibility</p:attrName>
                                        </p:attrNameLst>
                                      </p:cBhvr>
                                      <p:to>
                                        <p:strVal val="visible"/>
                                      </p:to>
                                    </p:set>
                                    <p:anim calcmode="lin" valueType="num">
                                      <p:cBhvr additive="base">
                                        <p:cTn id="50" dur="500" fill="hold"/>
                                        <p:tgtEl>
                                          <p:spTgt spid="38"/>
                                        </p:tgtEl>
                                        <p:attrNameLst>
                                          <p:attrName>ppt_x</p:attrName>
                                        </p:attrNameLst>
                                      </p:cBhvr>
                                      <p:tavLst>
                                        <p:tav tm="0">
                                          <p:val>
                                            <p:strVal val="1+#ppt_w/2"/>
                                          </p:val>
                                        </p:tav>
                                        <p:tav tm="100000">
                                          <p:val>
                                            <p:strVal val="#ppt_x"/>
                                          </p:val>
                                        </p:tav>
                                      </p:tavLst>
                                    </p:anim>
                                    <p:anim calcmode="lin" valueType="num">
                                      <p:cBhvr additive="base">
                                        <p:cTn id="51"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3" grpId="0"/>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2"/>
          <p:cNvSpPr>
            <a:spLocks noChangeArrowheads="1"/>
          </p:cNvSpPr>
          <p:nvPr/>
        </p:nvSpPr>
        <p:spPr bwMode="auto">
          <a:xfrm>
            <a:off x="2733996" y="1159971"/>
            <a:ext cx="3465468" cy="3492637"/>
          </a:xfrm>
          <a:prstGeom prst="ellipse">
            <a:avLst/>
          </a:prstGeom>
          <a:noFill/>
          <a:ln w="12700" cap="flat" cmpd="sng">
            <a:solidFill>
              <a:schemeClr val="bg2"/>
            </a:solidFill>
            <a:prstDash val="sysDot"/>
            <a:round/>
          </a:ln>
          <a:effec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3" name="Oval 3"/>
          <p:cNvSpPr>
            <a:spLocks noChangeArrowheads="1"/>
          </p:cNvSpPr>
          <p:nvPr/>
        </p:nvSpPr>
        <p:spPr bwMode="auto">
          <a:xfrm>
            <a:off x="2935180" y="1377036"/>
            <a:ext cx="3019813" cy="3102135"/>
          </a:xfrm>
          <a:prstGeom prst="ellipse">
            <a:avLst/>
          </a:prstGeom>
          <a:noFill/>
          <a:ln w="12700" cap="flat" cmpd="sng">
            <a:solidFill>
              <a:schemeClr val="bg2"/>
            </a:solidFill>
            <a:prstDash val="sysDot"/>
            <a:round/>
          </a:ln>
          <a:effectLst/>
        </p:spPr>
        <p:txBody>
          <a:bodyPr wrap="none" anchor="ctr"/>
          <a:lstStyle/>
          <a:p>
            <a:endParaRPr lang="zh-CN" altLang="en-US">
              <a:latin typeface="微软雅黑" panose="020B0503020204020204" pitchFamily="34" charset="-122"/>
              <a:ea typeface="微软雅黑" panose="020B0503020204020204" pitchFamily="34" charset="-122"/>
            </a:endParaRPr>
          </a:p>
        </p:txBody>
      </p:sp>
      <p:sp>
        <p:nvSpPr>
          <p:cNvPr id="4" name="Oval 4"/>
          <p:cNvSpPr>
            <a:spLocks noChangeArrowheads="1"/>
          </p:cNvSpPr>
          <p:nvPr/>
        </p:nvSpPr>
        <p:spPr bwMode="auto">
          <a:xfrm>
            <a:off x="3159022" y="1606876"/>
            <a:ext cx="2572128" cy="2642455"/>
          </a:xfrm>
          <a:prstGeom prst="ellipse">
            <a:avLst/>
          </a:prstGeom>
          <a:noFill/>
          <a:ln w="12700" cap="flat" cmpd="sng">
            <a:solidFill>
              <a:schemeClr val="bg2"/>
            </a:solidFill>
            <a:prstDash val="sysDot"/>
            <a:round/>
          </a:ln>
          <a:effectLst/>
        </p:spPr>
        <p:txBody>
          <a:bodyPr wrap="none" anchor="ctr"/>
          <a:lstStyle/>
          <a:p>
            <a:endParaRPr lang="zh-CN" altLang="en-US">
              <a:latin typeface="微软雅黑" panose="020B0503020204020204" pitchFamily="34" charset="-122"/>
              <a:ea typeface="微软雅黑" panose="020B0503020204020204" pitchFamily="34" charset="-122"/>
            </a:endParaRPr>
          </a:p>
        </p:txBody>
      </p:sp>
      <p:grpSp>
        <p:nvGrpSpPr>
          <p:cNvPr id="5" name="组合 4"/>
          <p:cNvGrpSpPr/>
          <p:nvPr/>
        </p:nvGrpSpPr>
        <p:grpSpPr>
          <a:xfrm>
            <a:off x="2398737" y="847327"/>
            <a:ext cx="4045471" cy="3730031"/>
            <a:chOff x="2427287" y="1527769"/>
            <a:chExt cx="4418013" cy="4073525"/>
          </a:xfrm>
        </p:grpSpPr>
        <p:sp>
          <p:nvSpPr>
            <p:cNvPr id="6" name="AutoShape 5"/>
            <p:cNvSpPr>
              <a:spLocks noChangeArrowheads="1"/>
            </p:cNvSpPr>
            <p:nvPr/>
          </p:nvSpPr>
          <p:spPr bwMode="auto">
            <a:xfrm rot="9044364">
              <a:off x="2427287" y="3731219"/>
              <a:ext cx="1871663" cy="1857375"/>
            </a:xfrm>
            <a:prstGeom prst="chevron">
              <a:avLst>
                <a:gd name="adj" fmla="val 28631"/>
              </a:avLst>
            </a:prstGeom>
            <a:solidFill>
              <a:srgbClr val="3A9707"/>
            </a:solidFill>
            <a:ln w="9525">
              <a:noFill/>
              <a:miter lim="800000"/>
            </a:ln>
            <a:effectLst>
              <a:outerShdw blurRad="44450" dist="27940" dir="5400000" algn="ctr">
                <a:srgbClr val="000000">
                  <a:alpha val="32000"/>
                </a:srgbClr>
              </a:outerShdw>
            </a:effectLst>
            <a:scene3d>
              <a:camera prst="orthographicFront">
                <a:rot lat="0" lon="0" rev="0"/>
              </a:camera>
              <a:lightRig rig="balanced" dir="b">
                <a:rot lat="0" lon="0" rev="8700000"/>
              </a:lightRig>
            </a:scene3d>
            <a:sp3d>
              <a:bevelT w="190500" h="38100"/>
            </a:sp3d>
          </p:spPr>
          <p:txBody>
            <a:bodyPr wrap="none" anchor="ctr">
              <a:flatTx/>
            </a:bodyPr>
            <a:lstStyle/>
            <a:p>
              <a:endParaRPr lang="zh-CN" altLang="en-US">
                <a:latin typeface="微软雅黑" panose="020B0503020204020204" pitchFamily="34" charset="-122"/>
                <a:ea typeface="微软雅黑" panose="020B0503020204020204" pitchFamily="34" charset="-122"/>
              </a:endParaRPr>
            </a:p>
          </p:txBody>
        </p:sp>
        <p:sp>
          <p:nvSpPr>
            <p:cNvPr id="7" name="AutoShape 6"/>
            <p:cNvSpPr>
              <a:spLocks noChangeArrowheads="1"/>
            </p:cNvSpPr>
            <p:nvPr/>
          </p:nvSpPr>
          <p:spPr bwMode="auto">
            <a:xfrm rot="16200000">
              <a:off x="3704431" y="1536500"/>
              <a:ext cx="1873250" cy="1855788"/>
            </a:xfrm>
            <a:prstGeom prst="chevron">
              <a:avLst>
                <a:gd name="adj" fmla="val 28679"/>
              </a:avLst>
            </a:prstGeom>
            <a:solidFill>
              <a:schemeClr val="bg2"/>
            </a:solidFill>
            <a:ln w="9525">
              <a:noFill/>
              <a:miter lim="800000"/>
            </a:ln>
            <a:effectLst>
              <a:outerShdw blurRad="44450" dist="27940" dir="5400000" algn="ctr">
                <a:srgbClr val="000000">
                  <a:alpha val="32000"/>
                </a:srgbClr>
              </a:outerShdw>
            </a:effectLst>
            <a:scene3d>
              <a:camera prst="orthographicFront">
                <a:rot lat="0" lon="0" rev="0"/>
              </a:camera>
              <a:lightRig rig="balanced" dir="b">
                <a:rot lat="0" lon="0" rev="8700000"/>
              </a:lightRig>
            </a:scene3d>
            <a:sp3d>
              <a:bevelT w="190500" h="38100"/>
            </a:sp3d>
          </p:spPr>
          <p:txBody>
            <a:bodyPr wrap="none" anchor="ctr">
              <a:flatTx/>
            </a:bodyPr>
            <a:lstStyle/>
            <a:p>
              <a:endParaRPr lang="zh-CN" altLang="en-US">
                <a:latin typeface="微软雅黑" panose="020B0503020204020204" pitchFamily="34" charset="-122"/>
                <a:ea typeface="微软雅黑" panose="020B0503020204020204" pitchFamily="34" charset="-122"/>
              </a:endParaRPr>
            </a:p>
          </p:txBody>
        </p:sp>
        <p:sp>
          <p:nvSpPr>
            <p:cNvPr id="8" name="AutoShape 7"/>
            <p:cNvSpPr>
              <a:spLocks noChangeArrowheads="1"/>
            </p:cNvSpPr>
            <p:nvPr/>
          </p:nvSpPr>
          <p:spPr bwMode="auto">
            <a:xfrm rot="1788254">
              <a:off x="4973637" y="3743919"/>
              <a:ext cx="1871663" cy="1857375"/>
            </a:xfrm>
            <a:prstGeom prst="chevron">
              <a:avLst>
                <a:gd name="adj" fmla="val 28631"/>
              </a:avLst>
            </a:prstGeom>
            <a:gradFill>
              <a:gsLst>
                <a:gs pos="85860">
                  <a:schemeClr val="accent2">
                    <a:lumMod val="75000"/>
                  </a:schemeClr>
                </a:gs>
                <a:gs pos="2000">
                  <a:schemeClr val="accent2">
                    <a:lumMod val="60000"/>
                    <a:lumOff val="40000"/>
                  </a:schemeClr>
                </a:gs>
              </a:gsLst>
              <a:lin ang="2700000" scaled="1"/>
            </a:gradFill>
            <a:ln w="9525">
              <a:noFill/>
              <a:miter lim="800000"/>
            </a:ln>
            <a:effectLst>
              <a:outerShdw blurRad="44450" dist="27940" dir="5400000" algn="ctr">
                <a:srgbClr val="000000">
                  <a:alpha val="32000"/>
                </a:srgbClr>
              </a:outerShdw>
            </a:effectLst>
            <a:scene3d>
              <a:camera prst="orthographicFront">
                <a:rot lat="0" lon="0" rev="0"/>
              </a:camera>
              <a:lightRig rig="balanced" dir="b">
                <a:rot lat="0" lon="0" rev="8700000"/>
              </a:lightRig>
            </a:scene3d>
            <a:sp3d>
              <a:bevelT w="190500" h="38100"/>
            </a:sp3d>
          </p:spPr>
          <p:txBody>
            <a:bodyPr wrap="none" anchor="ctr">
              <a:flatTx/>
            </a:bodyPr>
            <a:lstStyle/>
            <a:p>
              <a:endParaRPr lang="zh-CN" altLang="en-US">
                <a:latin typeface="微软雅黑" panose="020B0503020204020204" pitchFamily="34" charset="-122"/>
                <a:ea typeface="微软雅黑" panose="020B0503020204020204" pitchFamily="34" charset="-122"/>
              </a:endParaRPr>
            </a:p>
          </p:txBody>
        </p:sp>
      </p:grpSp>
      <p:sp>
        <p:nvSpPr>
          <p:cNvPr id="9" name="Rectangle 8"/>
          <p:cNvSpPr>
            <a:spLocks noChangeArrowheads="1"/>
          </p:cNvSpPr>
          <p:nvPr/>
        </p:nvSpPr>
        <p:spPr bwMode="auto">
          <a:xfrm>
            <a:off x="3756099" y="1396602"/>
            <a:ext cx="1504950" cy="336550"/>
          </a:xfrm>
          <a:prstGeom prst="rect">
            <a:avLst/>
          </a:prstGeom>
          <a:noFill/>
          <a:ln w="9525">
            <a:noFill/>
            <a:miter lim="800000"/>
          </a:ln>
          <a:effectLst/>
        </p:spPr>
        <p:txBody>
          <a:bodyPr>
            <a:spAutoFit/>
          </a:bodyPr>
          <a:lstStyle/>
          <a:p>
            <a:pPr eaLnBrk="0" hangingPunct="0"/>
            <a:r>
              <a:rPr lang="zh-CN" altLang="en-US" sz="1600" dirty="0">
                <a:solidFill>
                  <a:srgbClr val="FFFBFC"/>
                </a:solidFill>
                <a:latin typeface="微软雅黑" panose="020B0503020204020204" pitchFamily="34" charset="-122"/>
                <a:ea typeface="微软雅黑" panose="020B0503020204020204" pitchFamily="34" charset="-122"/>
              </a:rPr>
              <a:t>点击输入文字</a:t>
            </a:r>
          </a:p>
        </p:txBody>
      </p:sp>
      <p:sp>
        <p:nvSpPr>
          <p:cNvPr id="10" name="Text Box 9"/>
          <p:cNvSpPr txBox="1">
            <a:spLocks noChangeArrowheads="1"/>
          </p:cNvSpPr>
          <p:nvPr/>
        </p:nvSpPr>
        <p:spPr bwMode="auto">
          <a:xfrm>
            <a:off x="5851039" y="865385"/>
            <a:ext cx="1804988" cy="1160318"/>
          </a:xfrm>
          <a:prstGeom prst="rect">
            <a:avLst/>
          </a:prstGeom>
          <a:noFill/>
          <a:ln w="9525">
            <a:noFill/>
            <a:miter lim="800000"/>
          </a:ln>
          <a:effectLst/>
        </p:spPr>
        <p:txBody>
          <a:bodyPr>
            <a:spAutoFit/>
          </a:bodyPr>
          <a:lstStyle/>
          <a:p>
            <a:pPr marL="120650" indent="-120650" algn="l" eaLnBrk="0" hangingPunct="0">
              <a:buFont typeface="Wingdings" panose="05000000000000000000" pitchFamily="2" charset="2"/>
              <a:buNone/>
            </a:pPr>
            <a:r>
              <a:rPr lang="zh-CN" altLang="en-US" sz="1400" b="1" dirty="0">
                <a:solidFill>
                  <a:schemeClr val="bg2">
                    <a:lumMod val="75000"/>
                  </a:schemeClr>
                </a:solidFill>
                <a:latin typeface="微软雅黑" panose="020B0503020204020204" pitchFamily="34" charset="-122"/>
                <a:ea typeface="微软雅黑" panose="020B0503020204020204" pitchFamily="34" charset="-122"/>
              </a:rPr>
              <a:t> </a:t>
            </a:r>
            <a:r>
              <a:rPr lang="zh-CN" altLang="en-US" sz="1600" b="1" dirty="0">
                <a:solidFill>
                  <a:schemeClr val="bg2"/>
                </a:solidFill>
                <a:latin typeface="微软雅黑" panose="020B0503020204020204" pitchFamily="34" charset="-122"/>
                <a:ea typeface="微软雅黑" panose="020B0503020204020204" pitchFamily="34" charset="-122"/>
              </a:rPr>
              <a:t>点击输入文本</a:t>
            </a:r>
          </a:p>
          <a:p>
            <a:pPr marL="120650" indent="-120650" algn="l" eaLnBrk="0" hangingPunct="0">
              <a:buFont typeface="Wingdings" panose="05000000000000000000" pitchFamily="2" charset="2"/>
              <a:buNone/>
            </a:pPr>
            <a:endParaRPr lang="zh-CN" altLang="en-US" sz="1000" b="1" dirty="0">
              <a:solidFill>
                <a:schemeClr val="bg2">
                  <a:lumMod val="75000"/>
                </a:schemeClr>
              </a:solidFill>
              <a:latin typeface="微软雅黑" panose="020B0503020204020204" pitchFamily="34" charset="-122"/>
              <a:ea typeface="微软雅黑" panose="020B0503020204020204" pitchFamily="34" charset="-122"/>
            </a:endParaRPr>
          </a:p>
          <a:p>
            <a:pPr marL="120650" indent="-120650" algn="l">
              <a:lnSpc>
                <a:spcPct val="60000"/>
              </a:lnSpc>
              <a:spcBef>
                <a:spcPct val="50000"/>
              </a:spcBef>
              <a:buClr>
                <a:srgbClr val="1F3F5F"/>
              </a:buClr>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a:p>
            <a:pPr marL="120650" indent="-120650" algn="l">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a:p>
            <a:pPr marL="120650" indent="-120650" algn="l">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p:txBody>
      </p:sp>
      <p:sp>
        <p:nvSpPr>
          <p:cNvPr id="11" name="Rectangle 10"/>
          <p:cNvSpPr>
            <a:spLocks noChangeArrowheads="1"/>
          </p:cNvSpPr>
          <p:nvPr/>
        </p:nvSpPr>
        <p:spPr bwMode="auto">
          <a:xfrm>
            <a:off x="2627784" y="3862363"/>
            <a:ext cx="1504950" cy="336550"/>
          </a:xfrm>
          <a:prstGeom prst="rect">
            <a:avLst/>
          </a:prstGeom>
          <a:noFill/>
          <a:ln w="9525">
            <a:noFill/>
            <a:miter lim="800000"/>
          </a:ln>
          <a:effectLst/>
        </p:spPr>
        <p:txBody>
          <a:bodyPr>
            <a:spAutoFit/>
          </a:bodyPr>
          <a:lstStyle/>
          <a:p>
            <a:pPr eaLnBrk="0" hangingPunct="0"/>
            <a:r>
              <a:rPr lang="zh-CN" altLang="en-US" sz="1600" dirty="0">
                <a:solidFill>
                  <a:srgbClr val="FFFBFC"/>
                </a:solidFill>
                <a:latin typeface="微软雅黑" panose="020B0503020204020204" pitchFamily="34" charset="-122"/>
                <a:ea typeface="微软雅黑" panose="020B0503020204020204" pitchFamily="34" charset="-122"/>
              </a:rPr>
              <a:t>点击输入文字</a:t>
            </a:r>
            <a:endParaRPr lang="zh-CN" altLang="en-US" dirty="0">
              <a:latin typeface="微软雅黑" panose="020B0503020204020204" pitchFamily="34" charset="-122"/>
              <a:ea typeface="微软雅黑" panose="020B0503020204020204" pitchFamily="34" charset="-122"/>
            </a:endParaRPr>
          </a:p>
        </p:txBody>
      </p:sp>
      <p:sp>
        <p:nvSpPr>
          <p:cNvPr id="12" name="Rectangle 11"/>
          <p:cNvSpPr>
            <a:spLocks noChangeArrowheads="1"/>
          </p:cNvSpPr>
          <p:nvPr/>
        </p:nvSpPr>
        <p:spPr bwMode="auto">
          <a:xfrm>
            <a:off x="4905304" y="3860633"/>
            <a:ext cx="1504950" cy="336550"/>
          </a:xfrm>
          <a:prstGeom prst="rect">
            <a:avLst/>
          </a:prstGeom>
          <a:noFill/>
          <a:ln w="9525">
            <a:noFill/>
            <a:miter lim="800000"/>
          </a:ln>
          <a:effectLst/>
        </p:spPr>
        <p:txBody>
          <a:bodyPr>
            <a:spAutoFit/>
          </a:bodyPr>
          <a:lstStyle/>
          <a:p>
            <a:pPr eaLnBrk="0" hangingPunct="0"/>
            <a:r>
              <a:rPr lang="zh-CN" altLang="en-US" sz="1600" dirty="0">
                <a:solidFill>
                  <a:srgbClr val="FFFBFC"/>
                </a:solidFill>
                <a:latin typeface="微软雅黑" panose="020B0503020204020204" pitchFamily="34" charset="-122"/>
                <a:ea typeface="微软雅黑" panose="020B0503020204020204" pitchFamily="34" charset="-122"/>
              </a:rPr>
              <a:t>点击输入文字</a:t>
            </a:r>
            <a:endParaRPr lang="zh-CN" altLang="en-US" dirty="0">
              <a:latin typeface="微软雅黑" panose="020B0503020204020204" pitchFamily="34" charset="-122"/>
              <a:ea typeface="微软雅黑" panose="020B0503020204020204" pitchFamily="34" charset="-122"/>
            </a:endParaRPr>
          </a:p>
        </p:txBody>
      </p:sp>
      <p:sp>
        <p:nvSpPr>
          <p:cNvPr id="13" name="Text Box 12"/>
          <p:cNvSpPr txBox="1">
            <a:spLocks noChangeArrowheads="1"/>
          </p:cNvSpPr>
          <p:nvPr/>
        </p:nvSpPr>
        <p:spPr bwMode="auto">
          <a:xfrm>
            <a:off x="6583437" y="3459758"/>
            <a:ext cx="1804987" cy="1221873"/>
          </a:xfrm>
          <a:prstGeom prst="rect">
            <a:avLst/>
          </a:prstGeom>
          <a:noFill/>
          <a:ln w="9525">
            <a:noFill/>
            <a:miter lim="800000"/>
          </a:ln>
          <a:effectLst/>
        </p:spPr>
        <p:txBody>
          <a:bodyPr>
            <a:spAutoFit/>
          </a:bodyPr>
          <a:lstStyle/>
          <a:p>
            <a:pPr marL="120650" indent="-120650" algn="l" eaLnBrk="0" hangingPunct="0">
              <a:buFont typeface="Wingdings" panose="05000000000000000000" pitchFamily="2" charset="2"/>
              <a:buNone/>
            </a:pPr>
            <a:r>
              <a:rPr lang="zh-CN" altLang="en-US" sz="1400" b="1" dirty="0">
                <a:solidFill>
                  <a:schemeClr val="tx2">
                    <a:lumMod val="75000"/>
                  </a:schemeClr>
                </a:solidFill>
                <a:latin typeface="微软雅黑" panose="020B0503020204020204" pitchFamily="34" charset="-122"/>
                <a:ea typeface="微软雅黑" panose="020B0503020204020204" pitchFamily="34" charset="-122"/>
              </a:rPr>
              <a:t> </a:t>
            </a:r>
            <a:r>
              <a:rPr lang="zh-CN" altLang="en-US" sz="1600" b="1" dirty="0">
                <a:solidFill>
                  <a:schemeClr val="tx2">
                    <a:lumMod val="75000"/>
                  </a:schemeClr>
                </a:solidFill>
                <a:latin typeface="微软雅黑" panose="020B0503020204020204" pitchFamily="34" charset="-122"/>
                <a:ea typeface="微软雅黑" panose="020B0503020204020204" pitchFamily="34" charset="-122"/>
              </a:rPr>
              <a:t>点击输入文本</a:t>
            </a:r>
          </a:p>
          <a:p>
            <a:pPr marL="120650" indent="-120650" algn="l" eaLnBrk="0" hangingPunct="0">
              <a:buFont typeface="Wingdings" panose="05000000000000000000" pitchFamily="2" charset="2"/>
              <a:buNone/>
            </a:pPr>
            <a:endParaRPr lang="zh-CN" altLang="en-US" sz="1400" b="1" dirty="0">
              <a:solidFill>
                <a:schemeClr val="tx2">
                  <a:lumMod val="75000"/>
                </a:schemeClr>
              </a:solidFill>
              <a:latin typeface="微软雅黑" panose="020B0503020204020204" pitchFamily="34" charset="-122"/>
              <a:ea typeface="微软雅黑" panose="020B0503020204020204" pitchFamily="34" charset="-122"/>
            </a:endParaRPr>
          </a:p>
          <a:p>
            <a:pPr marL="120650" indent="-120650" algn="l">
              <a:lnSpc>
                <a:spcPct val="60000"/>
              </a:lnSpc>
              <a:spcBef>
                <a:spcPct val="50000"/>
              </a:spcBef>
              <a:buClr>
                <a:srgbClr val="1F3F5F"/>
              </a:buClr>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a:p>
            <a:pPr marL="120650" indent="-120650" algn="l">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a:p>
            <a:pPr marL="120650" indent="-120650" algn="l">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p:txBody>
      </p:sp>
      <p:sp>
        <p:nvSpPr>
          <p:cNvPr id="14" name="Text Box 13"/>
          <p:cNvSpPr txBox="1">
            <a:spLocks noChangeArrowheads="1"/>
          </p:cNvSpPr>
          <p:nvPr/>
        </p:nvSpPr>
        <p:spPr bwMode="auto">
          <a:xfrm>
            <a:off x="687462" y="2900958"/>
            <a:ext cx="1804987" cy="1160318"/>
          </a:xfrm>
          <a:prstGeom prst="rect">
            <a:avLst/>
          </a:prstGeom>
          <a:noFill/>
          <a:ln w="9525">
            <a:noFill/>
            <a:miter lim="800000"/>
          </a:ln>
          <a:effectLst/>
        </p:spPr>
        <p:txBody>
          <a:bodyPr>
            <a:spAutoFit/>
          </a:bodyPr>
          <a:lstStyle/>
          <a:p>
            <a:pPr marL="120650" indent="-120650" algn="l" eaLnBrk="0" hangingPunct="0">
              <a:buFont typeface="Wingdings" panose="05000000000000000000" pitchFamily="2" charset="2"/>
              <a:buNone/>
            </a:pPr>
            <a:r>
              <a:rPr lang="zh-CN" altLang="en-US" sz="1400" b="1" dirty="0">
                <a:solidFill>
                  <a:schemeClr val="bg2">
                    <a:lumMod val="75000"/>
                  </a:schemeClr>
                </a:solidFill>
                <a:latin typeface="微软雅黑" panose="020B0503020204020204" pitchFamily="34" charset="-122"/>
                <a:ea typeface="微软雅黑" panose="020B0503020204020204" pitchFamily="34" charset="-122"/>
              </a:rPr>
              <a:t> </a:t>
            </a:r>
            <a:r>
              <a:rPr lang="zh-CN" altLang="en-US" sz="1600" b="1" dirty="0">
                <a:solidFill>
                  <a:schemeClr val="bg2"/>
                </a:solidFill>
                <a:latin typeface="微软雅黑" panose="020B0503020204020204" pitchFamily="34" charset="-122"/>
                <a:ea typeface="微软雅黑" panose="020B0503020204020204" pitchFamily="34" charset="-122"/>
              </a:rPr>
              <a:t>点击输入文本</a:t>
            </a:r>
          </a:p>
          <a:p>
            <a:pPr marL="120650" indent="-120650" algn="l" eaLnBrk="0" hangingPunct="0">
              <a:buFont typeface="Wingdings" panose="05000000000000000000" pitchFamily="2" charset="2"/>
              <a:buNone/>
            </a:pPr>
            <a:endParaRPr lang="zh-CN" altLang="en-US" sz="1000" b="1" dirty="0">
              <a:solidFill>
                <a:schemeClr val="bg2">
                  <a:lumMod val="75000"/>
                </a:schemeClr>
              </a:solidFill>
              <a:latin typeface="微软雅黑" panose="020B0503020204020204" pitchFamily="34" charset="-122"/>
              <a:ea typeface="微软雅黑" panose="020B0503020204020204" pitchFamily="34" charset="-122"/>
            </a:endParaRPr>
          </a:p>
          <a:p>
            <a:pPr marL="120650" indent="-120650" algn="l">
              <a:lnSpc>
                <a:spcPct val="60000"/>
              </a:lnSpc>
              <a:spcBef>
                <a:spcPct val="50000"/>
              </a:spcBef>
              <a:buClr>
                <a:srgbClr val="1F3F5F"/>
              </a:buClr>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a:p>
            <a:pPr marL="120650" indent="-120650" algn="l">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a:p>
            <a:pPr marL="120650" indent="-120650" algn="l">
              <a:buFontTx/>
              <a:buChar char="•"/>
            </a:pPr>
            <a:r>
              <a:rPr lang="zh-CN" altLang="en-US" sz="1400" dirty="0">
                <a:solidFill>
                  <a:schemeClr val="tx2">
                    <a:lumMod val="75000"/>
                  </a:schemeClr>
                </a:solidFill>
                <a:latin typeface="微软雅黑" panose="020B0503020204020204" pitchFamily="34" charset="-122"/>
                <a:ea typeface="微软雅黑" panose="020B0503020204020204" pitchFamily="34" charset="-122"/>
              </a:rPr>
              <a:t>点击输入文字</a:t>
            </a:r>
          </a:p>
        </p:txBody>
      </p:sp>
      <p:sp>
        <p:nvSpPr>
          <p:cNvPr id="15" name="Text Box 14"/>
          <p:cNvSpPr txBox="1">
            <a:spLocks noChangeArrowheads="1"/>
          </p:cNvSpPr>
          <p:nvPr/>
        </p:nvSpPr>
        <p:spPr bwMode="auto">
          <a:xfrm>
            <a:off x="3847132" y="2999955"/>
            <a:ext cx="1804988" cy="291875"/>
          </a:xfrm>
          <a:prstGeom prst="rect">
            <a:avLst/>
          </a:prstGeom>
          <a:noFill/>
          <a:ln w="9525">
            <a:noFill/>
            <a:miter lim="800000"/>
          </a:ln>
          <a:effectLst/>
        </p:spPr>
        <p:txBody>
          <a:bodyPr>
            <a:spAutoFit/>
          </a:bodyPr>
          <a:lstStyle/>
          <a:p>
            <a:pPr>
              <a:lnSpc>
                <a:spcPct val="60000"/>
              </a:lnSpc>
              <a:spcBef>
                <a:spcPct val="50000"/>
              </a:spcBef>
              <a:buClr>
                <a:srgbClr val="1F3F5F"/>
              </a:buClr>
            </a:pPr>
            <a:r>
              <a:rPr lang="zh-CN" altLang="en-US" sz="2000" dirty="0">
                <a:solidFill>
                  <a:srgbClr val="1C1C1C"/>
                </a:solidFill>
                <a:latin typeface="微软雅黑" panose="020B0503020204020204" pitchFamily="34" charset="-122"/>
                <a:ea typeface="微软雅黑" panose="020B0503020204020204" pitchFamily="34" charset="-122"/>
              </a:rPr>
              <a:t>填加标题</a:t>
            </a: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360"/>
                                          </p:val>
                                        </p:tav>
                                        <p:tav tm="100000">
                                          <p:val>
                                            <p:fltVal val="0"/>
                                          </p:val>
                                        </p:tav>
                                      </p:tavLst>
                                    </p:anim>
                                    <p:animEffect transition="in" filter="fade">
                                      <p:cBhvr>
                                        <p:cTn id="10" dur="1000"/>
                                        <p:tgtEl>
                                          <p:spTgt spid="5"/>
                                        </p:tgtEl>
                                      </p:cBhvr>
                                    </p:animEffect>
                                  </p:childTnLst>
                                </p:cTn>
                              </p:par>
                            </p:childTnLst>
                          </p:cTn>
                        </p:par>
                        <p:par>
                          <p:cTn id="11" fill="hold">
                            <p:stCondLst>
                              <p:cond delay="1000"/>
                            </p:stCondLst>
                            <p:childTnLst>
                              <p:par>
                                <p:cTn id="12" presetID="23" presetClass="entr" presetSubtype="16"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childTnLst>
                                </p:cTn>
                              </p:par>
                            </p:childTnLst>
                          </p:cTn>
                        </p:par>
                        <p:par>
                          <p:cTn id="16" fill="hold">
                            <p:stCondLst>
                              <p:cond delay="1500"/>
                            </p:stCondLst>
                            <p:childTnLst>
                              <p:par>
                                <p:cTn id="17" presetID="23" presetClass="entr" presetSubtype="16"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w</p:attrName>
                                        </p:attrNameLst>
                                      </p:cBhvr>
                                      <p:tavLst>
                                        <p:tav tm="0">
                                          <p:val>
                                            <p:fltVal val="0"/>
                                          </p:val>
                                        </p:tav>
                                        <p:tav tm="100000">
                                          <p:val>
                                            <p:strVal val="#ppt_w"/>
                                          </p:val>
                                        </p:tav>
                                      </p:tavLst>
                                    </p:anim>
                                    <p:anim calcmode="lin" valueType="num">
                                      <p:cBhvr>
                                        <p:cTn id="20" dur="500" fill="hold"/>
                                        <p:tgtEl>
                                          <p:spTgt spid="3"/>
                                        </p:tgtEl>
                                        <p:attrNameLst>
                                          <p:attrName>ppt_h</p:attrName>
                                        </p:attrNameLst>
                                      </p:cBhvr>
                                      <p:tavLst>
                                        <p:tav tm="0">
                                          <p:val>
                                            <p:fltVal val="0"/>
                                          </p:val>
                                        </p:tav>
                                        <p:tav tm="100000">
                                          <p:val>
                                            <p:strVal val="#ppt_h"/>
                                          </p:val>
                                        </p:tav>
                                      </p:tavLst>
                                    </p:anim>
                                  </p:childTnLst>
                                </p:cTn>
                              </p:par>
                            </p:childTnLst>
                          </p:cTn>
                        </p:par>
                        <p:par>
                          <p:cTn id="21" fill="hold">
                            <p:stCondLst>
                              <p:cond delay="2000"/>
                            </p:stCondLst>
                            <p:childTnLst>
                              <p:par>
                                <p:cTn id="22" presetID="23" presetClass="entr" presetSubtype="16"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 calcmode="lin" valueType="num">
                                      <p:cBhvr>
                                        <p:cTn id="24" dur="500" fill="hold"/>
                                        <p:tgtEl>
                                          <p:spTgt spid="2"/>
                                        </p:tgtEl>
                                        <p:attrNameLst>
                                          <p:attrName>ppt_w</p:attrName>
                                        </p:attrNameLst>
                                      </p:cBhvr>
                                      <p:tavLst>
                                        <p:tav tm="0">
                                          <p:val>
                                            <p:fltVal val="0"/>
                                          </p:val>
                                        </p:tav>
                                        <p:tav tm="100000">
                                          <p:val>
                                            <p:strVal val="#ppt_w"/>
                                          </p:val>
                                        </p:tav>
                                      </p:tavLst>
                                    </p:anim>
                                    <p:anim calcmode="lin" valueType="num">
                                      <p:cBhvr>
                                        <p:cTn id="25" dur="500" fill="hold"/>
                                        <p:tgtEl>
                                          <p:spTgt spid="2"/>
                                        </p:tgtEl>
                                        <p:attrNameLst>
                                          <p:attrName>ppt_h</p:attrName>
                                        </p:attrNameLst>
                                      </p:cBhvr>
                                      <p:tavLst>
                                        <p:tav tm="0">
                                          <p:val>
                                            <p:fltVal val="0"/>
                                          </p:val>
                                        </p:tav>
                                        <p:tav tm="100000">
                                          <p:val>
                                            <p:strVal val="#ppt_h"/>
                                          </p:val>
                                        </p:tav>
                                      </p:tavLst>
                                    </p:anim>
                                  </p:childTnLst>
                                </p:cTn>
                              </p:par>
                            </p:childTnLst>
                          </p:cTn>
                        </p:par>
                        <p:par>
                          <p:cTn id="26" fill="hold">
                            <p:stCondLst>
                              <p:cond delay="2500"/>
                            </p:stCondLst>
                            <p:childTnLst>
                              <p:par>
                                <p:cTn id="27" presetID="12" presetClass="entr" presetSubtype="4" fill="hold" grpId="0" nodeType="after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slide(fromBottom)">
                                      <p:cBhvr>
                                        <p:cTn id="29" dur="500"/>
                                        <p:tgtEl>
                                          <p:spTgt spid="9"/>
                                        </p:tgtEl>
                                      </p:cBhvr>
                                    </p:animEffect>
                                  </p:childTnLst>
                                </p:cTn>
                              </p:par>
                            </p:childTnLst>
                          </p:cTn>
                        </p:par>
                        <p:par>
                          <p:cTn id="30" fill="hold">
                            <p:stCondLst>
                              <p:cond delay="3000"/>
                            </p:stCondLst>
                            <p:childTnLst>
                              <p:par>
                                <p:cTn id="31" presetID="12" presetClass="entr" presetSubtype="4" fill="hold" grpId="0"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slide(fromBottom)">
                                      <p:cBhvr>
                                        <p:cTn id="33" dur="500"/>
                                        <p:tgtEl>
                                          <p:spTgt spid="11"/>
                                        </p:tgtEl>
                                      </p:cBhvr>
                                    </p:animEffect>
                                  </p:childTnLst>
                                </p:cTn>
                              </p:par>
                            </p:childTnLst>
                          </p:cTn>
                        </p:par>
                        <p:par>
                          <p:cTn id="34" fill="hold">
                            <p:stCondLst>
                              <p:cond delay="3500"/>
                            </p:stCondLst>
                            <p:childTnLst>
                              <p:par>
                                <p:cTn id="35" presetID="12" presetClass="entr" presetSubtype="4" fill="hold" grpId="0" nodeType="after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slide(fromBottom)">
                                      <p:cBhvr>
                                        <p:cTn id="37" dur="500"/>
                                        <p:tgtEl>
                                          <p:spTgt spid="12"/>
                                        </p:tgtEl>
                                      </p:cBhvr>
                                    </p:animEffect>
                                  </p:childTnLst>
                                </p:cTn>
                              </p:par>
                            </p:childTnLst>
                          </p:cTn>
                        </p:par>
                        <p:par>
                          <p:cTn id="38" fill="hold">
                            <p:stCondLst>
                              <p:cond delay="4000"/>
                            </p:stCondLst>
                            <p:childTnLst>
                              <p:par>
                                <p:cTn id="39" presetID="12" presetClass="entr" presetSubtype="4" fill="hold" grpId="0"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slide(fromBottom)">
                                      <p:cBhvr>
                                        <p:cTn id="41" dur="500"/>
                                        <p:tgtEl>
                                          <p:spTgt spid="15"/>
                                        </p:tgtEl>
                                      </p:cBhvr>
                                    </p:animEffect>
                                  </p:childTnLst>
                                </p:cTn>
                              </p:par>
                            </p:childTnLst>
                          </p:cTn>
                        </p:par>
                        <p:par>
                          <p:cTn id="42" fill="hold">
                            <p:stCondLst>
                              <p:cond delay="4500"/>
                            </p:stCondLst>
                            <p:childTnLst>
                              <p:par>
                                <p:cTn id="43" presetID="37" presetClass="entr" presetSubtype="0"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1000"/>
                                        <p:tgtEl>
                                          <p:spTgt spid="14"/>
                                        </p:tgtEl>
                                      </p:cBhvr>
                                    </p:animEffect>
                                    <p:anim calcmode="lin" valueType="num">
                                      <p:cBhvr>
                                        <p:cTn id="46" dur="1000" fill="hold"/>
                                        <p:tgtEl>
                                          <p:spTgt spid="14"/>
                                        </p:tgtEl>
                                        <p:attrNameLst>
                                          <p:attrName>ppt_x</p:attrName>
                                        </p:attrNameLst>
                                      </p:cBhvr>
                                      <p:tavLst>
                                        <p:tav tm="0">
                                          <p:val>
                                            <p:strVal val="#ppt_x"/>
                                          </p:val>
                                        </p:tav>
                                        <p:tav tm="100000">
                                          <p:val>
                                            <p:strVal val="#ppt_x"/>
                                          </p:val>
                                        </p:tav>
                                      </p:tavLst>
                                    </p:anim>
                                    <p:anim calcmode="lin" valueType="num">
                                      <p:cBhvr>
                                        <p:cTn id="47" dur="900" decel="100000" fill="hold"/>
                                        <p:tgtEl>
                                          <p:spTgt spid="14"/>
                                        </p:tgtEl>
                                        <p:attrNameLst>
                                          <p:attrName>ppt_y</p:attrName>
                                        </p:attrNameLst>
                                      </p:cBhvr>
                                      <p:tavLst>
                                        <p:tav tm="0">
                                          <p:val>
                                            <p:strVal val="#ppt_y+1"/>
                                          </p:val>
                                        </p:tav>
                                        <p:tav tm="100000">
                                          <p:val>
                                            <p:strVal val="#ppt_y-.03"/>
                                          </p:val>
                                        </p:tav>
                                      </p:tavLst>
                                    </p:anim>
                                    <p:anim calcmode="lin" valueType="num">
                                      <p:cBhvr>
                                        <p:cTn id="48"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49" fill="hold">
                            <p:stCondLst>
                              <p:cond delay="5500"/>
                            </p:stCondLst>
                            <p:childTnLst>
                              <p:par>
                                <p:cTn id="50" presetID="37" presetClass="entr" presetSubtype="0" fill="hold" grpId="0"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1000"/>
                                        <p:tgtEl>
                                          <p:spTgt spid="10"/>
                                        </p:tgtEl>
                                      </p:cBhvr>
                                    </p:animEffect>
                                    <p:anim calcmode="lin" valueType="num">
                                      <p:cBhvr>
                                        <p:cTn id="53" dur="1000" fill="hold"/>
                                        <p:tgtEl>
                                          <p:spTgt spid="10"/>
                                        </p:tgtEl>
                                        <p:attrNameLst>
                                          <p:attrName>ppt_x</p:attrName>
                                        </p:attrNameLst>
                                      </p:cBhvr>
                                      <p:tavLst>
                                        <p:tav tm="0">
                                          <p:val>
                                            <p:strVal val="#ppt_x"/>
                                          </p:val>
                                        </p:tav>
                                        <p:tav tm="100000">
                                          <p:val>
                                            <p:strVal val="#ppt_x"/>
                                          </p:val>
                                        </p:tav>
                                      </p:tavLst>
                                    </p:anim>
                                    <p:anim calcmode="lin" valueType="num">
                                      <p:cBhvr>
                                        <p:cTn id="54" dur="900" decel="100000" fill="hold"/>
                                        <p:tgtEl>
                                          <p:spTgt spid="10"/>
                                        </p:tgtEl>
                                        <p:attrNameLst>
                                          <p:attrName>ppt_y</p:attrName>
                                        </p:attrNameLst>
                                      </p:cBhvr>
                                      <p:tavLst>
                                        <p:tav tm="0">
                                          <p:val>
                                            <p:strVal val="#ppt_y+1"/>
                                          </p:val>
                                        </p:tav>
                                        <p:tav tm="100000">
                                          <p:val>
                                            <p:strVal val="#ppt_y-.03"/>
                                          </p:val>
                                        </p:tav>
                                      </p:tavLst>
                                    </p:anim>
                                    <p:anim calcmode="lin" valueType="num">
                                      <p:cBhvr>
                                        <p:cTn id="55"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id="56" fill="hold">
                            <p:stCondLst>
                              <p:cond delay="6500"/>
                            </p:stCondLst>
                            <p:childTnLst>
                              <p:par>
                                <p:cTn id="57" presetID="37" presetClass="entr" presetSubtype="0" fill="hold" grpId="0" nodeType="after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1000"/>
                                        <p:tgtEl>
                                          <p:spTgt spid="13"/>
                                        </p:tgtEl>
                                      </p:cBhvr>
                                    </p:animEffect>
                                    <p:anim calcmode="lin" valueType="num">
                                      <p:cBhvr>
                                        <p:cTn id="60" dur="1000" fill="hold"/>
                                        <p:tgtEl>
                                          <p:spTgt spid="13"/>
                                        </p:tgtEl>
                                        <p:attrNameLst>
                                          <p:attrName>ppt_x</p:attrName>
                                        </p:attrNameLst>
                                      </p:cBhvr>
                                      <p:tavLst>
                                        <p:tav tm="0">
                                          <p:val>
                                            <p:strVal val="#ppt_x"/>
                                          </p:val>
                                        </p:tav>
                                        <p:tav tm="100000">
                                          <p:val>
                                            <p:strVal val="#ppt_x"/>
                                          </p:val>
                                        </p:tav>
                                      </p:tavLst>
                                    </p:anim>
                                    <p:anim calcmode="lin" valueType="num">
                                      <p:cBhvr>
                                        <p:cTn id="61" dur="900" decel="100000" fill="hold"/>
                                        <p:tgtEl>
                                          <p:spTgt spid="13"/>
                                        </p:tgtEl>
                                        <p:attrNameLst>
                                          <p:attrName>ppt_y</p:attrName>
                                        </p:attrNameLst>
                                      </p:cBhvr>
                                      <p:tavLst>
                                        <p:tav tm="0">
                                          <p:val>
                                            <p:strVal val="#ppt_y+1"/>
                                          </p:val>
                                        </p:tav>
                                        <p:tav tm="100000">
                                          <p:val>
                                            <p:strVal val="#ppt_y-.03"/>
                                          </p:val>
                                        </p:tav>
                                      </p:tavLst>
                                    </p:anim>
                                    <p:anim calcmode="lin" valueType="num">
                                      <p:cBhvr>
                                        <p:cTn id="62"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9" grpId="0"/>
      <p:bldP spid="10" grpId="0"/>
      <p:bldP spid="11" grpId="0"/>
      <p:bldP spid="12" grpId="0"/>
      <p:bldP spid="13" grpId="0"/>
      <p:bldP spid="14" grpId="0"/>
      <p:bldP spid="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9"/>
          <p:cNvGrpSpPr/>
          <p:nvPr/>
        </p:nvGrpSpPr>
        <p:grpSpPr bwMode="auto">
          <a:xfrm>
            <a:off x="6399760" y="298355"/>
            <a:ext cx="1009996" cy="1918992"/>
            <a:chOff x="2241" y="1386"/>
            <a:chExt cx="720" cy="1368"/>
          </a:xfrm>
        </p:grpSpPr>
        <p:sp>
          <p:nvSpPr>
            <p:cNvPr id="52" name="Freeform 10"/>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3" name="Freeform 11"/>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54" name="Freeform 12"/>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solidFill>
              <a:srgbClr val="EAEAEA"/>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5" name="Group 13"/>
          <p:cNvGrpSpPr/>
          <p:nvPr/>
        </p:nvGrpSpPr>
        <p:grpSpPr bwMode="auto">
          <a:xfrm>
            <a:off x="5762902" y="615381"/>
            <a:ext cx="1009996" cy="1918992"/>
            <a:chOff x="2241" y="1386"/>
            <a:chExt cx="720" cy="1368"/>
          </a:xfrm>
        </p:grpSpPr>
        <p:sp>
          <p:nvSpPr>
            <p:cNvPr id="49" name="Freeform 14"/>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gradFill rotWithShape="1">
              <a:gsLst>
                <a:gs pos="0">
                  <a:srgbClr val="3A9707"/>
                </a:gs>
                <a:gs pos="100000">
                  <a:schemeClr val="bg2"/>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0" name="Freeform 15"/>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chemeClr val="bg2"/>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 name="Freeform 16"/>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gradFill rotWithShape="1">
              <a:gsLst>
                <a:gs pos="0">
                  <a:srgbClr val="3A9707"/>
                </a:gs>
                <a:gs pos="99000">
                  <a:schemeClr val="bg2"/>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 name="Group 17"/>
          <p:cNvGrpSpPr/>
          <p:nvPr/>
        </p:nvGrpSpPr>
        <p:grpSpPr bwMode="auto">
          <a:xfrm>
            <a:off x="5127446" y="932408"/>
            <a:ext cx="1009996" cy="1918992"/>
            <a:chOff x="2241" y="1386"/>
            <a:chExt cx="720" cy="1368"/>
          </a:xfrm>
        </p:grpSpPr>
        <p:sp>
          <p:nvSpPr>
            <p:cNvPr id="46" name="Freeform 18"/>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7" name="Freeform 19"/>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8" name="Freeform 20"/>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solidFill>
              <a:srgbClr val="EAEAEA"/>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7" name="Group 21"/>
          <p:cNvGrpSpPr/>
          <p:nvPr/>
        </p:nvGrpSpPr>
        <p:grpSpPr bwMode="auto">
          <a:xfrm>
            <a:off x="4490588" y="1249434"/>
            <a:ext cx="1009996" cy="1918992"/>
            <a:chOff x="2241" y="1386"/>
            <a:chExt cx="720" cy="1368"/>
          </a:xfrm>
        </p:grpSpPr>
        <p:sp>
          <p:nvSpPr>
            <p:cNvPr id="43" name="Freeform 22"/>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4" name="Freeform 23"/>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5" name="Freeform 24"/>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solidFill>
              <a:srgbClr val="EAEAEA"/>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8" name="Group 25"/>
          <p:cNvGrpSpPr/>
          <p:nvPr/>
        </p:nvGrpSpPr>
        <p:grpSpPr bwMode="auto">
          <a:xfrm>
            <a:off x="3855132" y="1566461"/>
            <a:ext cx="1009996" cy="1918992"/>
            <a:chOff x="2241" y="1386"/>
            <a:chExt cx="720" cy="1368"/>
          </a:xfrm>
        </p:grpSpPr>
        <p:sp>
          <p:nvSpPr>
            <p:cNvPr id="40" name="Freeform 26"/>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1" name="Freeform 27"/>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42" name="Freeform 28"/>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solidFill>
              <a:srgbClr val="EAEAEA"/>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9" name="Group 29"/>
          <p:cNvGrpSpPr/>
          <p:nvPr/>
        </p:nvGrpSpPr>
        <p:grpSpPr bwMode="auto">
          <a:xfrm>
            <a:off x="3218274" y="1883487"/>
            <a:ext cx="1009996" cy="1918992"/>
            <a:chOff x="2241" y="1386"/>
            <a:chExt cx="720" cy="1368"/>
          </a:xfrm>
        </p:grpSpPr>
        <p:sp>
          <p:nvSpPr>
            <p:cNvPr id="37" name="Freeform 30"/>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8" name="Freeform 31"/>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39" name="Freeform 32"/>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solidFill>
              <a:srgbClr val="EAEAEA"/>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0" name="Group 33"/>
          <p:cNvGrpSpPr/>
          <p:nvPr/>
        </p:nvGrpSpPr>
        <p:grpSpPr bwMode="auto">
          <a:xfrm>
            <a:off x="2581415" y="2200514"/>
            <a:ext cx="1009996" cy="1918992"/>
            <a:chOff x="2241" y="1386"/>
            <a:chExt cx="720" cy="1368"/>
          </a:xfrm>
        </p:grpSpPr>
        <p:sp>
          <p:nvSpPr>
            <p:cNvPr id="34" name="Freeform 34"/>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solidFill>
              <a:srgbClr val="C0C0C0"/>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5" name="Freeform 35"/>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rgbClr val="808080"/>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sp>
          <p:nvSpPr>
            <p:cNvPr id="36" name="Freeform 36"/>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solidFill>
              <a:srgbClr val="EAEAEA"/>
            </a:soli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zh-CN" altLang="en-US"/>
            </a:p>
          </p:txBody>
        </p:sp>
      </p:grpSp>
      <p:grpSp>
        <p:nvGrpSpPr>
          <p:cNvPr id="11" name="Group 37"/>
          <p:cNvGrpSpPr/>
          <p:nvPr/>
        </p:nvGrpSpPr>
        <p:grpSpPr bwMode="auto">
          <a:xfrm>
            <a:off x="1945960" y="2517540"/>
            <a:ext cx="1009996" cy="1918992"/>
            <a:chOff x="2241" y="1386"/>
            <a:chExt cx="720" cy="1368"/>
          </a:xfrm>
        </p:grpSpPr>
        <p:sp>
          <p:nvSpPr>
            <p:cNvPr id="31" name="Freeform 38"/>
            <p:cNvSpPr/>
            <p:nvPr/>
          </p:nvSpPr>
          <p:spPr bwMode="auto">
            <a:xfrm>
              <a:off x="2241" y="1458"/>
              <a:ext cx="576" cy="1296"/>
            </a:xfrm>
            <a:custGeom>
              <a:avLst/>
              <a:gdLst>
                <a:gd name="T0" fmla="*/ 576 w 576"/>
                <a:gd name="T1" fmla="*/ 288 h 1296"/>
                <a:gd name="T2" fmla="*/ 0 w 576"/>
                <a:gd name="T3" fmla="*/ 0 h 1296"/>
                <a:gd name="T4" fmla="*/ 0 w 576"/>
                <a:gd name="T5" fmla="*/ 1008 h 1296"/>
                <a:gd name="T6" fmla="*/ 576 w 576"/>
                <a:gd name="T7" fmla="*/ 1296 h 1296"/>
                <a:gd name="T8" fmla="*/ 576 w 576"/>
                <a:gd name="T9" fmla="*/ 288 h 1296"/>
              </a:gdLst>
              <a:ahLst/>
              <a:cxnLst>
                <a:cxn ang="0">
                  <a:pos x="T0" y="T1"/>
                </a:cxn>
                <a:cxn ang="0">
                  <a:pos x="T2" y="T3"/>
                </a:cxn>
                <a:cxn ang="0">
                  <a:pos x="T4" y="T5"/>
                </a:cxn>
                <a:cxn ang="0">
                  <a:pos x="T6" y="T7"/>
                </a:cxn>
                <a:cxn ang="0">
                  <a:pos x="T8" y="T9"/>
                </a:cxn>
              </a:cxnLst>
              <a:rect l="0" t="0" r="r" b="b"/>
              <a:pathLst>
                <a:path w="576" h="1296">
                  <a:moveTo>
                    <a:pt x="576" y="288"/>
                  </a:moveTo>
                  <a:lnTo>
                    <a:pt x="0" y="0"/>
                  </a:lnTo>
                  <a:lnTo>
                    <a:pt x="0" y="1008"/>
                  </a:lnTo>
                  <a:lnTo>
                    <a:pt x="576" y="1296"/>
                  </a:lnTo>
                  <a:lnTo>
                    <a:pt x="576" y="288"/>
                  </a:lnTo>
                  <a:close/>
                </a:path>
              </a:pathLst>
            </a:custGeom>
            <a:gradFill rotWithShape="1">
              <a:gsLst>
                <a:gs pos="0">
                  <a:schemeClr val="bg2"/>
                </a:gs>
                <a:gs pos="100000">
                  <a:srgbClr val="3A9707"/>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32" name="Freeform 39"/>
            <p:cNvSpPr/>
            <p:nvPr/>
          </p:nvSpPr>
          <p:spPr bwMode="auto">
            <a:xfrm>
              <a:off x="2817" y="1674"/>
              <a:ext cx="144" cy="1080"/>
            </a:xfrm>
            <a:custGeom>
              <a:avLst/>
              <a:gdLst>
                <a:gd name="T0" fmla="*/ 0 w 144"/>
                <a:gd name="T1" fmla="*/ 72 h 1080"/>
                <a:gd name="T2" fmla="*/ 144 w 144"/>
                <a:gd name="T3" fmla="*/ 0 h 1080"/>
                <a:gd name="T4" fmla="*/ 144 w 144"/>
                <a:gd name="T5" fmla="*/ 1008 h 1080"/>
                <a:gd name="T6" fmla="*/ 0 w 144"/>
                <a:gd name="T7" fmla="*/ 1080 h 1080"/>
                <a:gd name="T8" fmla="*/ 0 w 144"/>
                <a:gd name="T9" fmla="*/ 72 h 1080"/>
              </a:gdLst>
              <a:ahLst/>
              <a:cxnLst>
                <a:cxn ang="0">
                  <a:pos x="T0" y="T1"/>
                </a:cxn>
                <a:cxn ang="0">
                  <a:pos x="T2" y="T3"/>
                </a:cxn>
                <a:cxn ang="0">
                  <a:pos x="T4" y="T5"/>
                </a:cxn>
                <a:cxn ang="0">
                  <a:pos x="T6" y="T7"/>
                </a:cxn>
                <a:cxn ang="0">
                  <a:pos x="T8" y="T9"/>
                </a:cxn>
              </a:cxnLst>
              <a:rect l="0" t="0" r="r" b="b"/>
              <a:pathLst>
                <a:path w="144" h="1080">
                  <a:moveTo>
                    <a:pt x="0" y="72"/>
                  </a:moveTo>
                  <a:lnTo>
                    <a:pt x="144" y="0"/>
                  </a:lnTo>
                  <a:lnTo>
                    <a:pt x="144" y="1008"/>
                  </a:lnTo>
                  <a:lnTo>
                    <a:pt x="0" y="1080"/>
                  </a:lnTo>
                  <a:lnTo>
                    <a:pt x="0" y="72"/>
                  </a:lnTo>
                  <a:close/>
                </a:path>
              </a:pathLst>
            </a:custGeom>
            <a:solidFill>
              <a:schemeClr val="bg2"/>
            </a:soli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sp>
          <p:nvSpPr>
            <p:cNvPr id="33" name="Freeform 40"/>
            <p:cNvSpPr/>
            <p:nvPr/>
          </p:nvSpPr>
          <p:spPr bwMode="auto">
            <a:xfrm>
              <a:off x="2241" y="1386"/>
              <a:ext cx="720" cy="360"/>
            </a:xfrm>
            <a:custGeom>
              <a:avLst/>
              <a:gdLst>
                <a:gd name="T0" fmla="*/ 720 w 720"/>
                <a:gd name="T1" fmla="*/ 288 h 360"/>
                <a:gd name="T2" fmla="*/ 144 w 720"/>
                <a:gd name="T3" fmla="*/ 0 h 360"/>
                <a:gd name="T4" fmla="*/ 0 w 720"/>
                <a:gd name="T5" fmla="*/ 72 h 360"/>
                <a:gd name="T6" fmla="*/ 576 w 720"/>
                <a:gd name="T7" fmla="*/ 360 h 360"/>
                <a:gd name="T8" fmla="*/ 720 w 720"/>
                <a:gd name="T9" fmla="*/ 288 h 360"/>
              </a:gdLst>
              <a:ahLst/>
              <a:cxnLst>
                <a:cxn ang="0">
                  <a:pos x="T0" y="T1"/>
                </a:cxn>
                <a:cxn ang="0">
                  <a:pos x="T2" y="T3"/>
                </a:cxn>
                <a:cxn ang="0">
                  <a:pos x="T4" y="T5"/>
                </a:cxn>
                <a:cxn ang="0">
                  <a:pos x="T6" y="T7"/>
                </a:cxn>
                <a:cxn ang="0">
                  <a:pos x="T8" y="T9"/>
                </a:cxn>
              </a:cxnLst>
              <a:rect l="0" t="0" r="r" b="b"/>
              <a:pathLst>
                <a:path w="720" h="360">
                  <a:moveTo>
                    <a:pt x="720" y="288"/>
                  </a:moveTo>
                  <a:lnTo>
                    <a:pt x="144" y="0"/>
                  </a:lnTo>
                  <a:lnTo>
                    <a:pt x="0" y="72"/>
                  </a:lnTo>
                  <a:lnTo>
                    <a:pt x="576" y="360"/>
                  </a:lnTo>
                  <a:lnTo>
                    <a:pt x="720" y="288"/>
                  </a:lnTo>
                  <a:close/>
                </a:path>
              </a:pathLst>
            </a:custGeom>
            <a:gradFill rotWithShape="1">
              <a:gsLst>
                <a:gs pos="0">
                  <a:schemeClr val="bg2"/>
                </a:gs>
                <a:gs pos="100000">
                  <a:srgbClr val="3A9707"/>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sp>
        <p:nvSpPr>
          <p:cNvPr id="12" name="Freeform 41"/>
          <p:cNvSpPr/>
          <p:nvPr/>
        </p:nvSpPr>
        <p:spPr bwMode="auto">
          <a:xfrm>
            <a:off x="2955955" y="4499657"/>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1000">
                <a:schemeClr val="bg2"/>
              </a:gs>
              <a:gs pos="100000">
                <a:srgbClr val="FFC800">
                  <a:gamma/>
                  <a:tint val="0"/>
                  <a:invGamma/>
                  <a:alpha val="0"/>
                </a:srgbClr>
              </a:gs>
            </a:gsLst>
            <a:lin ang="5400000" scaled="1"/>
          </a:gradFill>
          <a:ln>
            <a:noFill/>
          </a:ln>
        </p:spPr>
        <p:txBody>
          <a:bodyPr/>
          <a:lstStyle/>
          <a:p>
            <a:endParaRPr lang="zh-CN" altLang="en-US"/>
          </a:p>
        </p:txBody>
      </p:sp>
      <p:sp>
        <p:nvSpPr>
          <p:cNvPr id="13" name="Freeform 42"/>
          <p:cNvSpPr/>
          <p:nvPr/>
        </p:nvSpPr>
        <p:spPr bwMode="auto">
          <a:xfrm>
            <a:off x="888270" y="4269602"/>
            <a:ext cx="1413994" cy="706997"/>
          </a:xfrm>
          <a:custGeom>
            <a:avLst/>
            <a:gdLst>
              <a:gd name="T0" fmla="*/ 432 w 1008"/>
              <a:gd name="T1" fmla="*/ 432 h 504"/>
              <a:gd name="T2" fmla="*/ 576 w 1008"/>
              <a:gd name="T3" fmla="*/ 504 h 504"/>
              <a:gd name="T4" fmla="*/ 0 w 1008"/>
              <a:gd name="T5" fmla="*/ 504 h 504"/>
              <a:gd name="T6" fmla="*/ 0 w 1008"/>
              <a:gd name="T7" fmla="*/ 216 h 504"/>
              <a:gd name="T8" fmla="*/ 144 w 1008"/>
              <a:gd name="T9" fmla="*/ 288 h 504"/>
              <a:gd name="T10" fmla="*/ 720 w 1008"/>
              <a:gd name="T11" fmla="*/ 0 h 504"/>
              <a:gd name="T12" fmla="*/ 1008 w 1008"/>
              <a:gd name="T13" fmla="*/ 144 h 504"/>
              <a:gd name="T14" fmla="*/ 432 w 1008"/>
              <a:gd name="T15" fmla="*/ 43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432"/>
                </a:moveTo>
                <a:lnTo>
                  <a:pt x="576" y="504"/>
                </a:lnTo>
                <a:lnTo>
                  <a:pt x="0" y="504"/>
                </a:lnTo>
                <a:lnTo>
                  <a:pt x="0" y="216"/>
                </a:lnTo>
                <a:lnTo>
                  <a:pt x="144" y="288"/>
                </a:lnTo>
                <a:lnTo>
                  <a:pt x="720" y="0"/>
                </a:lnTo>
                <a:lnTo>
                  <a:pt x="1008" y="144"/>
                </a:lnTo>
                <a:lnTo>
                  <a:pt x="432" y="432"/>
                </a:lnTo>
                <a:close/>
              </a:path>
            </a:pathLst>
          </a:custGeom>
          <a:gradFill rotWithShape="1">
            <a:gsLst>
              <a:gs pos="0">
                <a:schemeClr val="bg2">
                  <a:gamma/>
                  <a:tint val="0"/>
                  <a:invGamma/>
                  <a:alpha val="0"/>
                </a:schemeClr>
              </a:gs>
              <a:gs pos="100000">
                <a:schemeClr val="bg2"/>
              </a:gs>
            </a:gsLst>
            <a:lin ang="5400000" scaled="1"/>
          </a:gradFill>
          <a:ln>
            <a:noFill/>
          </a:ln>
          <a:extLst>
            <a:ext uri="{91240B29-F687-4F45-9708-019B960494DF}">
              <a14:hiddenLine xmlns:a14="http://schemas.microsoft.com/office/drawing/2010/main" w="12700">
                <a:solidFill>
                  <a:srgbClr val="000000"/>
                </a:solidFill>
                <a:prstDash val="solid"/>
                <a:round/>
              </a14:hiddenLine>
            </a:ext>
          </a:extLst>
        </p:spPr>
        <p:txBody>
          <a:bodyPr/>
          <a:lstStyle/>
          <a:p>
            <a:endParaRPr lang="zh-CN" altLang="en-US"/>
          </a:p>
        </p:txBody>
      </p:sp>
      <p:sp>
        <p:nvSpPr>
          <p:cNvPr id="14" name="Freeform 43"/>
          <p:cNvSpPr/>
          <p:nvPr/>
        </p:nvSpPr>
        <p:spPr bwMode="auto">
          <a:xfrm>
            <a:off x="3592814" y="4181227"/>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chemeClr val="tx1">
                  <a:alpha val="25000"/>
                </a:schemeClr>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5" name="Freeform 44"/>
          <p:cNvSpPr/>
          <p:nvPr/>
        </p:nvSpPr>
        <p:spPr bwMode="auto">
          <a:xfrm>
            <a:off x="4228269" y="3862798"/>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chemeClr val="tx1">
                  <a:alpha val="25000"/>
                </a:schemeClr>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6" name="Freeform 45"/>
          <p:cNvSpPr/>
          <p:nvPr/>
        </p:nvSpPr>
        <p:spPr bwMode="auto">
          <a:xfrm>
            <a:off x="4865128" y="3545772"/>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chemeClr val="tx1">
                  <a:alpha val="25000"/>
                </a:schemeClr>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7" name="Freeform 46"/>
          <p:cNvSpPr/>
          <p:nvPr/>
        </p:nvSpPr>
        <p:spPr bwMode="auto">
          <a:xfrm>
            <a:off x="5501986" y="3227343"/>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chemeClr val="tx1">
                  <a:alpha val="25000"/>
                </a:schemeClr>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8" name="Freeform 47"/>
          <p:cNvSpPr/>
          <p:nvPr/>
        </p:nvSpPr>
        <p:spPr bwMode="auto">
          <a:xfrm>
            <a:off x="6137442" y="2908913"/>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chemeClr val="tx1">
                  <a:alpha val="25000"/>
                </a:schemeClr>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9" name="Freeform 48"/>
          <p:cNvSpPr/>
          <p:nvPr/>
        </p:nvSpPr>
        <p:spPr bwMode="auto">
          <a:xfrm>
            <a:off x="6774300" y="2590484"/>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rgbClr val="3A9707"/>
              </a:gs>
              <a:gs pos="100000">
                <a:srgbClr val="00C8FF">
                  <a:gamma/>
                  <a:tint val="0"/>
                  <a:invGamma/>
                  <a:alpha val="0"/>
                </a:srgbClr>
              </a:gs>
            </a:gsLst>
            <a:lin ang="5400000" scaled="1"/>
          </a:gradFill>
          <a:ln>
            <a:noFill/>
          </a:ln>
          <a:effectLst/>
        </p:spPr>
        <p:txBody>
          <a:bodyPr/>
          <a:lstStyle/>
          <a:p>
            <a:endParaRPr lang="zh-CN" altLang="en-US"/>
          </a:p>
        </p:txBody>
      </p:sp>
      <p:sp>
        <p:nvSpPr>
          <p:cNvPr id="20" name="Freeform 49"/>
          <p:cNvSpPr/>
          <p:nvPr/>
        </p:nvSpPr>
        <p:spPr bwMode="auto">
          <a:xfrm>
            <a:off x="7411159" y="2272055"/>
            <a:ext cx="770122" cy="385762"/>
          </a:xfrm>
          <a:custGeom>
            <a:avLst/>
            <a:gdLst>
              <a:gd name="T0" fmla="*/ 432 w 1008"/>
              <a:gd name="T1" fmla="*/ 72 h 504"/>
              <a:gd name="T2" fmla="*/ 576 w 1008"/>
              <a:gd name="T3" fmla="*/ 0 h 504"/>
              <a:gd name="T4" fmla="*/ 0 w 1008"/>
              <a:gd name="T5" fmla="*/ 0 h 504"/>
              <a:gd name="T6" fmla="*/ 0 w 1008"/>
              <a:gd name="T7" fmla="*/ 288 h 504"/>
              <a:gd name="T8" fmla="*/ 144 w 1008"/>
              <a:gd name="T9" fmla="*/ 216 h 504"/>
              <a:gd name="T10" fmla="*/ 720 w 1008"/>
              <a:gd name="T11" fmla="*/ 504 h 504"/>
              <a:gd name="T12" fmla="*/ 1008 w 1008"/>
              <a:gd name="T13" fmla="*/ 360 h 504"/>
              <a:gd name="T14" fmla="*/ 432 w 1008"/>
              <a:gd name="T15" fmla="*/ 72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8" h="504">
                <a:moveTo>
                  <a:pt x="432" y="72"/>
                </a:moveTo>
                <a:lnTo>
                  <a:pt x="576" y="0"/>
                </a:lnTo>
                <a:lnTo>
                  <a:pt x="0" y="0"/>
                </a:lnTo>
                <a:lnTo>
                  <a:pt x="0" y="288"/>
                </a:lnTo>
                <a:lnTo>
                  <a:pt x="144" y="216"/>
                </a:lnTo>
                <a:lnTo>
                  <a:pt x="720" y="504"/>
                </a:lnTo>
                <a:lnTo>
                  <a:pt x="1008" y="360"/>
                </a:lnTo>
                <a:lnTo>
                  <a:pt x="432" y="72"/>
                </a:lnTo>
                <a:close/>
              </a:path>
            </a:pathLst>
          </a:custGeom>
          <a:gradFill rotWithShape="1">
            <a:gsLst>
              <a:gs pos="0">
                <a:schemeClr val="tx1">
                  <a:alpha val="25000"/>
                </a:schemeClr>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8" name="Text Box 41"/>
          <p:cNvSpPr txBox="1">
            <a:spLocks noChangeArrowheads="1"/>
          </p:cNvSpPr>
          <p:nvPr/>
        </p:nvSpPr>
        <p:spPr bwMode="auto">
          <a:xfrm>
            <a:off x="539552" y="627534"/>
            <a:ext cx="2844800" cy="1184940"/>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lvl="2" defTabSz="913130" eaLnBrk="0" hangingPunct="0">
              <a:buClr>
                <a:srgbClr val="0070C0"/>
              </a:buClr>
              <a:buSzPct val="80000"/>
              <a:tabLst>
                <a:tab pos="136525" algn="l"/>
              </a:tabLst>
              <a:defRPr/>
            </a:pP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600" b="1" dirty="0">
                <a:solidFill>
                  <a:schemeClr val="bg1">
                    <a:lumMod val="50000"/>
                  </a:schemeClr>
                </a:solidFill>
                <a:latin typeface="微软雅黑" panose="020B0503020204020204" pitchFamily="34" charset="-122"/>
                <a:ea typeface="微软雅黑" panose="020B0503020204020204" pitchFamily="34" charset="-122"/>
              </a:rPr>
              <a:t>单击填加标题</a:t>
            </a:r>
            <a:endParaRPr lang="en-US" altLang="ko-KR" sz="1600" b="1" dirty="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bg1">
                    <a:lumMod val="50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bg1">
                  <a:lumMod val="50000"/>
                </a:schemeClr>
              </a:solidFill>
              <a:latin typeface="微软雅黑" panose="020B0503020204020204" pitchFamily="34" charset="-122"/>
              <a:ea typeface="微软雅黑" panose="020B0503020204020204" pitchFamily="34" charset="-122"/>
            </a:endParaRPr>
          </a:p>
        </p:txBody>
      </p:sp>
      <p:sp>
        <p:nvSpPr>
          <p:cNvPr id="59" name="Text Box 45"/>
          <p:cNvSpPr txBox="1">
            <a:spLocks noChangeArrowheads="1"/>
          </p:cNvSpPr>
          <p:nvPr/>
        </p:nvSpPr>
        <p:spPr bwMode="auto">
          <a:xfrm>
            <a:off x="5701424" y="4176491"/>
            <a:ext cx="2903024" cy="6463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anim calcmode="lin" valueType="num">
                                      <p:cBhvr>
                                        <p:cTn id="13" dur="500" fill="hold"/>
                                        <p:tgtEl>
                                          <p:spTgt spid="10"/>
                                        </p:tgtEl>
                                        <p:attrNameLst>
                                          <p:attrName>ppt_x</p:attrName>
                                        </p:attrNameLst>
                                      </p:cBhvr>
                                      <p:tavLst>
                                        <p:tav tm="0">
                                          <p:val>
                                            <p:strVal val="#ppt_x"/>
                                          </p:val>
                                        </p:tav>
                                        <p:tav tm="100000">
                                          <p:val>
                                            <p:strVal val="#ppt_x"/>
                                          </p:val>
                                        </p:tav>
                                      </p:tavLst>
                                    </p:anim>
                                    <p:anim calcmode="lin" valueType="num">
                                      <p:cBhvr>
                                        <p:cTn id="14" dur="500" fill="hold"/>
                                        <p:tgtEl>
                                          <p:spTgt spid="1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2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anim calcmode="lin" valueType="num">
                                      <p:cBhvr>
                                        <p:cTn id="18" dur="500" fill="hold"/>
                                        <p:tgtEl>
                                          <p:spTgt spid="9"/>
                                        </p:tgtEl>
                                        <p:attrNameLst>
                                          <p:attrName>ppt_x</p:attrName>
                                        </p:attrNameLst>
                                      </p:cBhvr>
                                      <p:tavLst>
                                        <p:tav tm="0">
                                          <p:val>
                                            <p:strVal val="#ppt_x"/>
                                          </p:val>
                                        </p:tav>
                                        <p:tav tm="100000">
                                          <p:val>
                                            <p:strVal val="#ppt_x"/>
                                          </p:val>
                                        </p:tav>
                                      </p:tavLst>
                                    </p:anim>
                                    <p:anim calcmode="lin" valueType="num">
                                      <p:cBhvr>
                                        <p:cTn id="19" dur="500" fill="hold"/>
                                        <p:tgtEl>
                                          <p:spTgt spid="9"/>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3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anim calcmode="lin" valueType="num">
                                      <p:cBhvr>
                                        <p:cTn id="23" dur="500" fill="hold"/>
                                        <p:tgtEl>
                                          <p:spTgt spid="8"/>
                                        </p:tgtEl>
                                        <p:attrNameLst>
                                          <p:attrName>ppt_x</p:attrName>
                                        </p:attrNameLst>
                                      </p:cBhvr>
                                      <p:tavLst>
                                        <p:tav tm="0">
                                          <p:val>
                                            <p:strVal val="#ppt_x"/>
                                          </p:val>
                                        </p:tav>
                                        <p:tav tm="100000">
                                          <p:val>
                                            <p:strVal val="#ppt_x"/>
                                          </p:val>
                                        </p:tav>
                                      </p:tavLst>
                                    </p:anim>
                                    <p:anim calcmode="lin" valueType="num">
                                      <p:cBhvr>
                                        <p:cTn id="24" dur="5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4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anim calcmode="lin" valueType="num">
                                      <p:cBhvr>
                                        <p:cTn id="28" dur="500" fill="hold"/>
                                        <p:tgtEl>
                                          <p:spTgt spid="7"/>
                                        </p:tgtEl>
                                        <p:attrNameLst>
                                          <p:attrName>ppt_x</p:attrName>
                                        </p:attrNameLst>
                                      </p:cBhvr>
                                      <p:tavLst>
                                        <p:tav tm="0">
                                          <p:val>
                                            <p:strVal val="#ppt_x"/>
                                          </p:val>
                                        </p:tav>
                                        <p:tav tm="100000">
                                          <p:val>
                                            <p:strVal val="#ppt_x"/>
                                          </p:val>
                                        </p:tav>
                                      </p:tavLst>
                                    </p:anim>
                                    <p:anim calcmode="lin" valueType="num">
                                      <p:cBhvr>
                                        <p:cTn id="29" dur="500" fill="hold"/>
                                        <p:tgtEl>
                                          <p:spTgt spid="7"/>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5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anim calcmode="lin" valueType="num">
                                      <p:cBhvr>
                                        <p:cTn id="33" dur="500" fill="hold"/>
                                        <p:tgtEl>
                                          <p:spTgt spid="6"/>
                                        </p:tgtEl>
                                        <p:attrNameLst>
                                          <p:attrName>ppt_x</p:attrName>
                                        </p:attrNameLst>
                                      </p:cBhvr>
                                      <p:tavLst>
                                        <p:tav tm="0">
                                          <p:val>
                                            <p:strVal val="#ppt_x"/>
                                          </p:val>
                                        </p:tav>
                                        <p:tav tm="100000">
                                          <p:val>
                                            <p:strVal val="#ppt_x"/>
                                          </p:val>
                                        </p:tav>
                                      </p:tavLst>
                                    </p:anim>
                                    <p:anim calcmode="lin" valueType="num">
                                      <p:cBhvr>
                                        <p:cTn id="34" dur="500" fill="hold"/>
                                        <p:tgtEl>
                                          <p:spTgt spid="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60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anim calcmode="lin" valueType="num">
                                      <p:cBhvr>
                                        <p:cTn id="38" dur="500" fill="hold"/>
                                        <p:tgtEl>
                                          <p:spTgt spid="5"/>
                                        </p:tgtEl>
                                        <p:attrNameLst>
                                          <p:attrName>ppt_x</p:attrName>
                                        </p:attrNameLst>
                                      </p:cBhvr>
                                      <p:tavLst>
                                        <p:tav tm="0">
                                          <p:val>
                                            <p:strVal val="#ppt_x"/>
                                          </p:val>
                                        </p:tav>
                                        <p:tav tm="100000">
                                          <p:val>
                                            <p:strVal val="#ppt_x"/>
                                          </p:val>
                                        </p:tav>
                                      </p:tavLst>
                                    </p:anim>
                                    <p:anim calcmode="lin" valueType="num">
                                      <p:cBhvr>
                                        <p:cTn id="39" dur="500" fill="hold"/>
                                        <p:tgtEl>
                                          <p:spTgt spid="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70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anim calcmode="lin" valueType="num">
                                      <p:cBhvr>
                                        <p:cTn id="43" dur="500" fill="hold"/>
                                        <p:tgtEl>
                                          <p:spTgt spid="4"/>
                                        </p:tgtEl>
                                        <p:attrNameLst>
                                          <p:attrName>ppt_x</p:attrName>
                                        </p:attrNameLst>
                                      </p:cBhvr>
                                      <p:tavLst>
                                        <p:tav tm="0">
                                          <p:val>
                                            <p:strVal val="#ppt_x"/>
                                          </p:val>
                                        </p:tav>
                                        <p:tav tm="100000">
                                          <p:val>
                                            <p:strVal val="#ppt_x"/>
                                          </p:val>
                                        </p:tav>
                                      </p:tavLst>
                                    </p:anim>
                                    <p:anim calcmode="lin" valueType="num">
                                      <p:cBhvr>
                                        <p:cTn id="44" dur="5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2" presetClass="entr" presetSubtype="2"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wipe(right)">
                                      <p:cBhvr>
                                        <p:cTn id="49" dur="500"/>
                                        <p:tgtEl>
                                          <p:spTgt spid="13"/>
                                        </p:tgtEl>
                                      </p:cBhvr>
                                    </p:animEffect>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anim calcmode="lin" valueType="num">
                                      <p:cBhvr>
                                        <p:cTn id="55" dur="500" fill="hold"/>
                                        <p:tgtEl>
                                          <p:spTgt spid="12"/>
                                        </p:tgtEl>
                                        <p:attrNameLst>
                                          <p:attrName>ppt_x</p:attrName>
                                        </p:attrNameLst>
                                      </p:cBhvr>
                                      <p:tavLst>
                                        <p:tav tm="0">
                                          <p:val>
                                            <p:strVal val="#ppt_x"/>
                                          </p:val>
                                        </p:tav>
                                        <p:tav tm="100000">
                                          <p:val>
                                            <p:strVal val="#ppt_x"/>
                                          </p:val>
                                        </p:tav>
                                      </p:tavLst>
                                    </p:anim>
                                    <p:anim calcmode="lin" valueType="num">
                                      <p:cBhvr>
                                        <p:cTn id="56"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fade">
                                      <p:cBhvr>
                                        <p:cTn id="61" dur="500"/>
                                        <p:tgtEl>
                                          <p:spTgt spid="19"/>
                                        </p:tgtEl>
                                      </p:cBhvr>
                                    </p:animEffect>
                                    <p:anim calcmode="lin" valueType="num">
                                      <p:cBhvr>
                                        <p:cTn id="62" dur="500" fill="hold"/>
                                        <p:tgtEl>
                                          <p:spTgt spid="19"/>
                                        </p:tgtEl>
                                        <p:attrNameLst>
                                          <p:attrName>ppt_x</p:attrName>
                                        </p:attrNameLst>
                                      </p:cBhvr>
                                      <p:tavLst>
                                        <p:tav tm="0">
                                          <p:val>
                                            <p:strVal val="#ppt_x"/>
                                          </p:val>
                                        </p:tav>
                                        <p:tav tm="100000">
                                          <p:val>
                                            <p:strVal val="#ppt_x"/>
                                          </p:val>
                                        </p:tav>
                                      </p:tavLst>
                                    </p:anim>
                                    <p:anim calcmode="lin" valueType="num">
                                      <p:cBhvr>
                                        <p:cTn id="63" dur="500" fill="hold"/>
                                        <p:tgtEl>
                                          <p:spTgt spid="19"/>
                                        </p:tgtEl>
                                        <p:attrNameLst>
                                          <p:attrName>ppt_y</p:attrName>
                                        </p:attrNameLst>
                                      </p:cBhvr>
                                      <p:tavLst>
                                        <p:tav tm="0">
                                          <p:val>
                                            <p:strVal val="#ppt_y+.1"/>
                                          </p:val>
                                        </p:tav>
                                        <p:tav tm="100000">
                                          <p:val>
                                            <p:strVal val="#ppt_y"/>
                                          </p:val>
                                        </p:tav>
                                      </p:tavLst>
                                    </p:anim>
                                  </p:childTnLst>
                                </p:cTn>
                              </p:par>
                            </p:childTnLst>
                          </p:cTn>
                        </p:par>
                        <p:par>
                          <p:cTn id="64" fill="hold">
                            <p:stCondLst>
                              <p:cond delay="500"/>
                            </p:stCondLst>
                            <p:childTnLst>
                              <p:par>
                                <p:cTn id="65" presetID="42" presetClass="entr" presetSubtype="0" fill="hold" grpId="0" nodeType="afterEffect">
                                  <p:stCondLst>
                                    <p:cond delay="0"/>
                                  </p:stCondLst>
                                  <p:childTnLst>
                                    <p:set>
                                      <p:cBhvr>
                                        <p:cTn id="66" dur="1" fill="hold">
                                          <p:stCondLst>
                                            <p:cond delay="0"/>
                                          </p:stCondLst>
                                        </p:cTn>
                                        <p:tgtEl>
                                          <p:spTgt spid="58"/>
                                        </p:tgtEl>
                                        <p:attrNameLst>
                                          <p:attrName>style.visibility</p:attrName>
                                        </p:attrNameLst>
                                      </p:cBhvr>
                                      <p:to>
                                        <p:strVal val="visible"/>
                                      </p:to>
                                    </p:set>
                                    <p:animEffect transition="in" filter="fade">
                                      <p:cBhvr>
                                        <p:cTn id="67" dur="500"/>
                                        <p:tgtEl>
                                          <p:spTgt spid="58"/>
                                        </p:tgtEl>
                                      </p:cBhvr>
                                    </p:animEffect>
                                    <p:anim calcmode="lin" valueType="num">
                                      <p:cBhvr>
                                        <p:cTn id="68" dur="500" fill="hold"/>
                                        <p:tgtEl>
                                          <p:spTgt spid="58"/>
                                        </p:tgtEl>
                                        <p:attrNameLst>
                                          <p:attrName>ppt_x</p:attrName>
                                        </p:attrNameLst>
                                      </p:cBhvr>
                                      <p:tavLst>
                                        <p:tav tm="0">
                                          <p:val>
                                            <p:strVal val="#ppt_x"/>
                                          </p:val>
                                        </p:tav>
                                        <p:tav tm="100000">
                                          <p:val>
                                            <p:strVal val="#ppt_x"/>
                                          </p:val>
                                        </p:tav>
                                      </p:tavLst>
                                    </p:anim>
                                    <p:anim calcmode="lin" valueType="num">
                                      <p:cBhvr>
                                        <p:cTn id="69" dur="500" fill="hold"/>
                                        <p:tgtEl>
                                          <p:spTgt spid="58"/>
                                        </p:tgtEl>
                                        <p:attrNameLst>
                                          <p:attrName>ppt_y</p:attrName>
                                        </p:attrNameLst>
                                      </p:cBhvr>
                                      <p:tavLst>
                                        <p:tav tm="0">
                                          <p:val>
                                            <p:strVal val="#ppt_y+.1"/>
                                          </p:val>
                                        </p:tav>
                                        <p:tav tm="100000">
                                          <p:val>
                                            <p:strVal val="#ppt_y"/>
                                          </p:val>
                                        </p:tav>
                                      </p:tavLst>
                                    </p:anim>
                                  </p:childTnLst>
                                </p:cTn>
                              </p:par>
                            </p:childTnLst>
                          </p:cTn>
                        </p:par>
                        <p:par>
                          <p:cTn id="70" fill="hold">
                            <p:stCondLst>
                              <p:cond delay="1000"/>
                            </p:stCondLst>
                            <p:childTnLst>
                              <p:par>
                                <p:cTn id="71" presetID="42" presetClass="entr" presetSubtype="0" fill="hold" grpId="0" nodeType="afterEffect">
                                  <p:stCondLst>
                                    <p:cond delay="0"/>
                                  </p:stCondLst>
                                  <p:childTnLst>
                                    <p:set>
                                      <p:cBhvr>
                                        <p:cTn id="72" dur="1" fill="hold">
                                          <p:stCondLst>
                                            <p:cond delay="0"/>
                                          </p:stCondLst>
                                        </p:cTn>
                                        <p:tgtEl>
                                          <p:spTgt spid="59"/>
                                        </p:tgtEl>
                                        <p:attrNameLst>
                                          <p:attrName>style.visibility</p:attrName>
                                        </p:attrNameLst>
                                      </p:cBhvr>
                                      <p:to>
                                        <p:strVal val="visible"/>
                                      </p:to>
                                    </p:set>
                                    <p:animEffect transition="in" filter="fade">
                                      <p:cBhvr>
                                        <p:cTn id="73" dur="500"/>
                                        <p:tgtEl>
                                          <p:spTgt spid="59"/>
                                        </p:tgtEl>
                                      </p:cBhvr>
                                    </p:animEffect>
                                    <p:anim calcmode="lin" valueType="num">
                                      <p:cBhvr>
                                        <p:cTn id="74" dur="500" fill="hold"/>
                                        <p:tgtEl>
                                          <p:spTgt spid="59"/>
                                        </p:tgtEl>
                                        <p:attrNameLst>
                                          <p:attrName>ppt_x</p:attrName>
                                        </p:attrNameLst>
                                      </p:cBhvr>
                                      <p:tavLst>
                                        <p:tav tm="0">
                                          <p:val>
                                            <p:strVal val="#ppt_x"/>
                                          </p:val>
                                        </p:tav>
                                        <p:tav tm="100000">
                                          <p:val>
                                            <p:strVal val="#ppt_x"/>
                                          </p:val>
                                        </p:tav>
                                      </p:tavLst>
                                    </p:anim>
                                    <p:anim calcmode="lin" valueType="num">
                                      <p:cBhvr>
                                        <p:cTn id="75" dur="500" fill="hold"/>
                                        <p:tgtEl>
                                          <p:spTgt spid="5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9" grpId="0" animBg="1"/>
      <p:bldP spid="58" grpId="0"/>
      <p:bldP spid="5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9"/>
          <p:cNvGrpSpPr/>
          <p:nvPr/>
        </p:nvGrpSpPr>
        <p:grpSpPr bwMode="auto">
          <a:xfrm>
            <a:off x="2555875" y="2057425"/>
            <a:ext cx="5761038" cy="2592387"/>
            <a:chOff x="1519" y="1661"/>
            <a:chExt cx="3629" cy="1633"/>
          </a:xfrm>
        </p:grpSpPr>
        <p:sp>
          <p:nvSpPr>
            <p:cNvPr id="28" name="Freeform 30"/>
            <p:cNvSpPr/>
            <p:nvPr/>
          </p:nvSpPr>
          <p:spPr bwMode="auto">
            <a:xfrm>
              <a:off x="2245" y="2886"/>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9" name="Freeform 31"/>
            <p:cNvSpPr/>
            <p:nvPr/>
          </p:nvSpPr>
          <p:spPr bwMode="auto">
            <a:xfrm>
              <a:off x="2970" y="2477"/>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0" name="Freeform 32"/>
            <p:cNvSpPr/>
            <p:nvPr/>
          </p:nvSpPr>
          <p:spPr bwMode="auto">
            <a:xfrm>
              <a:off x="3696" y="2069"/>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1" name="Freeform 33"/>
            <p:cNvSpPr/>
            <p:nvPr/>
          </p:nvSpPr>
          <p:spPr bwMode="auto">
            <a:xfrm>
              <a:off x="4422" y="1661"/>
              <a:ext cx="726" cy="408"/>
            </a:xfrm>
            <a:custGeom>
              <a:avLst/>
              <a:gdLst>
                <a:gd name="T0" fmla="*/ 0 w 726"/>
                <a:gd name="T1" fmla="*/ 408 h 408"/>
                <a:gd name="T2" fmla="*/ 0 w 726"/>
                <a:gd name="T3" fmla="*/ 0 h 408"/>
                <a:gd name="T4" fmla="*/ 726 w 726"/>
                <a:gd name="T5" fmla="*/ 0 h 408"/>
              </a:gdLst>
              <a:ahLst/>
              <a:cxnLst>
                <a:cxn ang="0">
                  <a:pos x="T0" y="T1"/>
                </a:cxn>
                <a:cxn ang="0">
                  <a:pos x="T2" y="T3"/>
                </a:cxn>
                <a:cxn ang="0">
                  <a:pos x="T4" y="T5"/>
                </a:cxn>
              </a:cxnLst>
              <a:rect l="0" t="0" r="r" b="b"/>
              <a:pathLst>
                <a:path w="726" h="408">
                  <a:moveTo>
                    <a:pt x="0" y="408"/>
                  </a:moveTo>
                  <a:lnTo>
                    <a:pt x="0" y="0"/>
                  </a:lnTo>
                  <a:lnTo>
                    <a:pt x="726" y="0"/>
                  </a:lnTo>
                </a:path>
              </a:pathLst>
            </a:custGeom>
            <a:noFill/>
            <a:ln w="25400" cap="flat" cmpd="sng">
              <a:solidFill>
                <a:srgbClr val="9E9E9E"/>
              </a:solidFill>
              <a:prstDash val="solid"/>
              <a:round/>
              <a:headEnd type="none" w="med" len="med"/>
              <a:tailEnd type="none" w="med" len="med"/>
            </a:ln>
            <a:effectLst/>
            <a:extLst>
              <a:ext uri="{909E8E84-426E-40DD-AFC4-6F175D3DCCD1}">
                <a14:hiddenFill xmlns:a14="http://schemas.microsoft.com/office/drawing/2010/main">
                  <a:solidFill>
                    <a:srgbClr val="C8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32" name="Line 34"/>
            <p:cNvSpPr>
              <a:spLocks noChangeShapeType="1"/>
            </p:cNvSpPr>
            <p:nvPr/>
          </p:nvSpPr>
          <p:spPr bwMode="auto">
            <a:xfrm flipH="1">
              <a:off x="1519" y="3294"/>
              <a:ext cx="726" cy="0"/>
            </a:xfrm>
            <a:prstGeom prst="line">
              <a:avLst/>
            </a:prstGeom>
            <a:noFill/>
            <a:ln w="25400">
              <a:solidFill>
                <a:srgbClr val="9E9E9E"/>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sp>
        <p:nvSpPr>
          <p:cNvPr id="39" name="Text Box 41"/>
          <p:cNvSpPr txBox="1">
            <a:spLocks noChangeArrowheads="1"/>
          </p:cNvSpPr>
          <p:nvPr/>
        </p:nvSpPr>
        <p:spPr bwMode="auto">
          <a:xfrm>
            <a:off x="682625" y="771550"/>
            <a:ext cx="2844800" cy="1754326"/>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lvl="2" defTabSz="913130" eaLnBrk="0" hangingPunct="0">
              <a:buClr>
                <a:srgbClr val="0070C0"/>
              </a:buClr>
              <a:buSzPct val="80000"/>
              <a:tabLst>
                <a:tab pos="136525" algn="l"/>
              </a:tabLst>
              <a:defRPr/>
            </a:pPr>
            <a:endParaRPr lang="en-US" altLang="zh-CN" sz="1100" spc="50" dirty="0">
              <a:ln w="11430"/>
              <a:solidFill>
                <a:schemeClr val="bg2"/>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endParaRPr lang="en-US" altLang="zh-CN" sz="1100" spc="50" dirty="0">
              <a:ln w="11430"/>
              <a:solidFill>
                <a:srgbClr val="0099FF"/>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600" b="1" dirty="0">
                <a:solidFill>
                  <a:srgbClr val="3A9707"/>
                </a:solidFill>
                <a:latin typeface="微软雅黑" panose="020B0503020204020204" pitchFamily="34" charset="-122"/>
                <a:ea typeface="微软雅黑" panose="020B0503020204020204" pitchFamily="34" charset="-122"/>
              </a:rPr>
              <a:t>单击填加标题</a:t>
            </a:r>
            <a:endParaRPr lang="en-US" altLang="ko-KR" sz="1600" b="1" dirty="0">
              <a:solidFill>
                <a:srgbClr val="3A9707"/>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endParaRPr lang="en-US" altLang="zh-CN" sz="1100" spc="50" dirty="0">
              <a:ln w="11430"/>
              <a:solidFill>
                <a:schemeClr val="bg2"/>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pPr marL="0" lvl="2" defTabSz="913130" eaLnBrk="0" hangingPunct="0">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sp>
        <p:nvSpPr>
          <p:cNvPr id="40" name="AutoShape 42"/>
          <p:cNvSpPr>
            <a:spLocks noChangeArrowheads="1"/>
          </p:cNvSpPr>
          <p:nvPr/>
        </p:nvSpPr>
        <p:spPr bwMode="auto">
          <a:xfrm rot="17429801">
            <a:off x="4032250" y="2346350"/>
            <a:ext cx="936625" cy="936625"/>
          </a:xfrm>
          <a:custGeom>
            <a:avLst/>
            <a:gdLst>
              <a:gd name="G0" fmla="+- 0 0 0"/>
              <a:gd name="G1" fmla="+- -7261746 0 0"/>
              <a:gd name="G2" fmla="+- 0 0 -7261746"/>
              <a:gd name="G3" fmla="+- 10800 0 0"/>
              <a:gd name="G4" fmla="+- 0 0 0"/>
              <a:gd name="T0" fmla="*/ 360 256 1"/>
              <a:gd name="T1" fmla="*/ 0 256 1"/>
              <a:gd name="G5" fmla="+- G2 T0 T1"/>
              <a:gd name="G6" fmla="?: G2 G2 G5"/>
              <a:gd name="G7" fmla="+- 0 0 G6"/>
              <a:gd name="G8" fmla="+- 5400 0 0"/>
              <a:gd name="G9" fmla="+- 0 0 -7261746"/>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7261746"/>
              <a:gd name="G36" fmla="sin G34 -7261746"/>
              <a:gd name="G37" fmla="+/ -7261746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6932 w 21600"/>
              <a:gd name="T5" fmla="*/ 1909 h 21600"/>
              <a:gd name="T6" fmla="*/ 7922 w 21600"/>
              <a:gd name="T7" fmla="*/ 3228 h 21600"/>
              <a:gd name="T8" fmla="*/ 13866 w 21600"/>
              <a:gd name="T9" fmla="*/ 6354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144" y="5399"/>
                  <a:pt x="9494" y="5519"/>
                  <a:pt x="8881" y="5752"/>
                </a:cubicBezTo>
                <a:lnTo>
                  <a:pt x="6963" y="704"/>
                </a:lnTo>
                <a:cubicBezTo>
                  <a:pt x="8189" y="238"/>
                  <a:pt x="94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tx1">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1" name="AutoShape 43"/>
          <p:cNvSpPr>
            <a:spLocks noChangeArrowheads="1"/>
          </p:cNvSpPr>
          <p:nvPr/>
        </p:nvSpPr>
        <p:spPr bwMode="auto">
          <a:xfrm rot="17429801">
            <a:off x="5219700" y="1698650"/>
            <a:ext cx="936625" cy="936625"/>
          </a:xfrm>
          <a:custGeom>
            <a:avLst/>
            <a:gdLst>
              <a:gd name="G0" fmla="+- 0 0 0"/>
              <a:gd name="G1" fmla="+- -7261746 0 0"/>
              <a:gd name="G2" fmla="+- 0 0 -7261746"/>
              <a:gd name="G3" fmla="+- 10800 0 0"/>
              <a:gd name="G4" fmla="+- 0 0 0"/>
              <a:gd name="T0" fmla="*/ 360 256 1"/>
              <a:gd name="T1" fmla="*/ 0 256 1"/>
              <a:gd name="G5" fmla="+- G2 T0 T1"/>
              <a:gd name="G6" fmla="?: G2 G2 G5"/>
              <a:gd name="G7" fmla="+- 0 0 G6"/>
              <a:gd name="G8" fmla="+- 5400 0 0"/>
              <a:gd name="G9" fmla="+- 0 0 -7261746"/>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7261746"/>
              <a:gd name="G36" fmla="sin G34 -7261746"/>
              <a:gd name="G37" fmla="+/ -7261746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6932 w 21600"/>
              <a:gd name="T5" fmla="*/ 1909 h 21600"/>
              <a:gd name="T6" fmla="*/ 7922 w 21600"/>
              <a:gd name="T7" fmla="*/ 3228 h 21600"/>
              <a:gd name="T8" fmla="*/ 13866 w 21600"/>
              <a:gd name="T9" fmla="*/ 6354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144" y="5399"/>
                  <a:pt x="9494" y="5519"/>
                  <a:pt x="8881" y="5752"/>
                </a:cubicBezTo>
                <a:lnTo>
                  <a:pt x="6963" y="704"/>
                </a:lnTo>
                <a:cubicBezTo>
                  <a:pt x="8189" y="238"/>
                  <a:pt x="94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chemeClr val="tx1">
              <a:alpha val="14999"/>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42" name="AutoShape 44"/>
          <p:cNvSpPr>
            <a:spLocks noChangeArrowheads="1"/>
          </p:cNvSpPr>
          <p:nvPr/>
        </p:nvSpPr>
        <p:spPr bwMode="auto">
          <a:xfrm rot="17429801">
            <a:off x="6335713" y="1085875"/>
            <a:ext cx="936625" cy="936625"/>
          </a:xfrm>
          <a:custGeom>
            <a:avLst/>
            <a:gdLst>
              <a:gd name="G0" fmla="+- 0 0 0"/>
              <a:gd name="G1" fmla="+- -7261746 0 0"/>
              <a:gd name="G2" fmla="+- 0 0 -7261746"/>
              <a:gd name="G3" fmla="+- 10800 0 0"/>
              <a:gd name="G4" fmla="+- 0 0 0"/>
              <a:gd name="T0" fmla="*/ 360 256 1"/>
              <a:gd name="T1" fmla="*/ 0 256 1"/>
              <a:gd name="G5" fmla="+- G2 T0 T1"/>
              <a:gd name="G6" fmla="?: G2 G2 G5"/>
              <a:gd name="G7" fmla="+- 0 0 G6"/>
              <a:gd name="G8" fmla="+- 5400 0 0"/>
              <a:gd name="G9" fmla="+- 0 0 -7261746"/>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7261746"/>
              <a:gd name="G36" fmla="sin G34 -7261746"/>
              <a:gd name="G37" fmla="+/ -7261746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16932 w 21600"/>
              <a:gd name="T5" fmla="*/ 1909 h 21600"/>
              <a:gd name="T6" fmla="*/ 7922 w 21600"/>
              <a:gd name="T7" fmla="*/ 3228 h 21600"/>
              <a:gd name="T8" fmla="*/ 13866 w 21600"/>
              <a:gd name="T9" fmla="*/ 6354 h 21600"/>
              <a:gd name="T10" fmla="*/ 24300 w 21600"/>
              <a:gd name="T11" fmla="*/ 10800 h 21600"/>
              <a:gd name="T12" fmla="*/ 18900 w 21600"/>
              <a:gd name="T13" fmla="*/ 16200 h 21600"/>
              <a:gd name="T14" fmla="*/ 13500 w 21600"/>
              <a:gd name="T15" fmla="*/ 1080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6200" y="10800"/>
                </a:moveTo>
                <a:cubicBezTo>
                  <a:pt x="16200" y="7817"/>
                  <a:pt x="13782" y="5400"/>
                  <a:pt x="10800" y="5400"/>
                </a:cubicBezTo>
                <a:cubicBezTo>
                  <a:pt x="10144" y="5399"/>
                  <a:pt x="9494" y="5519"/>
                  <a:pt x="8881" y="5752"/>
                </a:cubicBezTo>
                <a:lnTo>
                  <a:pt x="6963" y="704"/>
                </a:lnTo>
                <a:cubicBezTo>
                  <a:pt x="8189" y="238"/>
                  <a:pt x="9489"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1">
            <a:gsLst>
              <a:gs pos="0">
                <a:srgbClr val="00C8FF">
                  <a:gamma/>
                  <a:tint val="0"/>
                  <a:invGamma/>
                  <a:alpha val="0"/>
                </a:srgbClr>
              </a:gs>
              <a:gs pos="100000">
                <a:srgbClr val="3A9707"/>
              </a:gs>
            </a:gsLst>
            <a:lin ang="0" scaled="1"/>
          </a:gradFill>
          <a:ln>
            <a:noFill/>
          </a:ln>
          <a:effectLst/>
        </p:spPr>
        <p:txBody>
          <a:bodyPr wrap="none" anchor="ctr"/>
          <a:lstStyle/>
          <a:p>
            <a:endParaRPr lang="zh-CN" altLang="en-US"/>
          </a:p>
        </p:txBody>
      </p:sp>
      <p:sp>
        <p:nvSpPr>
          <p:cNvPr id="43" name="Text Box 45"/>
          <p:cNvSpPr txBox="1">
            <a:spLocks noChangeArrowheads="1"/>
          </p:cNvSpPr>
          <p:nvPr/>
        </p:nvSpPr>
        <p:spPr bwMode="auto">
          <a:xfrm>
            <a:off x="5075238" y="3570312"/>
            <a:ext cx="3744912" cy="1015663"/>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a:p>
            <a:endParaRPr lang="en-US" altLang="ko-KR" sz="1000" dirty="0">
              <a:solidFill>
                <a:srgbClr val="9E9E9E"/>
              </a:solidFill>
              <a:latin typeface="Arial" panose="020B0604020202020204" pitchFamily="34" charset="0"/>
            </a:endParaRPr>
          </a:p>
          <a:p>
            <a:r>
              <a:rPr lang="zh-CN" altLang="en-US" sz="1400" b="1" dirty="0">
                <a:solidFill>
                  <a:schemeClr val="bg2"/>
                </a:solidFill>
                <a:latin typeface="微软雅黑" panose="020B0503020204020204" pitchFamily="34" charset="-122"/>
                <a:ea typeface="微软雅黑" panose="020B0503020204020204" pitchFamily="34" charset="-122"/>
              </a:rPr>
              <a:t>单击填加标题</a:t>
            </a:r>
            <a:endParaRPr lang="en-US" altLang="ko-KR" sz="1400" b="1" dirty="0">
              <a:solidFill>
                <a:schemeClr val="bg2"/>
              </a:solidFill>
              <a:latin typeface="微软雅黑" panose="020B0503020204020204" pitchFamily="34" charset="-122"/>
              <a:ea typeface="微软雅黑" panose="020B0503020204020204" pitchFamily="34" charset="-122"/>
            </a:endParaRPr>
          </a:p>
          <a:p>
            <a:pPr marL="0" lvl="2" defTabSz="913130" eaLnBrk="0" fontAlgn="auto" hangingPunct="0">
              <a:spcBef>
                <a:spcPts val="0"/>
              </a:spcBef>
              <a:spcAft>
                <a:spcPts val="0"/>
              </a:spcAft>
              <a:buClr>
                <a:srgbClr val="0070C0"/>
              </a:buClr>
              <a:buSzPct val="80000"/>
              <a:tabLst>
                <a:tab pos="136525" algn="l"/>
              </a:tabLst>
              <a:defRPr/>
            </a:pPr>
            <a:r>
              <a:rPr lang="zh-CN" altLang="en-US" sz="1100" spc="50" dirty="0">
                <a:ln w="11430"/>
                <a:solidFill>
                  <a:schemeClr val="tx2">
                    <a:lumMod val="75000"/>
                  </a:schemeClr>
                </a:solidFill>
                <a:latin typeface="微软雅黑" panose="020B0503020204020204" pitchFamily="34" charset="-122"/>
                <a:ea typeface="微软雅黑" panose="020B0503020204020204" pitchFamily="34" charset="-122"/>
              </a:rPr>
              <a:t>点击添加文本点击添加文本</a:t>
            </a:r>
            <a:endParaRPr lang="en-US" altLang="zh-CN" sz="1100" spc="50" dirty="0">
              <a:ln w="11430"/>
              <a:solidFill>
                <a:schemeClr val="tx2">
                  <a:lumMod val="75000"/>
                </a:schemeClr>
              </a:solidFill>
              <a:latin typeface="微软雅黑" panose="020B0503020204020204" pitchFamily="34" charset="-122"/>
              <a:ea typeface="微软雅黑" panose="020B0503020204020204" pitchFamily="34" charset="-122"/>
            </a:endParaRPr>
          </a:p>
        </p:txBody>
      </p:sp>
      <p:grpSp>
        <p:nvGrpSpPr>
          <p:cNvPr id="50" name="组合 49"/>
          <p:cNvGrpSpPr/>
          <p:nvPr/>
        </p:nvGrpSpPr>
        <p:grpSpPr>
          <a:xfrm>
            <a:off x="3779838" y="2992462"/>
            <a:ext cx="973137" cy="973138"/>
            <a:chOff x="3779838" y="2992462"/>
            <a:chExt cx="973137" cy="973138"/>
          </a:xfrm>
        </p:grpSpPr>
        <p:grpSp>
          <p:nvGrpSpPr>
            <p:cNvPr id="7" name="Group 9"/>
            <p:cNvGrpSpPr/>
            <p:nvPr/>
          </p:nvGrpSpPr>
          <p:grpSpPr bwMode="auto">
            <a:xfrm>
              <a:off x="3779838" y="2992462"/>
              <a:ext cx="973137" cy="973138"/>
              <a:chOff x="2335" y="1139"/>
              <a:chExt cx="1089" cy="1089"/>
            </a:xfrm>
          </p:grpSpPr>
          <p:sp>
            <p:nvSpPr>
              <p:cNvPr id="8" name="Oval 10"/>
              <p:cNvSpPr>
                <a:spLocks noChangeArrowheads="1"/>
              </p:cNvSpPr>
              <p:nvPr/>
            </p:nvSpPr>
            <p:spPr bwMode="auto">
              <a:xfrm>
                <a:off x="2335" y="1139"/>
                <a:ext cx="1089" cy="1089"/>
              </a:xfrm>
              <a:prstGeom prst="ellipse">
                <a:avLst/>
              </a:prstGeom>
              <a:solidFill>
                <a:srgbClr val="9E9E9E"/>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9" name="Group 11"/>
              <p:cNvGrpSpPr/>
              <p:nvPr/>
            </p:nvGrpSpPr>
            <p:grpSpPr bwMode="auto">
              <a:xfrm>
                <a:off x="2426" y="1169"/>
                <a:ext cx="908" cy="296"/>
                <a:chOff x="1431" y="1843"/>
                <a:chExt cx="907" cy="295"/>
              </a:xfrm>
            </p:grpSpPr>
            <p:sp>
              <p:nvSpPr>
                <p:cNvPr id="10" name="Freeform 1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 name="Oval 1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44" name="Text Box 46"/>
            <p:cNvSpPr txBox="1">
              <a:spLocks noChangeArrowheads="1"/>
            </p:cNvSpPr>
            <p:nvPr/>
          </p:nvSpPr>
          <p:spPr bwMode="auto">
            <a:xfrm>
              <a:off x="4036853" y="3265512"/>
              <a:ext cx="492443" cy="46166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nvGrpSpPr>
          <p:cNvPr id="49" name="组合 48"/>
          <p:cNvGrpSpPr/>
          <p:nvPr/>
        </p:nvGrpSpPr>
        <p:grpSpPr>
          <a:xfrm>
            <a:off x="2628900" y="3641750"/>
            <a:ext cx="973138" cy="973137"/>
            <a:chOff x="2628900" y="3641750"/>
            <a:chExt cx="973138" cy="973137"/>
          </a:xfrm>
        </p:grpSpPr>
        <p:grpSp>
          <p:nvGrpSpPr>
            <p:cNvPr id="2" name="Group 4"/>
            <p:cNvGrpSpPr/>
            <p:nvPr/>
          </p:nvGrpSpPr>
          <p:grpSpPr bwMode="auto">
            <a:xfrm>
              <a:off x="2628900" y="3641750"/>
              <a:ext cx="973138" cy="973137"/>
              <a:chOff x="2335" y="1139"/>
              <a:chExt cx="1089" cy="1089"/>
            </a:xfrm>
          </p:grpSpPr>
          <p:sp>
            <p:nvSpPr>
              <p:cNvPr id="3" name="Oval 5"/>
              <p:cNvSpPr>
                <a:spLocks noChangeArrowheads="1"/>
              </p:cNvSpPr>
              <p:nvPr/>
            </p:nvSpPr>
            <p:spPr bwMode="auto">
              <a:xfrm>
                <a:off x="2335" y="1139"/>
                <a:ext cx="1089" cy="1089"/>
              </a:xfrm>
              <a:prstGeom prst="ellipse">
                <a:avLst/>
              </a:prstGeom>
              <a:gradFill rotWithShape="1">
                <a:gsLst>
                  <a:gs pos="95000">
                    <a:schemeClr val="bg2"/>
                  </a:gs>
                  <a:gs pos="0">
                    <a:srgbClr val="3A9707"/>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anchor="ctr"/>
              <a:lstStyle/>
              <a:p>
                <a:endParaRPr lang="zh-CN" altLang="en-US"/>
              </a:p>
            </p:txBody>
          </p:sp>
          <p:grpSp>
            <p:nvGrpSpPr>
              <p:cNvPr id="4" name="Group 6"/>
              <p:cNvGrpSpPr/>
              <p:nvPr/>
            </p:nvGrpSpPr>
            <p:grpSpPr bwMode="auto">
              <a:xfrm>
                <a:off x="2426" y="1169"/>
                <a:ext cx="908" cy="296"/>
                <a:chOff x="1431" y="1843"/>
                <a:chExt cx="907" cy="295"/>
              </a:xfrm>
            </p:grpSpPr>
            <p:sp>
              <p:nvSpPr>
                <p:cNvPr id="5" name="Freeform 7"/>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 name="Oval 8"/>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45" name="Text Box 47"/>
            <p:cNvSpPr txBox="1">
              <a:spLocks noChangeArrowheads="1"/>
            </p:cNvSpPr>
            <p:nvPr/>
          </p:nvSpPr>
          <p:spPr bwMode="auto">
            <a:xfrm>
              <a:off x="2865279" y="3914800"/>
              <a:ext cx="492443" cy="46166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nvGrpSpPr>
          <p:cNvPr id="52" name="组合 51"/>
          <p:cNvGrpSpPr/>
          <p:nvPr/>
        </p:nvGrpSpPr>
        <p:grpSpPr>
          <a:xfrm>
            <a:off x="6084888" y="1698650"/>
            <a:ext cx="973137" cy="973137"/>
            <a:chOff x="6084888" y="1698650"/>
            <a:chExt cx="973137" cy="973137"/>
          </a:xfrm>
        </p:grpSpPr>
        <p:grpSp>
          <p:nvGrpSpPr>
            <p:cNvPr id="17" name="Group 19"/>
            <p:cNvGrpSpPr/>
            <p:nvPr/>
          </p:nvGrpSpPr>
          <p:grpSpPr bwMode="auto">
            <a:xfrm>
              <a:off x="6084888" y="1698650"/>
              <a:ext cx="973137" cy="973137"/>
              <a:chOff x="2335" y="1139"/>
              <a:chExt cx="1089" cy="1089"/>
            </a:xfrm>
          </p:grpSpPr>
          <p:sp>
            <p:nvSpPr>
              <p:cNvPr id="18" name="Oval 20"/>
              <p:cNvSpPr>
                <a:spLocks noChangeArrowheads="1"/>
              </p:cNvSpPr>
              <p:nvPr/>
            </p:nvSpPr>
            <p:spPr bwMode="auto">
              <a:xfrm>
                <a:off x="2335" y="1139"/>
                <a:ext cx="1089" cy="1089"/>
              </a:xfrm>
              <a:prstGeom prst="ellipse">
                <a:avLst/>
              </a:prstGeom>
              <a:solidFill>
                <a:srgbClr val="9E9E9E"/>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9" name="Group 21"/>
              <p:cNvGrpSpPr/>
              <p:nvPr/>
            </p:nvGrpSpPr>
            <p:grpSpPr bwMode="auto">
              <a:xfrm>
                <a:off x="2426" y="1169"/>
                <a:ext cx="908" cy="296"/>
                <a:chOff x="1431" y="1843"/>
                <a:chExt cx="907" cy="295"/>
              </a:xfrm>
            </p:grpSpPr>
            <p:sp>
              <p:nvSpPr>
                <p:cNvPr id="20" name="Freeform 22"/>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 name="Oval 23"/>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46" name="Text Box 48"/>
            <p:cNvSpPr txBox="1">
              <a:spLocks noChangeArrowheads="1"/>
            </p:cNvSpPr>
            <p:nvPr/>
          </p:nvSpPr>
          <p:spPr bwMode="auto">
            <a:xfrm>
              <a:off x="6330791" y="1970112"/>
              <a:ext cx="492443" cy="46166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nvGrpSpPr>
          <p:cNvPr id="51" name="组合 50"/>
          <p:cNvGrpSpPr/>
          <p:nvPr/>
        </p:nvGrpSpPr>
        <p:grpSpPr>
          <a:xfrm>
            <a:off x="4930775" y="2344762"/>
            <a:ext cx="973138" cy="973138"/>
            <a:chOff x="4930775" y="2344762"/>
            <a:chExt cx="973138" cy="973138"/>
          </a:xfrm>
        </p:grpSpPr>
        <p:grpSp>
          <p:nvGrpSpPr>
            <p:cNvPr id="12" name="Group 14"/>
            <p:cNvGrpSpPr/>
            <p:nvPr/>
          </p:nvGrpSpPr>
          <p:grpSpPr bwMode="auto">
            <a:xfrm>
              <a:off x="4930775" y="2344762"/>
              <a:ext cx="973138" cy="973138"/>
              <a:chOff x="2335" y="1139"/>
              <a:chExt cx="1089" cy="1089"/>
            </a:xfrm>
          </p:grpSpPr>
          <p:sp>
            <p:nvSpPr>
              <p:cNvPr id="13" name="Oval 15"/>
              <p:cNvSpPr>
                <a:spLocks noChangeArrowheads="1"/>
              </p:cNvSpPr>
              <p:nvPr/>
            </p:nvSpPr>
            <p:spPr bwMode="auto">
              <a:xfrm>
                <a:off x="2335" y="1139"/>
                <a:ext cx="1089" cy="1089"/>
              </a:xfrm>
              <a:prstGeom prst="ellipse">
                <a:avLst/>
              </a:prstGeom>
              <a:solidFill>
                <a:srgbClr val="9E9E9E"/>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14" name="Group 16"/>
              <p:cNvGrpSpPr/>
              <p:nvPr/>
            </p:nvGrpSpPr>
            <p:grpSpPr bwMode="auto">
              <a:xfrm>
                <a:off x="2426" y="1169"/>
                <a:ext cx="908" cy="296"/>
                <a:chOff x="1431" y="1843"/>
                <a:chExt cx="907" cy="295"/>
              </a:xfrm>
            </p:grpSpPr>
            <p:sp>
              <p:nvSpPr>
                <p:cNvPr id="15" name="Freeform 17"/>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6" name="Oval 18"/>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47" name="Text Box 49"/>
            <p:cNvSpPr txBox="1">
              <a:spLocks noChangeArrowheads="1"/>
            </p:cNvSpPr>
            <p:nvPr/>
          </p:nvSpPr>
          <p:spPr bwMode="auto">
            <a:xfrm>
              <a:off x="5171916" y="2617812"/>
              <a:ext cx="492443" cy="46166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grpSp>
        <p:nvGrpSpPr>
          <p:cNvPr id="53" name="组合 52"/>
          <p:cNvGrpSpPr/>
          <p:nvPr/>
        </p:nvGrpSpPr>
        <p:grpSpPr>
          <a:xfrm>
            <a:off x="7235825" y="1049362"/>
            <a:ext cx="973138" cy="973138"/>
            <a:chOff x="7235825" y="1049362"/>
            <a:chExt cx="973138" cy="973138"/>
          </a:xfrm>
        </p:grpSpPr>
        <p:grpSp>
          <p:nvGrpSpPr>
            <p:cNvPr id="22" name="Group 24"/>
            <p:cNvGrpSpPr/>
            <p:nvPr/>
          </p:nvGrpSpPr>
          <p:grpSpPr bwMode="auto">
            <a:xfrm>
              <a:off x="7235825" y="1049362"/>
              <a:ext cx="973138" cy="973138"/>
              <a:chOff x="2335" y="1139"/>
              <a:chExt cx="1089" cy="1089"/>
            </a:xfrm>
          </p:grpSpPr>
          <p:sp>
            <p:nvSpPr>
              <p:cNvPr id="23" name="Oval 25"/>
              <p:cNvSpPr>
                <a:spLocks noChangeArrowheads="1"/>
              </p:cNvSpPr>
              <p:nvPr/>
            </p:nvSpPr>
            <p:spPr bwMode="auto">
              <a:xfrm>
                <a:off x="2335" y="1139"/>
                <a:ext cx="1089" cy="1089"/>
              </a:xfrm>
              <a:prstGeom prst="ellipse">
                <a:avLst/>
              </a:prstGeom>
              <a:gradFill rotWithShape="1">
                <a:gsLst>
                  <a:gs pos="0">
                    <a:srgbClr val="3A9707"/>
                  </a:gs>
                  <a:gs pos="100000">
                    <a:schemeClr val="bg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nvGrpSpPr>
              <p:cNvPr id="24" name="Group 26"/>
              <p:cNvGrpSpPr/>
              <p:nvPr/>
            </p:nvGrpSpPr>
            <p:grpSpPr bwMode="auto">
              <a:xfrm>
                <a:off x="2426" y="1169"/>
                <a:ext cx="908" cy="296"/>
                <a:chOff x="1431" y="1843"/>
                <a:chExt cx="907" cy="295"/>
              </a:xfrm>
            </p:grpSpPr>
            <p:sp>
              <p:nvSpPr>
                <p:cNvPr id="25" name="Freeform 27"/>
                <p:cNvSpPr/>
                <p:nvPr/>
              </p:nvSpPr>
              <p:spPr bwMode="auto">
                <a:xfrm>
                  <a:off x="1431" y="1843"/>
                  <a:ext cx="907" cy="295"/>
                </a:xfrm>
                <a:custGeom>
                  <a:avLst/>
                  <a:gdLst>
                    <a:gd name="T0" fmla="*/ 0 w 4756"/>
                    <a:gd name="T1" fmla="*/ 1576 h 1576"/>
                    <a:gd name="T2" fmla="*/ 50 w 4756"/>
                    <a:gd name="T3" fmla="*/ 1462 h 1576"/>
                    <a:gd name="T4" fmla="*/ 108 w 4756"/>
                    <a:gd name="T5" fmla="*/ 1350 h 1576"/>
                    <a:gd name="T6" fmla="*/ 170 w 4756"/>
                    <a:gd name="T7" fmla="*/ 1242 h 1576"/>
                    <a:gd name="T8" fmla="*/ 238 w 4756"/>
                    <a:gd name="T9" fmla="*/ 1138 h 1576"/>
                    <a:gd name="T10" fmla="*/ 310 w 4756"/>
                    <a:gd name="T11" fmla="*/ 1036 h 1576"/>
                    <a:gd name="T12" fmla="*/ 386 w 4756"/>
                    <a:gd name="T13" fmla="*/ 940 h 1576"/>
                    <a:gd name="T14" fmla="*/ 468 w 4756"/>
                    <a:gd name="T15" fmla="*/ 846 h 1576"/>
                    <a:gd name="T16" fmla="*/ 552 w 4756"/>
                    <a:gd name="T17" fmla="*/ 756 h 1576"/>
                    <a:gd name="T18" fmla="*/ 596 w 4756"/>
                    <a:gd name="T19" fmla="*/ 712 h 1576"/>
                    <a:gd name="T20" fmla="*/ 688 w 4756"/>
                    <a:gd name="T21" fmla="*/ 630 h 1576"/>
                    <a:gd name="T22" fmla="*/ 784 w 4756"/>
                    <a:gd name="T23" fmla="*/ 550 h 1576"/>
                    <a:gd name="T24" fmla="*/ 884 w 4756"/>
                    <a:gd name="T25" fmla="*/ 476 h 1576"/>
                    <a:gd name="T26" fmla="*/ 986 w 4756"/>
                    <a:gd name="T27" fmla="*/ 406 h 1576"/>
                    <a:gd name="T28" fmla="*/ 1092 w 4756"/>
                    <a:gd name="T29" fmla="*/ 342 h 1576"/>
                    <a:gd name="T30" fmla="*/ 1202 w 4756"/>
                    <a:gd name="T31" fmla="*/ 282 h 1576"/>
                    <a:gd name="T32" fmla="*/ 1316 w 4756"/>
                    <a:gd name="T33" fmla="*/ 228 h 1576"/>
                    <a:gd name="T34" fmla="*/ 1374 w 4756"/>
                    <a:gd name="T35" fmla="*/ 202 h 1576"/>
                    <a:gd name="T36" fmla="*/ 1490 w 4756"/>
                    <a:gd name="T37" fmla="*/ 156 h 1576"/>
                    <a:gd name="T38" fmla="*/ 1610 w 4756"/>
                    <a:gd name="T39" fmla="*/ 116 h 1576"/>
                    <a:gd name="T40" fmla="*/ 1732 w 4756"/>
                    <a:gd name="T41" fmla="*/ 80 h 1576"/>
                    <a:gd name="T42" fmla="*/ 1858 w 4756"/>
                    <a:gd name="T43" fmla="*/ 52 h 1576"/>
                    <a:gd name="T44" fmla="*/ 1984 w 4756"/>
                    <a:gd name="T45" fmla="*/ 30 h 1576"/>
                    <a:gd name="T46" fmla="*/ 2114 w 4756"/>
                    <a:gd name="T47" fmla="*/ 12 h 1576"/>
                    <a:gd name="T48" fmla="*/ 2246 w 4756"/>
                    <a:gd name="T49" fmla="*/ 2 h 1576"/>
                    <a:gd name="T50" fmla="*/ 2378 w 4756"/>
                    <a:gd name="T51" fmla="*/ 0 h 1576"/>
                    <a:gd name="T52" fmla="*/ 2444 w 4756"/>
                    <a:gd name="T53" fmla="*/ 0 h 1576"/>
                    <a:gd name="T54" fmla="*/ 2576 w 4756"/>
                    <a:gd name="T55" fmla="*/ 8 h 1576"/>
                    <a:gd name="T56" fmla="*/ 2706 w 4756"/>
                    <a:gd name="T57" fmla="*/ 20 h 1576"/>
                    <a:gd name="T58" fmla="*/ 2834 w 4756"/>
                    <a:gd name="T59" fmla="*/ 40 h 1576"/>
                    <a:gd name="T60" fmla="*/ 2962 w 4756"/>
                    <a:gd name="T61" fmla="*/ 66 h 1576"/>
                    <a:gd name="T62" fmla="*/ 3084 w 4756"/>
                    <a:gd name="T63" fmla="*/ 98 h 1576"/>
                    <a:gd name="T64" fmla="*/ 3206 w 4756"/>
                    <a:gd name="T65" fmla="*/ 136 h 1576"/>
                    <a:gd name="T66" fmla="*/ 3324 w 4756"/>
                    <a:gd name="T67" fmla="*/ 178 h 1576"/>
                    <a:gd name="T68" fmla="*/ 3382 w 4756"/>
                    <a:gd name="T69" fmla="*/ 202 h 1576"/>
                    <a:gd name="T70" fmla="*/ 3498 w 4756"/>
                    <a:gd name="T71" fmla="*/ 254 h 1576"/>
                    <a:gd name="T72" fmla="*/ 3608 w 4756"/>
                    <a:gd name="T73" fmla="*/ 312 h 1576"/>
                    <a:gd name="T74" fmla="*/ 3716 w 4756"/>
                    <a:gd name="T75" fmla="*/ 374 h 1576"/>
                    <a:gd name="T76" fmla="*/ 3822 w 4756"/>
                    <a:gd name="T77" fmla="*/ 440 h 1576"/>
                    <a:gd name="T78" fmla="*/ 3922 w 4756"/>
                    <a:gd name="T79" fmla="*/ 512 h 1576"/>
                    <a:gd name="T80" fmla="*/ 4020 w 4756"/>
                    <a:gd name="T81" fmla="*/ 590 h 1576"/>
                    <a:gd name="T82" fmla="*/ 4114 w 4756"/>
                    <a:gd name="T83" fmla="*/ 670 h 1576"/>
                    <a:gd name="T84" fmla="*/ 4204 w 4756"/>
                    <a:gd name="T85" fmla="*/ 756 h 1576"/>
                    <a:gd name="T86" fmla="*/ 4246 w 4756"/>
                    <a:gd name="T87" fmla="*/ 800 h 1576"/>
                    <a:gd name="T88" fmla="*/ 4330 w 4756"/>
                    <a:gd name="T89" fmla="*/ 892 h 1576"/>
                    <a:gd name="T90" fmla="*/ 4410 w 4756"/>
                    <a:gd name="T91" fmla="*/ 988 h 1576"/>
                    <a:gd name="T92" fmla="*/ 4484 w 4756"/>
                    <a:gd name="T93" fmla="*/ 1086 h 1576"/>
                    <a:gd name="T94" fmla="*/ 4552 w 4756"/>
                    <a:gd name="T95" fmla="*/ 1190 h 1576"/>
                    <a:gd name="T96" fmla="*/ 4618 w 4756"/>
                    <a:gd name="T97" fmla="*/ 1296 h 1576"/>
                    <a:gd name="T98" fmla="*/ 4678 w 4756"/>
                    <a:gd name="T99" fmla="*/ 1406 h 1576"/>
                    <a:gd name="T100" fmla="*/ 4732 w 4756"/>
                    <a:gd name="T101" fmla="*/ 1518 h 1576"/>
                    <a:gd name="T102" fmla="*/ 0 w 4756"/>
                    <a:gd name="T103" fmla="*/ 1576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chemeClr val="bg1">
                        <a:alpha val="75000"/>
                      </a:schemeClr>
                    </a:gs>
                    <a:gs pos="100000">
                      <a:schemeClr val="bg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prstDash val="solid"/>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6" name="Oval 28"/>
                <p:cNvSpPr>
                  <a:spLocks noChangeArrowheads="1"/>
                </p:cNvSpPr>
                <p:nvPr/>
              </p:nvSpPr>
              <p:spPr bwMode="auto">
                <a:xfrm>
                  <a:off x="1771" y="1843"/>
                  <a:ext cx="227" cy="204"/>
                </a:xfrm>
                <a:prstGeom prst="ellipse">
                  <a:avLst/>
                </a:prstGeom>
                <a:gradFill rotWithShape="1">
                  <a:gsLst>
                    <a:gs pos="0">
                      <a:schemeClr val="bg1"/>
                    </a:gs>
                    <a:gs pos="100000">
                      <a:srgbClr val="67ABF5">
                        <a:alpha val="0"/>
                      </a:srgb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48" name="Text Box 50"/>
            <p:cNvSpPr txBox="1">
              <a:spLocks noChangeArrowheads="1"/>
            </p:cNvSpPr>
            <p:nvPr/>
          </p:nvSpPr>
          <p:spPr bwMode="auto">
            <a:xfrm>
              <a:off x="7459503" y="1322412"/>
              <a:ext cx="492443" cy="461665"/>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填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标题</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p:cTn id="11" dur="500" fill="hold"/>
                                        <p:tgtEl>
                                          <p:spTgt spid="49"/>
                                        </p:tgtEl>
                                        <p:attrNameLst>
                                          <p:attrName>ppt_w</p:attrName>
                                        </p:attrNameLst>
                                      </p:cBhvr>
                                      <p:tavLst>
                                        <p:tav tm="0">
                                          <p:val>
                                            <p:fltVal val="0"/>
                                          </p:val>
                                        </p:tav>
                                        <p:tav tm="100000">
                                          <p:val>
                                            <p:strVal val="#ppt_w"/>
                                          </p:val>
                                        </p:tav>
                                      </p:tavLst>
                                    </p:anim>
                                    <p:anim calcmode="lin" valueType="num">
                                      <p:cBhvr>
                                        <p:cTn id="12" dur="500" fill="hold"/>
                                        <p:tgtEl>
                                          <p:spTgt spid="49"/>
                                        </p:tgtEl>
                                        <p:attrNameLst>
                                          <p:attrName>ppt_h</p:attrName>
                                        </p:attrNameLst>
                                      </p:cBhvr>
                                      <p:tavLst>
                                        <p:tav tm="0">
                                          <p:val>
                                            <p:fltVal val="0"/>
                                          </p:val>
                                        </p:tav>
                                        <p:tav tm="100000">
                                          <p:val>
                                            <p:strVal val="#ppt_h"/>
                                          </p:val>
                                        </p:tav>
                                      </p:tavLst>
                                    </p:anim>
                                    <p:animEffect transition="in" filter="fade">
                                      <p:cBhvr>
                                        <p:cTn id="13" dur="500"/>
                                        <p:tgtEl>
                                          <p:spTgt spid="49"/>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50"/>
                                        </p:tgtEl>
                                        <p:attrNameLst>
                                          <p:attrName>style.visibility</p:attrName>
                                        </p:attrNameLst>
                                      </p:cBhvr>
                                      <p:to>
                                        <p:strVal val="visible"/>
                                      </p:to>
                                    </p:set>
                                    <p:anim calcmode="lin" valueType="num">
                                      <p:cBhvr>
                                        <p:cTn id="17" dur="500" fill="hold"/>
                                        <p:tgtEl>
                                          <p:spTgt spid="50"/>
                                        </p:tgtEl>
                                        <p:attrNameLst>
                                          <p:attrName>ppt_w</p:attrName>
                                        </p:attrNameLst>
                                      </p:cBhvr>
                                      <p:tavLst>
                                        <p:tav tm="0">
                                          <p:val>
                                            <p:fltVal val="0"/>
                                          </p:val>
                                        </p:tav>
                                        <p:tav tm="100000">
                                          <p:val>
                                            <p:strVal val="#ppt_w"/>
                                          </p:val>
                                        </p:tav>
                                      </p:tavLst>
                                    </p:anim>
                                    <p:anim calcmode="lin" valueType="num">
                                      <p:cBhvr>
                                        <p:cTn id="18" dur="500" fill="hold"/>
                                        <p:tgtEl>
                                          <p:spTgt spid="50"/>
                                        </p:tgtEl>
                                        <p:attrNameLst>
                                          <p:attrName>ppt_h</p:attrName>
                                        </p:attrNameLst>
                                      </p:cBhvr>
                                      <p:tavLst>
                                        <p:tav tm="0">
                                          <p:val>
                                            <p:fltVal val="0"/>
                                          </p:val>
                                        </p:tav>
                                        <p:tav tm="100000">
                                          <p:val>
                                            <p:strVal val="#ppt_h"/>
                                          </p:val>
                                        </p:tav>
                                      </p:tavLst>
                                    </p:anim>
                                    <p:animEffect transition="in" filter="fade">
                                      <p:cBhvr>
                                        <p:cTn id="19" dur="500"/>
                                        <p:tgtEl>
                                          <p:spTgt spid="50"/>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51"/>
                                        </p:tgtEl>
                                        <p:attrNameLst>
                                          <p:attrName>style.visibility</p:attrName>
                                        </p:attrNameLst>
                                      </p:cBhvr>
                                      <p:to>
                                        <p:strVal val="visible"/>
                                      </p:to>
                                    </p:set>
                                    <p:anim calcmode="lin" valueType="num">
                                      <p:cBhvr>
                                        <p:cTn id="23" dur="500" fill="hold"/>
                                        <p:tgtEl>
                                          <p:spTgt spid="51"/>
                                        </p:tgtEl>
                                        <p:attrNameLst>
                                          <p:attrName>ppt_w</p:attrName>
                                        </p:attrNameLst>
                                      </p:cBhvr>
                                      <p:tavLst>
                                        <p:tav tm="0">
                                          <p:val>
                                            <p:fltVal val="0"/>
                                          </p:val>
                                        </p:tav>
                                        <p:tav tm="100000">
                                          <p:val>
                                            <p:strVal val="#ppt_w"/>
                                          </p:val>
                                        </p:tav>
                                      </p:tavLst>
                                    </p:anim>
                                    <p:anim calcmode="lin" valueType="num">
                                      <p:cBhvr>
                                        <p:cTn id="24" dur="500" fill="hold"/>
                                        <p:tgtEl>
                                          <p:spTgt spid="51"/>
                                        </p:tgtEl>
                                        <p:attrNameLst>
                                          <p:attrName>ppt_h</p:attrName>
                                        </p:attrNameLst>
                                      </p:cBhvr>
                                      <p:tavLst>
                                        <p:tav tm="0">
                                          <p:val>
                                            <p:fltVal val="0"/>
                                          </p:val>
                                        </p:tav>
                                        <p:tav tm="100000">
                                          <p:val>
                                            <p:strVal val="#ppt_h"/>
                                          </p:val>
                                        </p:tav>
                                      </p:tavLst>
                                    </p:anim>
                                    <p:animEffect transition="in" filter="fade">
                                      <p:cBhvr>
                                        <p:cTn id="25" dur="500"/>
                                        <p:tgtEl>
                                          <p:spTgt spid="51"/>
                                        </p:tgtEl>
                                      </p:cBhvr>
                                    </p:animEffect>
                                  </p:childTnLst>
                                </p:cTn>
                              </p:par>
                            </p:childTnLst>
                          </p:cTn>
                        </p:par>
                        <p:par>
                          <p:cTn id="26" fill="hold">
                            <p:stCondLst>
                              <p:cond delay="2000"/>
                            </p:stCondLst>
                            <p:childTnLst>
                              <p:par>
                                <p:cTn id="27" presetID="53" presetClass="entr" presetSubtype="16" fill="hold" nodeType="afterEffect">
                                  <p:stCondLst>
                                    <p:cond delay="0"/>
                                  </p:stCondLst>
                                  <p:childTnLst>
                                    <p:set>
                                      <p:cBhvr>
                                        <p:cTn id="28" dur="1" fill="hold">
                                          <p:stCondLst>
                                            <p:cond delay="0"/>
                                          </p:stCondLst>
                                        </p:cTn>
                                        <p:tgtEl>
                                          <p:spTgt spid="52"/>
                                        </p:tgtEl>
                                        <p:attrNameLst>
                                          <p:attrName>style.visibility</p:attrName>
                                        </p:attrNameLst>
                                      </p:cBhvr>
                                      <p:to>
                                        <p:strVal val="visible"/>
                                      </p:to>
                                    </p:set>
                                    <p:anim calcmode="lin" valueType="num">
                                      <p:cBhvr>
                                        <p:cTn id="29" dur="500" fill="hold"/>
                                        <p:tgtEl>
                                          <p:spTgt spid="52"/>
                                        </p:tgtEl>
                                        <p:attrNameLst>
                                          <p:attrName>ppt_w</p:attrName>
                                        </p:attrNameLst>
                                      </p:cBhvr>
                                      <p:tavLst>
                                        <p:tav tm="0">
                                          <p:val>
                                            <p:fltVal val="0"/>
                                          </p:val>
                                        </p:tav>
                                        <p:tav tm="100000">
                                          <p:val>
                                            <p:strVal val="#ppt_w"/>
                                          </p:val>
                                        </p:tav>
                                      </p:tavLst>
                                    </p:anim>
                                    <p:anim calcmode="lin" valueType="num">
                                      <p:cBhvr>
                                        <p:cTn id="30" dur="500" fill="hold"/>
                                        <p:tgtEl>
                                          <p:spTgt spid="52"/>
                                        </p:tgtEl>
                                        <p:attrNameLst>
                                          <p:attrName>ppt_h</p:attrName>
                                        </p:attrNameLst>
                                      </p:cBhvr>
                                      <p:tavLst>
                                        <p:tav tm="0">
                                          <p:val>
                                            <p:fltVal val="0"/>
                                          </p:val>
                                        </p:tav>
                                        <p:tav tm="100000">
                                          <p:val>
                                            <p:strVal val="#ppt_h"/>
                                          </p:val>
                                        </p:tav>
                                      </p:tavLst>
                                    </p:anim>
                                    <p:animEffect transition="in" filter="fade">
                                      <p:cBhvr>
                                        <p:cTn id="31" dur="500"/>
                                        <p:tgtEl>
                                          <p:spTgt spid="52"/>
                                        </p:tgtEl>
                                      </p:cBhvr>
                                    </p:animEffect>
                                  </p:childTnLst>
                                </p:cTn>
                              </p:par>
                            </p:childTnLst>
                          </p:cTn>
                        </p:par>
                        <p:par>
                          <p:cTn id="32" fill="hold">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wipe(left)">
                                      <p:cBhvr>
                                        <p:cTn id="35" dur="500"/>
                                        <p:tgtEl>
                                          <p:spTgt spid="42"/>
                                        </p:tgtEl>
                                      </p:cBhvr>
                                    </p:animEffect>
                                  </p:childTnLst>
                                </p:cTn>
                              </p:par>
                            </p:childTnLst>
                          </p:cTn>
                        </p:par>
                        <p:par>
                          <p:cTn id="36" fill="hold">
                            <p:stCondLst>
                              <p:cond delay="3000"/>
                            </p:stCondLst>
                            <p:childTnLst>
                              <p:par>
                                <p:cTn id="37" presetID="53" presetClass="entr" presetSubtype="16" fill="hold" nodeType="afterEffect">
                                  <p:stCondLst>
                                    <p:cond delay="0"/>
                                  </p:stCondLst>
                                  <p:childTnLst>
                                    <p:set>
                                      <p:cBhvr>
                                        <p:cTn id="38" dur="1" fill="hold">
                                          <p:stCondLst>
                                            <p:cond delay="0"/>
                                          </p:stCondLst>
                                        </p:cTn>
                                        <p:tgtEl>
                                          <p:spTgt spid="53"/>
                                        </p:tgtEl>
                                        <p:attrNameLst>
                                          <p:attrName>style.visibility</p:attrName>
                                        </p:attrNameLst>
                                      </p:cBhvr>
                                      <p:to>
                                        <p:strVal val="visible"/>
                                      </p:to>
                                    </p:set>
                                    <p:anim calcmode="lin" valueType="num">
                                      <p:cBhvr>
                                        <p:cTn id="39" dur="500" fill="hold"/>
                                        <p:tgtEl>
                                          <p:spTgt spid="53"/>
                                        </p:tgtEl>
                                        <p:attrNameLst>
                                          <p:attrName>ppt_w</p:attrName>
                                        </p:attrNameLst>
                                      </p:cBhvr>
                                      <p:tavLst>
                                        <p:tav tm="0">
                                          <p:val>
                                            <p:fltVal val="0"/>
                                          </p:val>
                                        </p:tav>
                                        <p:tav tm="100000">
                                          <p:val>
                                            <p:strVal val="#ppt_w"/>
                                          </p:val>
                                        </p:tav>
                                      </p:tavLst>
                                    </p:anim>
                                    <p:anim calcmode="lin" valueType="num">
                                      <p:cBhvr>
                                        <p:cTn id="40" dur="500" fill="hold"/>
                                        <p:tgtEl>
                                          <p:spTgt spid="53"/>
                                        </p:tgtEl>
                                        <p:attrNameLst>
                                          <p:attrName>ppt_h</p:attrName>
                                        </p:attrNameLst>
                                      </p:cBhvr>
                                      <p:tavLst>
                                        <p:tav tm="0">
                                          <p:val>
                                            <p:fltVal val="0"/>
                                          </p:val>
                                        </p:tav>
                                        <p:tav tm="100000">
                                          <p:val>
                                            <p:strVal val="#ppt_h"/>
                                          </p:val>
                                        </p:tav>
                                      </p:tavLst>
                                    </p:anim>
                                    <p:animEffect transition="in" filter="fade">
                                      <p:cBhvr>
                                        <p:cTn id="41" dur="500"/>
                                        <p:tgtEl>
                                          <p:spTgt spid="53"/>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39"/>
                                        </p:tgtEl>
                                        <p:attrNameLst>
                                          <p:attrName>style.visibility</p:attrName>
                                        </p:attrNameLst>
                                      </p:cBhvr>
                                      <p:to>
                                        <p:strVal val="visible"/>
                                      </p:to>
                                    </p:set>
                                    <p:animEffect transition="in" filter="wipe(left)">
                                      <p:cBhvr>
                                        <p:cTn id="45" dur="500"/>
                                        <p:tgtEl>
                                          <p:spTgt spid="39"/>
                                        </p:tgtEl>
                                      </p:cBhvr>
                                    </p:animEffect>
                                  </p:childTnLst>
                                </p:cTn>
                              </p:par>
                            </p:childTnLst>
                          </p:cTn>
                        </p:par>
                        <p:par>
                          <p:cTn id="46" fill="hold">
                            <p:stCondLst>
                              <p:cond delay="4000"/>
                            </p:stCondLst>
                            <p:childTnLst>
                              <p:par>
                                <p:cTn id="47" presetID="16" presetClass="entr" presetSubtype="21" fill="hold" grpId="0" nodeType="after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barn(inVertical)">
                                      <p:cBhvr>
                                        <p:cTn id="4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2" grpId="0" animBg="1"/>
      <p:bldP spid="4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34"/>
          <p:cNvGrpSpPr>
            <a:grpSpLocks noChangeAspect="1"/>
          </p:cNvGrpSpPr>
          <p:nvPr/>
        </p:nvGrpSpPr>
        <p:grpSpPr bwMode="auto">
          <a:xfrm>
            <a:off x="4979345" y="915566"/>
            <a:ext cx="1008063" cy="1008062"/>
            <a:chOff x="4776635" y="4404800"/>
            <a:chExt cx="1011864" cy="1008000"/>
          </a:xfrm>
          <a:gradFill>
            <a:gsLst>
              <a:gs pos="0">
                <a:srgbClr val="0099FF"/>
              </a:gs>
              <a:gs pos="90000">
                <a:srgbClr val="005FFA"/>
              </a:gs>
            </a:gsLst>
            <a:lin ang="2700000" scaled="1"/>
          </a:gradFill>
          <a:effectLst>
            <a:glow rad="127000">
              <a:schemeClr val="tx1"/>
            </a:glow>
          </a:effectLst>
          <a:scene3d>
            <a:camera prst="orthographicFront">
              <a:rot lat="0" lon="0" rev="0"/>
            </a:camera>
            <a:lightRig rig="balanced" dir="t">
              <a:rot lat="0" lon="0" rev="8700000"/>
            </a:lightRig>
          </a:scene3d>
        </p:grpSpPr>
        <p:sp>
          <p:nvSpPr>
            <p:cNvPr id="3" name="Oval 2"/>
            <p:cNvSpPr>
              <a:spLocks noChangeAspect="1" noChangeArrowheads="1"/>
            </p:cNvSpPr>
            <p:nvPr/>
          </p:nvSpPr>
          <p:spPr bwMode="auto">
            <a:xfrm>
              <a:off x="4780499" y="4404800"/>
              <a:ext cx="1008000" cy="1008000"/>
            </a:xfrm>
            <a:prstGeom prst="ellips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fr-FR" altLang="zh-CN" sz="1600" b="1" dirty="0">
                <a:solidFill>
                  <a:schemeClr val="bg1"/>
                </a:solidFill>
                <a:latin typeface="微软雅黑" panose="020B0503020204020204" pitchFamily="34" charset="-122"/>
                <a:ea typeface="微软雅黑" panose="020B0503020204020204" pitchFamily="34" charset="-122"/>
              </a:endParaRPr>
            </a:p>
          </p:txBody>
        </p:sp>
        <p:sp>
          <p:nvSpPr>
            <p:cNvPr id="4" name="椭圆 3"/>
            <p:cNvSpPr/>
            <p:nvPr/>
          </p:nvSpPr>
          <p:spPr>
            <a:xfrm rot="19388639">
              <a:off x="4776635" y="4463533"/>
              <a:ext cx="683605" cy="466696"/>
            </a:xfrm>
            <a:prstGeom prst="ellipse">
              <a:avLst/>
            </a:prstGeom>
            <a:no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rgbClr val="FFFFFF"/>
                </a:solidFill>
                <a:ea typeface="微软雅黑" panose="020B0503020204020204" pitchFamily="34" charset="-122"/>
              </a:endParaRPr>
            </a:p>
          </p:txBody>
        </p:sp>
      </p:grpSp>
      <p:sp>
        <p:nvSpPr>
          <p:cNvPr id="6" name="TextBox 147"/>
          <p:cNvSpPr txBox="1">
            <a:spLocks noChangeArrowheads="1"/>
          </p:cNvSpPr>
          <p:nvPr/>
        </p:nvSpPr>
        <p:spPr bwMode="auto">
          <a:xfrm>
            <a:off x="4983195" y="1275928"/>
            <a:ext cx="1062038" cy="307975"/>
          </a:xfrm>
          <a:prstGeom prst="rect">
            <a:avLst/>
          </a:prstGeom>
          <a:noFill/>
          <a:ln w="9525">
            <a:noFill/>
            <a:miter lim="800000"/>
          </a:ln>
          <a:effectLst/>
        </p:spPr>
        <p:txBody>
          <a:bodyPr>
            <a:spAutoFit/>
          </a:bodyPr>
          <a:lstStyle/>
          <a:p>
            <a:pPr algn="ctr" defTabSz="913130" eaLnBrk="0" fontAlgn="ctr" hangingPunct="0">
              <a:buClr>
                <a:srgbClr val="FF0000"/>
              </a:buClr>
              <a:buSzPct val="70000"/>
            </a:pPr>
            <a:r>
              <a:rPr lang="zh-CN" altLang="en-US" sz="1400" dirty="0">
                <a:solidFill>
                  <a:schemeClr val="bg1"/>
                </a:solidFill>
                <a:latin typeface="微软雅黑" panose="020B0503020204020204" pitchFamily="34" charset="-122"/>
                <a:ea typeface="微软雅黑" panose="020B0503020204020204" pitchFamily="34" charset="-122"/>
              </a:rPr>
              <a:t>添加文本</a:t>
            </a:r>
          </a:p>
        </p:txBody>
      </p:sp>
      <p:sp>
        <p:nvSpPr>
          <p:cNvPr id="17" name="矩形 87"/>
          <p:cNvSpPr>
            <a:spLocks noChangeArrowheads="1"/>
          </p:cNvSpPr>
          <p:nvPr/>
        </p:nvSpPr>
        <p:spPr bwMode="auto">
          <a:xfrm>
            <a:off x="6136634" y="974303"/>
            <a:ext cx="1565275" cy="307975"/>
          </a:xfrm>
          <a:prstGeom prst="rect">
            <a:avLst/>
          </a:prstGeom>
          <a:noFill/>
          <a:ln w="9525">
            <a:noFill/>
            <a:miter lim="800000"/>
          </a:ln>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18" name="矩形 87"/>
          <p:cNvSpPr>
            <a:spLocks noChangeArrowheads="1"/>
          </p:cNvSpPr>
          <p:nvPr/>
        </p:nvSpPr>
        <p:spPr bwMode="auto">
          <a:xfrm>
            <a:off x="6136634" y="1275928"/>
            <a:ext cx="1565275" cy="307975"/>
          </a:xfrm>
          <a:prstGeom prst="rect">
            <a:avLst/>
          </a:prstGeom>
          <a:noFill/>
          <a:ln w="9525">
            <a:noFill/>
            <a:miter lim="800000"/>
          </a:ln>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19" name="矩形 87"/>
          <p:cNvSpPr>
            <a:spLocks noChangeArrowheads="1"/>
          </p:cNvSpPr>
          <p:nvPr/>
        </p:nvSpPr>
        <p:spPr bwMode="auto">
          <a:xfrm>
            <a:off x="6136634" y="1577553"/>
            <a:ext cx="1506538" cy="307975"/>
          </a:xfrm>
          <a:prstGeom prst="rect">
            <a:avLst/>
          </a:prstGeom>
          <a:noFill/>
          <a:ln w="9525">
            <a:noFill/>
            <a:miter lim="800000"/>
          </a:ln>
          <a:effectLst/>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20" name="AutoShape 60"/>
          <p:cNvSpPr>
            <a:spLocks noChangeArrowheads="1"/>
          </p:cNvSpPr>
          <p:nvPr/>
        </p:nvSpPr>
        <p:spPr bwMode="auto">
          <a:xfrm>
            <a:off x="971600" y="1448966"/>
            <a:ext cx="3780000" cy="2667000"/>
          </a:xfrm>
          <a:prstGeom prst="rightArrow">
            <a:avLst>
              <a:gd name="adj1" fmla="val 68039"/>
              <a:gd name="adj2" fmla="val 41129"/>
            </a:avLst>
          </a:prstGeom>
          <a:effectLst/>
        </p:spPr>
        <p:style>
          <a:lnRef idx="1">
            <a:schemeClr val="accent3"/>
          </a:lnRef>
          <a:fillRef idx="3">
            <a:schemeClr val="accent3"/>
          </a:fillRef>
          <a:effectRef idx="2">
            <a:schemeClr val="accent3"/>
          </a:effectRef>
          <a:fontRef idx="minor">
            <a:schemeClr val="lt1"/>
          </a:fontRef>
        </p:style>
        <p:txBody>
          <a:bodyPr anchor="ctr"/>
          <a:lstStyle/>
          <a:p>
            <a:pPr marL="0" lvl="2" algn="ctr" eaLnBrk="0" fontAlgn="ctr" hangingPunct="0">
              <a:spcBef>
                <a:spcPts val="0"/>
              </a:spcBef>
              <a:spcAft>
                <a:spcPts val="0"/>
              </a:spcAft>
              <a:buClr>
                <a:srgbClr val="FF0000"/>
              </a:buClr>
              <a:buSzPct val="70000"/>
              <a:buFont typeface="Wingdings" panose="05000000000000000000" pitchFamily="2" charset="2"/>
              <a:buChar char="u"/>
              <a:tabLst>
                <a:tab pos="136525" algn="l"/>
              </a:tabLst>
              <a:defRPr/>
            </a:pPr>
            <a:endParaRPr lang="zh-CN" altLang="en-US" sz="1400" dirty="0">
              <a:latin typeface="微软雅黑" panose="020B0503020204020204" pitchFamily="34" charset="-122"/>
              <a:ea typeface="微软雅黑" panose="020B0503020204020204" pitchFamily="34" charset="-122"/>
            </a:endParaRPr>
          </a:p>
        </p:txBody>
      </p:sp>
      <p:sp>
        <p:nvSpPr>
          <p:cNvPr id="21" name="矩形 14"/>
          <p:cNvSpPr>
            <a:spLocks noChangeArrowheads="1"/>
          </p:cNvSpPr>
          <p:nvPr/>
        </p:nvSpPr>
        <p:spPr bwMode="auto">
          <a:xfrm>
            <a:off x="3493432" y="2537772"/>
            <a:ext cx="1273175" cy="523875"/>
          </a:xfrm>
          <a:prstGeom prst="rect">
            <a:avLst/>
          </a:prstGeom>
          <a:noFill/>
          <a:ln w="9525">
            <a:noFill/>
            <a:miter lim="800000"/>
          </a:ln>
          <a:effectLst/>
        </p:spPr>
        <p:txBody>
          <a:bodyPr>
            <a:spAutoFit/>
          </a:bodyPr>
          <a:lstStyle/>
          <a:p>
            <a:pPr algn="ctr"/>
            <a:r>
              <a:rPr kumimoji="1" lang="zh-CN" altLang="en-US" sz="1400" dirty="0">
                <a:solidFill>
                  <a:schemeClr val="accent2"/>
                </a:solidFill>
                <a:latin typeface="微软雅黑" panose="020B0503020204020204" pitchFamily="34" charset="-122"/>
                <a:ea typeface="微软雅黑" panose="020B0503020204020204" pitchFamily="34" charset="-122"/>
              </a:rPr>
              <a:t>点击添</a:t>
            </a:r>
            <a:endParaRPr kumimoji="1" lang="en-US" altLang="zh-CN" sz="1400" dirty="0">
              <a:solidFill>
                <a:schemeClr val="accent2"/>
              </a:solidFill>
              <a:latin typeface="微软雅黑" panose="020B0503020204020204" pitchFamily="34" charset="-122"/>
              <a:ea typeface="微软雅黑" panose="020B0503020204020204" pitchFamily="34" charset="-122"/>
            </a:endParaRPr>
          </a:p>
          <a:p>
            <a:pPr algn="ctr"/>
            <a:r>
              <a:rPr kumimoji="1" lang="zh-CN" altLang="en-US" sz="1400" dirty="0">
                <a:solidFill>
                  <a:schemeClr val="accent2"/>
                </a:solidFill>
                <a:latin typeface="微软雅黑" panose="020B0503020204020204" pitchFamily="34" charset="-122"/>
                <a:ea typeface="微软雅黑" panose="020B0503020204020204" pitchFamily="34" charset="-122"/>
              </a:rPr>
              <a:t>加文本</a:t>
            </a:r>
          </a:p>
        </p:txBody>
      </p:sp>
      <p:grpSp>
        <p:nvGrpSpPr>
          <p:cNvPr id="22" name="组合 26"/>
          <p:cNvGrpSpPr>
            <a:grpSpLocks noChangeAspect="1"/>
          </p:cNvGrpSpPr>
          <p:nvPr/>
        </p:nvGrpSpPr>
        <p:grpSpPr bwMode="auto">
          <a:xfrm>
            <a:off x="2806059" y="2344316"/>
            <a:ext cx="961142" cy="896937"/>
            <a:chOff x="1321939" y="2463785"/>
            <a:chExt cx="451439" cy="2705673"/>
          </a:xfrm>
          <a:effectLst/>
        </p:grpSpPr>
        <p:sp>
          <p:nvSpPr>
            <p:cNvPr id="23" name="圆角矩形 22"/>
            <p:cNvSpPr/>
            <p:nvPr/>
          </p:nvSpPr>
          <p:spPr>
            <a:xfrm>
              <a:off x="1321939" y="2463785"/>
              <a:ext cx="415318" cy="2705673"/>
            </a:xfrm>
            <a:prstGeom prst="roundRect">
              <a:avLst>
                <a:gd name="adj" fmla="val 10568"/>
              </a:avLst>
            </a:prstGeom>
            <a:solidFill>
              <a:schemeClr val="bg2"/>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24" name="矩形 14"/>
            <p:cNvSpPr>
              <a:spLocks noChangeArrowheads="1"/>
            </p:cNvSpPr>
            <p:nvPr/>
          </p:nvSpPr>
          <p:spPr bwMode="auto">
            <a:xfrm>
              <a:off x="1373491" y="2934457"/>
              <a:ext cx="399887" cy="1764331"/>
            </a:xfrm>
            <a:prstGeom prst="rect">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dirty="0">
                  <a:latin typeface="微软雅黑" panose="020B0503020204020204" pitchFamily="34" charset="-122"/>
                  <a:ea typeface="微软雅黑" panose="020B0503020204020204" pitchFamily="34" charset="-122"/>
                </a:rPr>
                <a:t>添加</a:t>
              </a:r>
              <a:endParaRPr lang="en-US" altLang="zh-CN" dirty="0">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标题</a:t>
              </a:r>
            </a:p>
          </p:txBody>
        </p:sp>
      </p:grpSp>
      <p:sp>
        <p:nvSpPr>
          <p:cNvPr id="31" name="AutoShape 593"/>
          <p:cNvSpPr>
            <a:spLocks noChangeArrowheads="1"/>
          </p:cNvSpPr>
          <p:nvPr/>
        </p:nvSpPr>
        <p:spPr bwMode="auto">
          <a:xfrm rot="10800000" flipH="1" flipV="1">
            <a:off x="2297347" y="2638369"/>
            <a:ext cx="396000" cy="360000"/>
          </a:xfrm>
          <a:prstGeom prst="chevron">
            <a:avLst/>
          </a:prstGeom>
          <a:solidFill>
            <a:schemeClr val="bg2"/>
          </a:solidFill>
          <a:ln w="25400">
            <a:noFill/>
          </a:ln>
          <a:effectLst/>
          <a:scene3d>
            <a:camera prst="orthographicFront"/>
            <a:lightRig rig="flat" dir="t"/>
          </a:scene3d>
          <a:sp3d extrusionH="30480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zh-CN" altLang="en-US" sz="1600" b="1" dirty="0">
              <a:solidFill>
                <a:schemeClr val="bg1"/>
              </a:solidFill>
              <a:effectLst/>
              <a:latin typeface="微软雅黑" panose="020B0503020204020204" pitchFamily="34" charset="-122"/>
              <a:ea typeface="微软雅黑" panose="020B0503020204020204" pitchFamily="34" charset="-122"/>
            </a:endParaRPr>
          </a:p>
        </p:txBody>
      </p:sp>
      <p:grpSp>
        <p:nvGrpSpPr>
          <p:cNvPr id="32" name="组合 26"/>
          <p:cNvGrpSpPr>
            <a:grpSpLocks noChangeAspect="1"/>
          </p:cNvGrpSpPr>
          <p:nvPr/>
        </p:nvGrpSpPr>
        <p:grpSpPr bwMode="auto">
          <a:xfrm>
            <a:off x="1351908" y="2344316"/>
            <a:ext cx="975130" cy="896937"/>
            <a:chOff x="1317289" y="2463785"/>
            <a:chExt cx="458010" cy="2705673"/>
          </a:xfrm>
          <a:effectLst/>
        </p:grpSpPr>
        <p:sp>
          <p:nvSpPr>
            <p:cNvPr id="33" name="圆角矩形 32"/>
            <p:cNvSpPr/>
            <p:nvPr/>
          </p:nvSpPr>
          <p:spPr>
            <a:xfrm>
              <a:off x="1317289" y="2463785"/>
              <a:ext cx="415318" cy="2705673"/>
            </a:xfrm>
            <a:prstGeom prst="roundRect">
              <a:avLst>
                <a:gd name="adj" fmla="val 10568"/>
              </a:avLst>
            </a:prstGeom>
            <a:solidFill>
              <a:schemeClr val="bg2"/>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4" name="矩形 14"/>
            <p:cNvSpPr>
              <a:spLocks noChangeArrowheads="1"/>
            </p:cNvSpPr>
            <p:nvPr/>
          </p:nvSpPr>
          <p:spPr bwMode="auto">
            <a:xfrm>
              <a:off x="1375412" y="2934457"/>
              <a:ext cx="399887" cy="1764331"/>
            </a:xfrm>
            <a:prstGeom prst="rect">
              <a:avLst/>
            </a:prstGeom>
            <a:no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dirty="0">
                  <a:latin typeface="微软雅黑" panose="020B0503020204020204" pitchFamily="34" charset="-122"/>
                  <a:ea typeface="微软雅黑" panose="020B0503020204020204" pitchFamily="34" charset="-122"/>
                </a:rPr>
                <a:t>添加</a:t>
              </a:r>
              <a:endParaRPr lang="en-US" altLang="zh-CN" dirty="0">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标题</a:t>
              </a:r>
            </a:p>
          </p:txBody>
        </p:sp>
      </p:grpSp>
      <p:grpSp>
        <p:nvGrpSpPr>
          <p:cNvPr id="35" name="组合 34"/>
          <p:cNvGrpSpPr>
            <a:grpSpLocks noChangeAspect="1"/>
          </p:cNvGrpSpPr>
          <p:nvPr/>
        </p:nvGrpSpPr>
        <p:grpSpPr bwMode="auto">
          <a:xfrm>
            <a:off x="4979345" y="2275593"/>
            <a:ext cx="1008063" cy="1008062"/>
            <a:chOff x="4776635" y="4404800"/>
            <a:chExt cx="1011864" cy="1008000"/>
          </a:xfrm>
          <a:gradFill>
            <a:gsLst>
              <a:gs pos="0">
                <a:srgbClr val="0099FF"/>
              </a:gs>
              <a:gs pos="90000">
                <a:srgbClr val="005FFA"/>
              </a:gs>
            </a:gsLst>
            <a:lin ang="2700000" scaled="1"/>
          </a:gradFill>
          <a:effectLst>
            <a:glow rad="127000">
              <a:schemeClr val="tx1"/>
            </a:glow>
          </a:effectLst>
          <a:scene3d>
            <a:camera prst="orthographicFront">
              <a:rot lat="0" lon="0" rev="0"/>
            </a:camera>
            <a:lightRig rig="balanced" dir="t">
              <a:rot lat="0" lon="0" rev="8700000"/>
            </a:lightRig>
          </a:scene3d>
        </p:grpSpPr>
        <p:sp>
          <p:nvSpPr>
            <p:cNvPr id="36" name="Oval 2"/>
            <p:cNvSpPr>
              <a:spLocks noChangeAspect="1" noChangeArrowheads="1"/>
            </p:cNvSpPr>
            <p:nvPr/>
          </p:nvSpPr>
          <p:spPr bwMode="auto">
            <a:xfrm>
              <a:off x="4780499" y="4404800"/>
              <a:ext cx="1008000" cy="1008000"/>
            </a:xfrm>
            <a:prstGeom prst="ellips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fr-FR" altLang="zh-CN" sz="1600" b="1" dirty="0">
                <a:solidFill>
                  <a:schemeClr val="bg1"/>
                </a:solidFill>
                <a:latin typeface="微软雅黑" panose="020B0503020204020204" pitchFamily="34" charset="-122"/>
                <a:ea typeface="微软雅黑" panose="020B0503020204020204" pitchFamily="34" charset="-122"/>
              </a:endParaRPr>
            </a:p>
          </p:txBody>
        </p:sp>
        <p:sp>
          <p:nvSpPr>
            <p:cNvPr id="37" name="椭圆 36"/>
            <p:cNvSpPr/>
            <p:nvPr/>
          </p:nvSpPr>
          <p:spPr>
            <a:xfrm rot="19388639">
              <a:off x="4776635" y="4463533"/>
              <a:ext cx="683605" cy="466696"/>
            </a:xfrm>
            <a:prstGeom prst="ellipse">
              <a:avLst/>
            </a:prstGeom>
            <a:no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rgbClr val="FFFFFF"/>
                </a:solidFill>
                <a:ea typeface="微软雅黑" panose="020B0503020204020204" pitchFamily="34" charset="-122"/>
              </a:endParaRPr>
            </a:p>
          </p:txBody>
        </p:sp>
      </p:grpSp>
      <p:sp>
        <p:nvSpPr>
          <p:cNvPr id="38" name="TextBox 147"/>
          <p:cNvSpPr txBox="1">
            <a:spLocks noChangeArrowheads="1"/>
          </p:cNvSpPr>
          <p:nvPr/>
        </p:nvSpPr>
        <p:spPr bwMode="auto">
          <a:xfrm>
            <a:off x="4983195" y="2635955"/>
            <a:ext cx="1062038" cy="307975"/>
          </a:xfrm>
          <a:prstGeom prst="rect">
            <a:avLst/>
          </a:prstGeom>
          <a:noFill/>
          <a:ln w="9525">
            <a:noFill/>
            <a:miter lim="800000"/>
          </a:ln>
          <a:effectLst/>
        </p:spPr>
        <p:txBody>
          <a:bodyPr>
            <a:spAutoFit/>
          </a:bodyPr>
          <a:lstStyle/>
          <a:p>
            <a:pPr algn="ctr" defTabSz="913130" eaLnBrk="0" fontAlgn="ctr" hangingPunct="0">
              <a:buClr>
                <a:srgbClr val="FF0000"/>
              </a:buClr>
              <a:buSzPct val="70000"/>
            </a:pPr>
            <a:r>
              <a:rPr lang="zh-CN" altLang="en-US" sz="1400" dirty="0">
                <a:solidFill>
                  <a:schemeClr val="bg1"/>
                </a:solidFill>
                <a:latin typeface="微软雅黑" panose="020B0503020204020204" pitchFamily="34" charset="-122"/>
                <a:ea typeface="微软雅黑" panose="020B0503020204020204" pitchFamily="34" charset="-122"/>
              </a:rPr>
              <a:t>添加文本</a:t>
            </a:r>
          </a:p>
        </p:txBody>
      </p:sp>
      <p:sp>
        <p:nvSpPr>
          <p:cNvPr id="39" name="矩形 87"/>
          <p:cNvSpPr>
            <a:spLocks noChangeArrowheads="1"/>
          </p:cNvSpPr>
          <p:nvPr/>
        </p:nvSpPr>
        <p:spPr bwMode="auto">
          <a:xfrm>
            <a:off x="6136634" y="2334330"/>
            <a:ext cx="1565275" cy="307975"/>
          </a:xfrm>
          <a:prstGeom prst="rect">
            <a:avLst/>
          </a:prstGeom>
          <a:noFill/>
          <a:ln w="9525">
            <a:noFill/>
            <a:miter lim="800000"/>
          </a:ln>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40" name="矩形 87"/>
          <p:cNvSpPr>
            <a:spLocks noChangeArrowheads="1"/>
          </p:cNvSpPr>
          <p:nvPr/>
        </p:nvSpPr>
        <p:spPr bwMode="auto">
          <a:xfrm>
            <a:off x="6136634" y="2635955"/>
            <a:ext cx="1565275" cy="307975"/>
          </a:xfrm>
          <a:prstGeom prst="rect">
            <a:avLst/>
          </a:prstGeom>
          <a:noFill/>
          <a:ln w="9525">
            <a:noFill/>
            <a:miter lim="800000"/>
          </a:ln>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41" name="矩形 87"/>
          <p:cNvSpPr>
            <a:spLocks noChangeArrowheads="1"/>
          </p:cNvSpPr>
          <p:nvPr/>
        </p:nvSpPr>
        <p:spPr bwMode="auto">
          <a:xfrm>
            <a:off x="6136634" y="2937580"/>
            <a:ext cx="1506538" cy="307975"/>
          </a:xfrm>
          <a:prstGeom prst="rect">
            <a:avLst/>
          </a:prstGeom>
          <a:noFill/>
          <a:ln w="9525">
            <a:noFill/>
            <a:miter lim="800000"/>
          </a:ln>
          <a:effectLst/>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grpSp>
        <p:nvGrpSpPr>
          <p:cNvPr id="42" name="组合 41"/>
          <p:cNvGrpSpPr>
            <a:grpSpLocks noChangeAspect="1"/>
          </p:cNvGrpSpPr>
          <p:nvPr/>
        </p:nvGrpSpPr>
        <p:grpSpPr bwMode="auto">
          <a:xfrm>
            <a:off x="4979345" y="3601616"/>
            <a:ext cx="1008063" cy="1008062"/>
            <a:chOff x="4776635" y="4404800"/>
            <a:chExt cx="1011864" cy="1008000"/>
          </a:xfrm>
          <a:gradFill>
            <a:gsLst>
              <a:gs pos="0">
                <a:srgbClr val="0099FF"/>
              </a:gs>
              <a:gs pos="90000">
                <a:srgbClr val="005FFA"/>
              </a:gs>
            </a:gsLst>
            <a:lin ang="2700000" scaled="1"/>
          </a:gradFill>
          <a:effectLst>
            <a:glow rad="127000">
              <a:schemeClr val="tx1"/>
            </a:glow>
          </a:effectLst>
          <a:scene3d>
            <a:camera prst="orthographicFront">
              <a:rot lat="0" lon="0" rev="0"/>
            </a:camera>
            <a:lightRig rig="balanced" dir="t">
              <a:rot lat="0" lon="0" rev="8700000"/>
            </a:lightRig>
          </a:scene3d>
        </p:grpSpPr>
        <p:sp>
          <p:nvSpPr>
            <p:cNvPr id="43" name="Oval 2"/>
            <p:cNvSpPr>
              <a:spLocks noChangeAspect="1" noChangeArrowheads="1"/>
            </p:cNvSpPr>
            <p:nvPr/>
          </p:nvSpPr>
          <p:spPr bwMode="auto">
            <a:xfrm>
              <a:off x="4780499" y="4404800"/>
              <a:ext cx="1008000" cy="1008000"/>
            </a:xfrm>
            <a:prstGeom prst="ellipse">
              <a:avLst/>
            </a:prstGeom>
            <a:solidFill>
              <a:schemeClr val="bg2"/>
            </a:solidFill>
            <a:ln w="25400">
              <a:noFill/>
            </a:ln>
            <a:effectLst>
              <a:outerShdw blurRad="44450" dist="27940" dir="5400000" algn="ctr">
                <a:srgbClr val="000000">
                  <a:alpha val="32000"/>
                </a:srgbClr>
              </a:outerShdw>
            </a:effectLst>
            <a:sp3d>
              <a:bevelT w="190500" h="38100"/>
            </a:sp3d>
          </p:spPr>
          <p:style>
            <a:lnRef idx="1">
              <a:schemeClr val="accent2"/>
            </a:lnRef>
            <a:fillRef idx="3">
              <a:schemeClr val="accent2"/>
            </a:fillRef>
            <a:effectRef idx="2">
              <a:schemeClr val="accent2"/>
            </a:effectRef>
            <a:fontRef idx="minor">
              <a:schemeClr val="lt1"/>
            </a:fontRef>
          </p:style>
          <p:txBody>
            <a:bodyPr anchor="ctr"/>
            <a:lstStyle/>
            <a:p>
              <a:pPr algn="ctr" eaLnBrk="0" fontAlgn="ctr" hangingPunct="0">
                <a:spcBef>
                  <a:spcPts val="0"/>
                </a:spcBef>
                <a:spcAft>
                  <a:spcPts val="0"/>
                </a:spcAft>
                <a:buClr>
                  <a:srgbClr val="FF0000"/>
                </a:buClr>
                <a:buSzPct val="70000"/>
                <a:buFont typeface="Wingdings" panose="05000000000000000000" pitchFamily="2" charset="2"/>
                <a:buChar char="u"/>
                <a:defRPr/>
              </a:pPr>
              <a:endParaRPr lang="fr-FR" altLang="zh-CN" sz="1600" b="1" dirty="0">
                <a:solidFill>
                  <a:schemeClr val="bg1"/>
                </a:solidFill>
                <a:latin typeface="微软雅黑" panose="020B0503020204020204" pitchFamily="34" charset="-122"/>
                <a:ea typeface="微软雅黑" panose="020B0503020204020204" pitchFamily="34" charset="-122"/>
              </a:endParaRPr>
            </a:p>
          </p:txBody>
        </p:sp>
        <p:sp>
          <p:nvSpPr>
            <p:cNvPr id="44" name="椭圆 43"/>
            <p:cNvSpPr/>
            <p:nvPr/>
          </p:nvSpPr>
          <p:spPr>
            <a:xfrm rot="19388639">
              <a:off x="4776635" y="4463533"/>
              <a:ext cx="683605" cy="466696"/>
            </a:xfrm>
            <a:prstGeom prst="ellipse">
              <a:avLst/>
            </a:prstGeom>
            <a:no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400" dirty="0">
                <a:solidFill>
                  <a:srgbClr val="FFFFFF"/>
                </a:solidFill>
                <a:ea typeface="微软雅黑" panose="020B0503020204020204" pitchFamily="34" charset="-122"/>
              </a:endParaRPr>
            </a:p>
          </p:txBody>
        </p:sp>
      </p:grpSp>
      <p:sp>
        <p:nvSpPr>
          <p:cNvPr id="45" name="TextBox 147"/>
          <p:cNvSpPr txBox="1">
            <a:spLocks noChangeArrowheads="1"/>
          </p:cNvSpPr>
          <p:nvPr/>
        </p:nvSpPr>
        <p:spPr bwMode="auto">
          <a:xfrm>
            <a:off x="4983195" y="3961978"/>
            <a:ext cx="1062038" cy="307975"/>
          </a:xfrm>
          <a:prstGeom prst="rect">
            <a:avLst/>
          </a:prstGeom>
          <a:noFill/>
          <a:ln w="9525">
            <a:noFill/>
            <a:miter lim="800000"/>
          </a:ln>
          <a:effectLst/>
        </p:spPr>
        <p:txBody>
          <a:bodyPr>
            <a:spAutoFit/>
          </a:bodyPr>
          <a:lstStyle/>
          <a:p>
            <a:pPr algn="ctr" defTabSz="913130" eaLnBrk="0" fontAlgn="ctr" hangingPunct="0">
              <a:buClr>
                <a:srgbClr val="FF0000"/>
              </a:buClr>
              <a:buSzPct val="70000"/>
            </a:pPr>
            <a:r>
              <a:rPr lang="zh-CN" altLang="en-US" sz="1400" dirty="0">
                <a:solidFill>
                  <a:schemeClr val="bg1"/>
                </a:solidFill>
                <a:latin typeface="微软雅黑" panose="020B0503020204020204" pitchFamily="34" charset="-122"/>
                <a:ea typeface="微软雅黑" panose="020B0503020204020204" pitchFamily="34" charset="-122"/>
              </a:rPr>
              <a:t>添加文本</a:t>
            </a:r>
          </a:p>
        </p:txBody>
      </p:sp>
      <p:sp>
        <p:nvSpPr>
          <p:cNvPr id="46" name="矩形 87"/>
          <p:cNvSpPr>
            <a:spLocks noChangeArrowheads="1"/>
          </p:cNvSpPr>
          <p:nvPr/>
        </p:nvSpPr>
        <p:spPr bwMode="auto">
          <a:xfrm>
            <a:off x="6136634" y="3631927"/>
            <a:ext cx="1565275" cy="307975"/>
          </a:xfrm>
          <a:prstGeom prst="rect">
            <a:avLst/>
          </a:prstGeom>
          <a:noFill/>
          <a:ln w="9525">
            <a:noFill/>
            <a:miter lim="800000"/>
          </a:ln>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47" name="矩形 87"/>
          <p:cNvSpPr>
            <a:spLocks noChangeArrowheads="1"/>
          </p:cNvSpPr>
          <p:nvPr/>
        </p:nvSpPr>
        <p:spPr bwMode="auto">
          <a:xfrm>
            <a:off x="6136634" y="3961978"/>
            <a:ext cx="1565275" cy="307975"/>
          </a:xfrm>
          <a:prstGeom prst="rect">
            <a:avLst/>
          </a:prstGeom>
          <a:noFill/>
          <a:ln w="9525">
            <a:noFill/>
            <a:miter lim="800000"/>
          </a:ln>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
        <p:nvSpPr>
          <p:cNvPr id="48" name="矩形 87"/>
          <p:cNvSpPr>
            <a:spLocks noChangeArrowheads="1"/>
          </p:cNvSpPr>
          <p:nvPr/>
        </p:nvSpPr>
        <p:spPr bwMode="auto">
          <a:xfrm>
            <a:off x="6136634" y="4263603"/>
            <a:ext cx="1506538" cy="307975"/>
          </a:xfrm>
          <a:prstGeom prst="rect">
            <a:avLst/>
          </a:prstGeom>
          <a:noFill/>
          <a:ln w="9525">
            <a:noFill/>
            <a:miter lim="800000"/>
          </a:ln>
          <a:effectLst/>
        </p:spPr>
        <p:txBody>
          <a:bodyPr>
            <a:spAutoFit/>
          </a:bodyPr>
          <a:lstStyle/>
          <a:p>
            <a:pPr algn="l" eaLnBrk="0" fontAlgn="ctr" hangingPunct="0">
              <a:buClr>
                <a:srgbClr val="FF0000"/>
              </a:buClr>
              <a:buSzPct val="70000"/>
            </a:pPr>
            <a:r>
              <a:rPr lang="zh-CN" altLang="en-US" sz="1400" dirty="0">
                <a:solidFill>
                  <a:schemeClr val="accent2"/>
                </a:solidFill>
                <a:latin typeface="微软雅黑" panose="020B0503020204020204" pitchFamily="34" charset="-122"/>
                <a:ea typeface="微软雅黑" panose="020B0503020204020204" pitchFamily="34" charset="-122"/>
              </a:rPr>
              <a:t>点击添加文本</a:t>
            </a:r>
            <a:endParaRPr lang="en-US" altLang="zh-CN" sz="1400" dirty="0">
              <a:solidFill>
                <a:schemeClr val="accent2"/>
              </a:solidFill>
              <a:latin typeface="微软雅黑" panose="020B0503020204020204" pitchFamily="34" charset="-122"/>
              <a:ea typeface="微软雅黑" panose="020B0503020204020204" pitchFamily="34" charset="-122"/>
            </a:endParaRPr>
          </a:p>
        </p:txBody>
      </p:sp>
    </p:spTree>
  </p:cSld>
  <p:clrMapOvr>
    <a:masterClrMapping/>
  </p:clrMapOvr>
  <p:transition spd="slow"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0-#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additive="base">
                                        <p:cTn id="12" dur="500" fill="hold"/>
                                        <p:tgtEl>
                                          <p:spTgt spid="31"/>
                                        </p:tgtEl>
                                        <p:attrNameLst>
                                          <p:attrName>ppt_x</p:attrName>
                                        </p:attrNameLst>
                                      </p:cBhvr>
                                      <p:tavLst>
                                        <p:tav tm="0">
                                          <p:val>
                                            <p:strVal val="0-#ppt_w/2"/>
                                          </p:val>
                                        </p:tav>
                                        <p:tav tm="100000">
                                          <p:val>
                                            <p:strVal val="#ppt_x"/>
                                          </p:val>
                                        </p:tav>
                                      </p:tavLst>
                                    </p:anim>
                                    <p:anim calcmode="lin" valueType="num">
                                      <p:cBhvr additive="base">
                                        <p:cTn id="13" dur="500" fill="hold"/>
                                        <p:tgtEl>
                                          <p:spTgt spid="31"/>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nodeType="after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0-#ppt_w/2"/>
                                          </p:val>
                                        </p:tav>
                                        <p:tav tm="100000">
                                          <p:val>
                                            <p:strVal val="#ppt_x"/>
                                          </p:val>
                                        </p:tav>
                                      </p:tavLst>
                                    </p:anim>
                                    <p:anim calcmode="lin" valueType="num">
                                      <p:cBhvr additive="base">
                                        <p:cTn id="18" dur="500" fill="hold"/>
                                        <p:tgtEl>
                                          <p:spTgt spid="22"/>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0-#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0-#ppt_w/2"/>
                                          </p:val>
                                        </p:tav>
                                        <p:tav tm="100000">
                                          <p:val>
                                            <p:strVal val="#ppt_x"/>
                                          </p:val>
                                        </p:tav>
                                      </p:tavLst>
                                    </p:anim>
                                    <p:anim calcmode="lin" valueType="num">
                                      <p:cBhvr additive="base">
                                        <p:cTn id="28" dur="500" fill="hold"/>
                                        <p:tgtEl>
                                          <p:spTgt spid="21"/>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3" presetClass="entr" presetSubtype="16" fill="hold" nodeType="after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500" fill="hold"/>
                                        <p:tgtEl>
                                          <p:spTgt spid="2"/>
                                        </p:tgtEl>
                                        <p:attrNameLst>
                                          <p:attrName>ppt_w</p:attrName>
                                        </p:attrNameLst>
                                      </p:cBhvr>
                                      <p:tavLst>
                                        <p:tav tm="0">
                                          <p:val>
                                            <p:fltVal val="0"/>
                                          </p:val>
                                        </p:tav>
                                        <p:tav tm="100000">
                                          <p:val>
                                            <p:strVal val="#ppt_w"/>
                                          </p:val>
                                        </p:tav>
                                      </p:tavLst>
                                    </p:anim>
                                    <p:anim calcmode="lin" valueType="num">
                                      <p:cBhvr>
                                        <p:cTn id="33" dur="500" fill="hold"/>
                                        <p:tgtEl>
                                          <p:spTgt spid="2"/>
                                        </p:tgtEl>
                                        <p:attrNameLst>
                                          <p:attrName>ppt_h</p:attrName>
                                        </p:attrNameLst>
                                      </p:cBhvr>
                                      <p:tavLst>
                                        <p:tav tm="0">
                                          <p:val>
                                            <p:fltVal val="0"/>
                                          </p:val>
                                        </p:tav>
                                        <p:tav tm="100000">
                                          <p:val>
                                            <p:strVal val="#ppt_h"/>
                                          </p:val>
                                        </p:tav>
                                      </p:tavLst>
                                    </p:anim>
                                  </p:childTnLst>
                                </p:cTn>
                              </p:par>
                            </p:childTnLst>
                          </p:cTn>
                        </p:par>
                        <p:par>
                          <p:cTn id="34" fill="hold">
                            <p:stCondLst>
                              <p:cond delay="3000"/>
                            </p:stCondLst>
                            <p:childTnLst>
                              <p:par>
                                <p:cTn id="35" presetID="49" presetClass="entr" presetSubtype="0" decel="100000"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500" fill="hold"/>
                                        <p:tgtEl>
                                          <p:spTgt spid="6"/>
                                        </p:tgtEl>
                                        <p:attrNameLst>
                                          <p:attrName>ppt_w</p:attrName>
                                        </p:attrNameLst>
                                      </p:cBhvr>
                                      <p:tavLst>
                                        <p:tav tm="0">
                                          <p:val>
                                            <p:fltVal val="0"/>
                                          </p:val>
                                        </p:tav>
                                        <p:tav tm="100000">
                                          <p:val>
                                            <p:strVal val="#ppt_w"/>
                                          </p:val>
                                        </p:tav>
                                      </p:tavLst>
                                    </p:anim>
                                    <p:anim calcmode="lin" valueType="num">
                                      <p:cBhvr>
                                        <p:cTn id="38" dur="500" fill="hold"/>
                                        <p:tgtEl>
                                          <p:spTgt spid="6"/>
                                        </p:tgtEl>
                                        <p:attrNameLst>
                                          <p:attrName>ppt_h</p:attrName>
                                        </p:attrNameLst>
                                      </p:cBhvr>
                                      <p:tavLst>
                                        <p:tav tm="0">
                                          <p:val>
                                            <p:fltVal val="0"/>
                                          </p:val>
                                        </p:tav>
                                        <p:tav tm="100000">
                                          <p:val>
                                            <p:strVal val="#ppt_h"/>
                                          </p:val>
                                        </p:tav>
                                      </p:tavLst>
                                    </p:anim>
                                    <p:anim calcmode="lin" valueType="num">
                                      <p:cBhvr>
                                        <p:cTn id="39" dur="500" fill="hold"/>
                                        <p:tgtEl>
                                          <p:spTgt spid="6"/>
                                        </p:tgtEl>
                                        <p:attrNameLst>
                                          <p:attrName>style.rotation</p:attrName>
                                        </p:attrNameLst>
                                      </p:cBhvr>
                                      <p:tavLst>
                                        <p:tav tm="0">
                                          <p:val>
                                            <p:fltVal val="360"/>
                                          </p:val>
                                        </p:tav>
                                        <p:tav tm="100000">
                                          <p:val>
                                            <p:fltVal val="0"/>
                                          </p:val>
                                        </p:tav>
                                      </p:tavLst>
                                    </p:anim>
                                    <p:animEffect transition="in" filter="fade">
                                      <p:cBhvr>
                                        <p:cTn id="40" dur="500"/>
                                        <p:tgtEl>
                                          <p:spTgt spid="6"/>
                                        </p:tgtEl>
                                      </p:cBhvr>
                                    </p:animEffect>
                                  </p:childTnLst>
                                </p:cTn>
                              </p:par>
                            </p:childTnLst>
                          </p:cTn>
                        </p:par>
                        <p:par>
                          <p:cTn id="41" fill="hold">
                            <p:stCondLst>
                              <p:cond delay="3500"/>
                            </p:stCondLst>
                            <p:childTnLst>
                              <p:par>
                                <p:cTn id="42" presetID="2" presetClass="entr" presetSubtype="2" fill="hold" grpId="0" nodeType="afterEffect">
                                  <p:stCondLst>
                                    <p:cond delay="0"/>
                                  </p:stCondLst>
                                  <p:childTnLst>
                                    <p:set>
                                      <p:cBhvr>
                                        <p:cTn id="43" dur="1" fill="hold">
                                          <p:stCondLst>
                                            <p:cond delay="0"/>
                                          </p:stCondLst>
                                        </p:cTn>
                                        <p:tgtEl>
                                          <p:spTgt spid="17"/>
                                        </p:tgtEl>
                                        <p:attrNameLst>
                                          <p:attrName>style.visibility</p:attrName>
                                        </p:attrNameLst>
                                      </p:cBhvr>
                                      <p:to>
                                        <p:strVal val="visible"/>
                                      </p:to>
                                    </p:set>
                                    <p:anim calcmode="lin" valueType="num">
                                      <p:cBhvr additive="base">
                                        <p:cTn id="44" dur="500" fill="hold"/>
                                        <p:tgtEl>
                                          <p:spTgt spid="17"/>
                                        </p:tgtEl>
                                        <p:attrNameLst>
                                          <p:attrName>ppt_x</p:attrName>
                                        </p:attrNameLst>
                                      </p:cBhvr>
                                      <p:tavLst>
                                        <p:tav tm="0">
                                          <p:val>
                                            <p:strVal val="1+#ppt_w/2"/>
                                          </p:val>
                                        </p:tav>
                                        <p:tav tm="100000">
                                          <p:val>
                                            <p:strVal val="#ppt_x"/>
                                          </p:val>
                                        </p:tav>
                                      </p:tavLst>
                                    </p:anim>
                                    <p:anim calcmode="lin" valueType="num">
                                      <p:cBhvr additive="base">
                                        <p:cTn id="45" dur="500" fill="hold"/>
                                        <p:tgtEl>
                                          <p:spTgt spid="17"/>
                                        </p:tgtEl>
                                        <p:attrNameLst>
                                          <p:attrName>ppt_y</p:attrName>
                                        </p:attrNameLst>
                                      </p:cBhvr>
                                      <p:tavLst>
                                        <p:tav tm="0">
                                          <p:val>
                                            <p:strVal val="#ppt_y"/>
                                          </p:val>
                                        </p:tav>
                                        <p:tav tm="100000">
                                          <p:val>
                                            <p:strVal val="#ppt_y"/>
                                          </p:val>
                                        </p:tav>
                                      </p:tavLst>
                                    </p:anim>
                                  </p:childTnLst>
                                </p:cTn>
                              </p:par>
                            </p:childTnLst>
                          </p:cTn>
                        </p:par>
                        <p:par>
                          <p:cTn id="46" fill="hold">
                            <p:stCondLst>
                              <p:cond delay="4000"/>
                            </p:stCondLst>
                            <p:childTnLst>
                              <p:par>
                                <p:cTn id="47" presetID="2" presetClass="entr" presetSubtype="2" fill="hold" grpId="0" nodeType="after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additive="base">
                                        <p:cTn id="49" dur="500" fill="hold"/>
                                        <p:tgtEl>
                                          <p:spTgt spid="18"/>
                                        </p:tgtEl>
                                        <p:attrNameLst>
                                          <p:attrName>ppt_x</p:attrName>
                                        </p:attrNameLst>
                                      </p:cBhvr>
                                      <p:tavLst>
                                        <p:tav tm="0">
                                          <p:val>
                                            <p:strVal val="1+#ppt_w/2"/>
                                          </p:val>
                                        </p:tav>
                                        <p:tav tm="100000">
                                          <p:val>
                                            <p:strVal val="#ppt_x"/>
                                          </p:val>
                                        </p:tav>
                                      </p:tavLst>
                                    </p:anim>
                                    <p:anim calcmode="lin" valueType="num">
                                      <p:cBhvr additive="base">
                                        <p:cTn id="50" dur="500" fill="hold"/>
                                        <p:tgtEl>
                                          <p:spTgt spid="18"/>
                                        </p:tgtEl>
                                        <p:attrNameLst>
                                          <p:attrName>ppt_y</p:attrName>
                                        </p:attrNameLst>
                                      </p:cBhvr>
                                      <p:tavLst>
                                        <p:tav tm="0">
                                          <p:val>
                                            <p:strVal val="#ppt_y"/>
                                          </p:val>
                                        </p:tav>
                                        <p:tav tm="100000">
                                          <p:val>
                                            <p:strVal val="#ppt_y"/>
                                          </p:val>
                                        </p:tav>
                                      </p:tavLst>
                                    </p:anim>
                                  </p:childTnLst>
                                </p:cTn>
                              </p:par>
                            </p:childTnLst>
                          </p:cTn>
                        </p:par>
                        <p:par>
                          <p:cTn id="51" fill="hold">
                            <p:stCondLst>
                              <p:cond delay="4500"/>
                            </p:stCondLst>
                            <p:childTnLst>
                              <p:par>
                                <p:cTn id="52" presetID="2" presetClass="entr" presetSubtype="2" fill="hold" grpId="0" nodeType="afterEffect">
                                  <p:stCondLst>
                                    <p:cond delay="0"/>
                                  </p:stCondLst>
                                  <p:childTnLst>
                                    <p:set>
                                      <p:cBhvr>
                                        <p:cTn id="53" dur="1" fill="hold">
                                          <p:stCondLst>
                                            <p:cond delay="0"/>
                                          </p:stCondLst>
                                        </p:cTn>
                                        <p:tgtEl>
                                          <p:spTgt spid="19"/>
                                        </p:tgtEl>
                                        <p:attrNameLst>
                                          <p:attrName>style.visibility</p:attrName>
                                        </p:attrNameLst>
                                      </p:cBhvr>
                                      <p:to>
                                        <p:strVal val="visible"/>
                                      </p:to>
                                    </p:set>
                                    <p:anim calcmode="lin" valueType="num">
                                      <p:cBhvr additive="base">
                                        <p:cTn id="54" dur="500" fill="hold"/>
                                        <p:tgtEl>
                                          <p:spTgt spid="19"/>
                                        </p:tgtEl>
                                        <p:attrNameLst>
                                          <p:attrName>ppt_x</p:attrName>
                                        </p:attrNameLst>
                                      </p:cBhvr>
                                      <p:tavLst>
                                        <p:tav tm="0">
                                          <p:val>
                                            <p:strVal val="1+#ppt_w/2"/>
                                          </p:val>
                                        </p:tav>
                                        <p:tav tm="100000">
                                          <p:val>
                                            <p:strVal val="#ppt_x"/>
                                          </p:val>
                                        </p:tav>
                                      </p:tavLst>
                                    </p:anim>
                                    <p:anim calcmode="lin" valueType="num">
                                      <p:cBhvr additive="base">
                                        <p:cTn id="55" dur="500" fill="hold"/>
                                        <p:tgtEl>
                                          <p:spTgt spid="19"/>
                                        </p:tgtEl>
                                        <p:attrNameLst>
                                          <p:attrName>ppt_y</p:attrName>
                                        </p:attrNameLst>
                                      </p:cBhvr>
                                      <p:tavLst>
                                        <p:tav tm="0">
                                          <p:val>
                                            <p:strVal val="#ppt_y"/>
                                          </p:val>
                                        </p:tav>
                                        <p:tav tm="100000">
                                          <p:val>
                                            <p:strVal val="#ppt_y"/>
                                          </p:val>
                                        </p:tav>
                                      </p:tavLst>
                                    </p:anim>
                                  </p:childTnLst>
                                </p:cTn>
                              </p:par>
                            </p:childTnLst>
                          </p:cTn>
                        </p:par>
                        <p:par>
                          <p:cTn id="56" fill="hold">
                            <p:stCondLst>
                              <p:cond delay="5000"/>
                            </p:stCondLst>
                            <p:childTnLst>
                              <p:par>
                                <p:cTn id="57" presetID="23" presetClass="entr" presetSubtype="16"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500" fill="hold"/>
                                        <p:tgtEl>
                                          <p:spTgt spid="35"/>
                                        </p:tgtEl>
                                        <p:attrNameLst>
                                          <p:attrName>ppt_w</p:attrName>
                                        </p:attrNameLst>
                                      </p:cBhvr>
                                      <p:tavLst>
                                        <p:tav tm="0">
                                          <p:val>
                                            <p:fltVal val="0"/>
                                          </p:val>
                                        </p:tav>
                                        <p:tav tm="100000">
                                          <p:val>
                                            <p:strVal val="#ppt_w"/>
                                          </p:val>
                                        </p:tav>
                                      </p:tavLst>
                                    </p:anim>
                                    <p:anim calcmode="lin" valueType="num">
                                      <p:cBhvr>
                                        <p:cTn id="60" dur="500" fill="hold"/>
                                        <p:tgtEl>
                                          <p:spTgt spid="35"/>
                                        </p:tgtEl>
                                        <p:attrNameLst>
                                          <p:attrName>ppt_h</p:attrName>
                                        </p:attrNameLst>
                                      </p:cBhvr>
                                      <p:tavLst>
                                        <p:tav tm="0">
                                          <p:val>
                                            <p:fltVal val="0"/>
                                          </p:val>
                                        </p:tav>
                                        <p:tav tm="100000">
                                          <p:val>
                                            <p:strVal val="#ppt_h"/>
                                          </p:val>
                                        </p:tav>
                                      </p:tavLst>
                                    </p:anim>
                                  </p:childTnLst>
                                </p:cTn>
                              </p:par>
                            </p:childTnLst>
                          </p:cTn>
                        </p:par>
                        <p:par>
                          <p:cTn id="61" fill="hold">
                            <p:stCondLst>
                              <p:cond delay="5500"/>
                            </p:stCondLst>
                            <p:childTnLst>
                              <p:par>
                                <p:cTn id="62" presetID="49" presetClass="entr" presetSubtype="0" decel="100000" fill="hold" grpId="0" nodeType="afterEffect">
                                  <p:stCondLst>
                                    <p:cond delay="0"/>
                                  </p:stCondLst>
                                  <p:childTnLst>
                                    <p:set>
                                      <p:cBhvr>
                                        <p:cTn id="63" dur="1" fill="hold">
                                          <p:stCondLst>
                                            <p:cond delay="0"/>
                                          </p:stCondLst>
                                        </p:cTn>
                                        <p:tgtEl>
                                          <p:spTgt spid="38"/>
                                        </p:tgtEl>
                                        <p:attrNameLst>
                                          <p:attrName>style.visibility</p:attrName>
                                        </p:attrNameLst>
                                      </p:cBhvr>
                                      <p:to>
                                        <p:strVal val="visible"/>
                                      </p:to>
                                    </p:set>
                                    <p:anim calcmode="lin" valueType="num">
                                      <p:cBhvr>
                                        <p:cTn id="64" dur="500" fill="hold"/>
                                        <p:tgtEl>
                                          <p:spTgt spid="38"/>
                                        </p:tgtEl>
                                        <p:attrNameLst>
                                          <p:attrName>ppt_w</p:attrName>
                                        </p:attrNameLst>
                                      </p:cBhvr>
                                      <p:tavLst>
                                        <p:tav tm="0">
                                          <p:val>
                                            <p:fltVal val="0"/>
                                          </p:val>
                                        </p:tav>
                                        <p:tav tm="100000">
                                          <p:val>
                                            <p:strVal val="#ppt_w"/>
                                          </p:val>
                                        </p:tav>
                                      </p:tavLst>
                                    </p:anim>
                                    <p:anim calcmode="lin" valueType="num">
                                      <p:cBhvr>
                                        <p:cTn id="65" dur="500" fill="hold"/>
                                        <p:tgtEl>
                                          <p:spTgt spid="38"/>
                                        </p:tgtEl>
                                        <p:attrNameLst>
                                          <p:attrName>ppt_h</p:attrName>
                                        </p:attrNameLst>
                                      </p:cBhvr>
                                      <p:tavLst>
                                        <p:tav tm="0">
                                          <p:val>
                                            <p:fltVal val="0"/>
                                          </p:val>
                                        </p:tav>
                                        <p:tav tm="100000">
                                          <p:val>
                                            <p:strVal val="#ppt_h"/>
                                          </p:val>
                                        </p:tav>
                                      </p:tavLst>
                                    </p:anim>
                                    <p:anim calcmode="lin" valueType="num">
                                      <p:cBhvr>
                                        <p:cTn id="66" dur="500" fill="hold"/>
                                        <p:tgtEl>
                                          <p:spTgt spid="38"/>
                                        </p:tgtEl>
                                        <p:attrNameLst>
                                          <p:attrName>style.rotation</p:attrName>
                                        </p:attrNameLst>
                                      </p:cBhvr>
                                      <p:tavLst>
                                        <p:tav tm="0">
                                          <p:val>
                                            <p:fltVal val="360"/>
                                          </p:val>
                                        </p:tav>
                                        <p:tav tm="100000">
                                          <p:val>
                                            <p:fltVal val="0"/>
                                          </p:val>
                                        </p:tav>
                                      </p:tavLst>
                                    </p:anim>
                                    <p:animEffect transition="in" filter="fade">
                                      <p:cBhvr>
                                        <p:cTn id="67" dur="500"/>
                                        <p:tgtEl>
                                          <p:spTgt spid="38"/>
                                        </p:tgtEl>
                                      </p:cBhvr>
                                    </p:animEffect>
                                  </p:childTnLst>
                                </p:cTn>
                              </p:par>
                            </p:childTnLst>
                          </p:cTn>
                        </p:par>
                        <p:par>
                          <p:cTn id="68" fill="hold">
                            <p:stCondLst>
                              <p:cond delay="6000"/>
                            </p:stCondLst>
                            <p:childTnLst>
                              <p:par>
                                <p:cTn id="69" presetID="2" presetClass="entr" presetSubtype="2" fill="hold" grpId="0" nodeType="afterEffect">
                                  <p:stCondLst>
                                    <p:cond delay="0"/>
                                  </p:stCondLst>
                                  <p:childTnLst>
                                    <p:set>
                                      <p:cBhvr>
                                        <p:cTn id="70" dur="1" fill="hold">
                                          <p:stCondLst>
                                            <p:cond delay="0"/>
                                          </p:stCondLst>
                                        </p:cTn>
                                        <p:tgtEl>
                                          <p:spTgt spid="39"/>
                                        </p:tgtEl>
                                        <p:attrNameLst>
                                          <p:attrName>style.visibility</p:attrName>
                                        </p:attrNameLst>
                                      </p:cBhvr>
                                      <p:to>
                                        <p:strVal val="visible"/>
                                      </p:to>
                                    </p:set>
                                    <p:anim calcmode="lin" valueType="num">
                                      <p:cBhvr additive="base">
                                        <p:cTn id="71" dur="500" fill="hold"/>
                                        <p:tgtEl>
                                          <p:spTgt spid="39"/>
                                        </p:tgtEl>
                                        <p:attrNameLst>
                                          <p:attrName>ppt_x</p:attrName>
                                        </p:attrNameLst>
                                      </p:cBhvr>
                                      <p:tavLst>
                                        <p:tav tm="0">
                                          <p:val>
                                            <p:strVal val="1+#ppt_w/2"/>
                                          </p:val>
                                        </p:tav>
                                        <p:tav tm="100000">
                                          <p:val>
                                            <p:strVal val="#ppt_x"/>
                                          </p:val>
                                        </p:tav>
                                      </p:tavLst>
                                    </p:anim>
                                    <p:anim calcmode="lin" valueType="num">
                                      <p:cBhvr additive="base">
                                        <p:cTn id="72" dur="500" fill="hold"/>
                                        <p:tgtEl>
                                          <p:spTgt spid="39"/>
                                        </p:tgtEl>
                                        <p:attrNameLst>
                                          <p:attrName>ppt_y</p:attrName>
                                        </p:attrNameLst>
                                      </p:cBhvr>
                                      <p:tavLst>
                                        <p:tav tm="0">
                                          <p:val>
                                            <p:strVal val="#ppt_y"/>
                                          </p:val>
                                        </p:tav>
                                        <p:tav tm="100000">
                                          <p:val>
                                            <p:strVal val="#ppt_y"/>
                                          </p:val>
                                        </p:tav>
                                      </p:tavLst>
                                    </p:anim>
                                  </p:childTnLst>
                                </p:cTn>
                              </p:par>
                            </p:childTnLst>
                          </p:cTn>
                        </p:par>
                        <p:par>
                          <p:cTn id="73" fill="hold">
                            <p:stCondLst>
                              <p:cond delay="6500"/>
                            </p:stCondLst>
                            <p:childTnLst>
                              <p:par>
                                <p:cTn id="74" presetID="2" presetClass="entr" presetSubtype="2" fill="hold" grpId="0" nodeType="afterEffect">
                                  <p:stCondLst>
                                    <p:cond delay="0"/>
                                  </p:stCondLst>
                                  <p:childTnLst>
                                    <p:set>
                                      <p:cBhvr>
                                        <p:cTn id="75" dur="1" fill="hold">
                                          <p:stCondLst>
                                            <p:cond delay="0"/>
                                          </p:stCondLst>
                                        </p:cTn>
                                        <p:tgtEl>
                                          <p:spTgt spid="40"/>
                                        </p:tgtEl>
                                        <p:attrNameLst>
                                          <p:attrName>style.visibility</p:attrName>
                                        </p:attrNameLst>
                                      </p:cBhvr>
                                      <p:to>
                                        <p:strVal val="visible"/>
                                      </p:to>
                                    </p:set>
                                    <p:anim calcmode="lin" valueType="num">
                                      <p:cBhvr additive="base">
                                        <p:cTn id="76" dur="500" fill="hold"/>
                                        <p:tgtEl>
                                          <p:spTgt spid="40"/>
                                        </p:tgtEl>
                                        <p:attrNameLst>
                                          <p:attrName>ppt_x</p:attrName>
                                        </p:attrNameLst>
                                      </p:cBhvr>
                                      <p:tavLst>
                                        <p:tav tm="0">
                                          <p:val>
                                            <p:strVal val="1+#ppt_w/2"/>
                                          </p:val>
                                        </p:tav>
                                        <p:tav tm="100000">
                                          <p:val>
                                            <p:strVal val="#ppt_x"/>
                                          </p:val>
                                        </p:tav>
                                      </p:tavLst>
                                    </p:anim>
                                    <p:anim calcmode="lin" valueType="num">
                                      <p:cBhvr additive="base">
                                        <p:cTn id="77" dur="500" fill="hold"/>
                                        <p:tgtEl>
                                          <p:spTgt spid="40"/>
                                        </p:tgtEl>
                                        <p:attrNameLst>
                                          <p:attrName>ppt_y</p:attrName>
                                        </p:attrNameLst>
                                      </p:cBhvr>
                                      <p:tavLst>
                                        <p:tav tm="0">
                                          <p:val>
                                            <p:strVal val="#ppt_y"/>
                                          </p:val>
                                        </p:tav>
                                        <p:tav tm="100000">
                                          <p:val>
                                            <p:strVal val="#ppt_y"/>
                                          </p:val>
                                        </p:tav>
                                      </p:tavLst>
                                    </p:anim>
                                  </p:childTnLst>
                                </p:cTn>
                              </p:par>
                            </p:childTnLst>
                          </p:cTn>
                        </p:par>
                        <p:par>
                          <p:cTn id="78" fill="hold">
                            <p:stCondLst>
                              <p:cond delay="7000"/>
                            </p:stCondLst>
                            <p:childTnLst>
                              <p:par>
                                <p:cTn id="79" presetID="2" presetClass="entr" presetSubtype="2" fill="hold" grpId="0" nodeType="afterEffect">
                                  <p:stCondLst>
                                    <p:cond delay="0"/>
                                  </p:stCondLst>
                                  <p:childTnLst>
                                    <p:set>
                                      <p:cBhvr>
                                        <p:cTn id="80" dur="1" fill="hold">
                                          <p:stCondLst>
                                            <p:cond delay="0"/>
                                          </p:stCondLst>
                                        </p:cTn>
                                        <p:tgtEl>
                                          <p:spTgt spid="41"/>
                                        </p:tgtEl>
                                        <p:attrNameLst>
                                          <p:attrName>style.visibility</p:attrName>
                                        </p:attrNameLst>
                                      </p:cBhvr>
                                      <p:to>
                                        <p:strVal val="visible"/>
                                      </p:to>
                                    </p:set>
                                    <p:anim calcmode="lin" valueType="num">
                                      <p:cBhvr additive="base">
                                        <p:cTn id="81" dur="500" fill="hold"/>
                                        <p:tgtEl>
                                          <p:spTgt spid="41"/>
                                        </p:tgtEl>
                                        <p:attrNameLst>
                                          <p:attrName>ppt_x</p:attrName>
                                        </p:attrNameLst>
                                      </p:cBhvr>
                                      <p:tavLst>
                                        <p:tav tm="0">
                                          <p:val>
                                            <p:strVal val="1+#ppt_w/2"/>
                                          </p:val>
                                        </p:tav>
                                        <p:tav tm="100000">
                                          <p:val>
                                            <p:strVal val="#ppt_x"/>
                                          </p:val>
                                        </p:tav>
                                      </p:tavLst>
                                    </p:anim>
                                    <p:anim calcmode="lin" valueType="num">
                                      <p:cBhvr additive="base">
                                        <p:cTn id="82" dur="500" fill="hold"/>
                                        <p:tgtEl>
                                          <p:spTgt spid="41"/>
                                        </p:tgtEl>
                                        <p:attrNameLst>
                                          <p:attrName>ppt_y</p:attrName>
                                        </p:attrNameLst>
                                      </p:cBhvr>
                                      <p:tavLst>
                                        <p:tav tm="0">
                                          <p:val>
                                            <p:strVal val="#ppt_y"/>
                                          </p:val>
                                        </p:tav>
                                        <p:tav tm="100000">
                                          <p:val>
                                            <p:strVal val="#ppt_y"/>
                                          </p:val>
                                        </p:tav>
                                      </p:tavLst>
                                    </p:anim>
                                  </p:childTnLst>
                                </p:cTn>
                              </p:par>
                            </p:childTnLst>
                          </p:cTn>
                        </p:par>
                        <p:par>
                          <p:cTn id="83" fill="hold">
                            <p:stCondLst>
                              <p:cond delay="7500"/>
                            </p:stCondLst>
                            <p:childTnLst>
                              <p:par>
                                <p:cTn id="84" presetID="23" presetClass="entr" presetSubtype="16" fill="hold" nodeType="afterEffect">
                                  <p:stCondLst>
                                    <p:cond delay="0"/>
                                  </p:stCondLst>
                                  <p:childTnLst>
                                    <p:set>
                                      <p:cBhvr>
                                        <p:cTn id="85" dur="1" fill="hold">
                                          <p:stCondLst>
                                            <p:cond delay="0"/>
                                          </p:stCondLst>
                                        </p:cTn>
                                        <p:tgtEl>
                                          <p:spTgt spid="42"/>
                                        </p:tgtEl>
                                        <p:attrNameLst>
                                          <p:attrName>style.visibility</p:attrName>
                                        </p:attrNameLst>
                                      </p:cBhvr>
                                      <p:to>
                                        <p:strVal val="visible"/>
                                      </p:to>
                                    </p:set>
                                    <p:anim calcmode="lin" valueType="num">
                                      <p:cBhvr>
                                        <p:cTn id="86" dur="500" fill="hold"/>
                                        <p:tgtEl>
                                          <p:spTgt spid="42"/>
                                        </p:tgtEl>
                                        <p:attrNameLst>
                                          <p:attrName>ppt_w</p:attrName>
                                        </p:attrNameLst>
                                      </p:cBhvr>
                                      <p:tavLst>
                                        <p:tav tm="0">
                                          <p:val>
                                            <p:fltVal val="0"/>
                                          </p:val>
                                        </p:tav>
                                        <p:tav tm="100000">
                                          <p:val>
                                            <p:strVal val="#ppt_w"/>
                                          </p:val>
                                        </p:tav>
                                      </p:tavLst>
                                    </p:anim>
                                    <p:anim calcmode="lin" valueType="num">
                                      <p:cBhvr>
                                        <p:cTn id="87" dur="500" fill="hold"/>
                                        <p:tgtEl>
                                          <p:spTgt spid="42"/>
                                        </p:tgtEl>
                                        <p:attrNameLst>
                                          <p:attrName>ppt_h</p:attrName>
                                        </p:attrNameLst>
                                      </p:cBhvr>
                                      <p:tavLst>
                                        <p:tav tm="0">
                                          <p:val>
                                            <p:fltVal val="0"/>
                                          </p:val>
                                        </p:tav>
                                        <p:tav tm="100000">
                                          <p:val>
                                            <p:strVal val="#ppt_h"/>
                                          </p:val>
                                        </p:tav>
                                      </p:tavLst>
                                    </p:anim>
                                  </p:childTnLst>
                                </p:cTn>
                              </p:par>
                            </p:childTnLst>
                          </p:cTn>
                        </p:par>
                        <p:par>
                          <p:cTn id="88" fill="hold">
                            <p:stCondLst>
                              <p:cond delay="8000"/>
                            </p:stCondLst>
                            <p:childTnLst>
                              <p:par>
                                <p:cTn id="89" presetID="49" presetClass="entr" presetSubtype="0" decel="100000" fill="hold" grpId="0" nodeType="afterEffect">
                                  <p:stCondLst>
                                    <p:cond delay="0"/>
                                  </p:stCondLst>
                                  <p:childTnLst>
                                    <p:set>
                                      <p:cBhvr>
                                        <p:cTn id="90" dur="1" fill="hold">
                                          <p:stCondLst>
                                            <p:cond delay="0"/>
                                          </p:stCondLst>
                                        </p:cTn>
                                        <p:tgtEl>
                                          <p:spTgt spid="45"/>
                                        </p:tgtEl>
                                        <p:attrNameLst>
                                          <p:attrName>style.visibility</p:attrName>
                                        </p:attrNameLst>
                                      </p:cBhvr>
                                      <p:to>
                                        <p:strVal val="visible"/>
                                      </p:to>
                                    </p:set>
                                    <p:anim calcmode="lin" valueType="num">
                                      <p:cBhvr>
                                        <p:cTn id="91" dur="500" fill="hold"/>
                                        <p:tgtEl>
                                          <p:spTgt spid="45"/>
                                        </p:tgtEl>
                                        <p:attrNameLst>
                                          <p:attrName>ppt_w</p:attrName>
                                        </p:attrNameLst>
                                      </p:cBhvr>
                                      <p:tavLst>
                                        <p:tav tm="0">
                                          <p:val>
                                            <p:fltVal val="0"/>
                                          </p:val>
                                        </p:tav>
                                        <p:tav tm="100000">
                                          <p:val>
                                            <p:strVal val="#ppt_w"/>
                                          </p:val>
                                        </p:tav>
                                      </p:tavLst>
                                    </p:anim>
                                    <p:anim calcmode="lin" valueType="num">
                                      <p:cBhvr>
                                        <p:cTn id="92" dur="500" fill="hold"/>
                                        <p:tgtEl>
                                          <p:spTgt spid="45"/>
                                        </p:tgtEl>
                                        <p:attrNameLst>
                                          <p:attrName>ppt_h</p:attrName>
                                        </p:attrNameLst>
                                      </p:cBhvr>
                                      <p:tavLst>
                                        <p:tav tm="0">
                                          <p:val>
                                            <p:fltVal val="0"/>
                                          </p:val>
                                        </p:tav>
                                        <p:tav tm="100000">
                                          <p:val>
                                            <p:strVal val="#ppt_h"/>
                                          </p:val>
                                        </p:tav>
                                      </p:tavLst>
                                    </p:anim>
                                    <p:anim calcmode="lin" valueType="num">
                                      <p:cBhvr>
                                        <p:cTn id="93" dur="500" fill="hold"/>
                                        <p:tgtEl>
                                          <p:spTgt spid="45"/>
                                        </p:tgtEl>
                                        <p:attrNameLst>
                                          <p:attrName>style.rotation</p:attrName>
                                        </p:attrNameLst>
                                      </p:cBhvr>
                                      <p:tavLst>
                                        <p:tav tm="0">
                                          <p:val>
                                            <p:fltVal val="360"/>
                                          </p:val>
                                        </p:tav>
                                        <p:tav tm="100000">
                                          <p:val>
                                            <p:fltVal val="0"/>
                                          </p:val>
                                        </p:tav>
                                      </p:tavLst>
                                    </p:anim>
                                    <p:animEffect transition="in" filter="fade">
                                      <p:cBhvr>
                                        <p:cTn id="94" dur="500"/>
                                        <p:tgtEl>
                                          <p:spTgt spid="45"/>
                                        </p:tgtEl>
                                      </p:cBhvr>
                                    </p:animEffect>
                                  </p:childTnLst>
                                </p:cTn>
                              </p:par>
                            </p:childTnLst>
                          </p:cTn>
                        </p:par>
                        <p:par>
                          <p:cTn id="95" fill="hold">
                            <p:stCondLst>
                              <p:cond delay="8500"/>
                            </p:stCondLst>
                            <p:childTnLst>
                              <p:par>
                                <p:cTn id="96" presetID="2" presetClass="entr" presetSubtype="2" fill="hold" grpId="0" nodeType="afterEffect">
                                  <p:stCondLst>
                                    <p:cond delay="0"/>
                                  </p:stCondLst>
                                  <p:childTnLst>
                                    <p:set>
                                      <p:cBhvr>
                                        <p:cTn id="97" dur="1" fill="hold">
                                          <p:stCondLst>
                                            <p:cond delay="0"/>
                                          </p:stCondLst>
                                        </p:cTn>
                                        <p:tgtEl>
                                          <p:spTgt spid="46"/>
                                        </p:tgtEl>
                                        <p:attrNameLst>
                                          <p:attrName>style.visibility</p:attrName>
                                        </p:attrNameLst>
                                      </p:cBhvr>
                                      <p:to>
                                        <p:strVal val="visible"/>
                                      </p:to>
                                    </p:set>
                                    <p:anim calcmode="lin" valueType="num">
                                      <p:cBhvr additive="base">
                                        <p:cTn id="98" dur="500" fill="hold"/>
                                        <p:tgtEl>
                                          <p:spTgt spid="46"/>
                                        </p:tgtEl>
                                        <p:attrNameLst>
                                          <p:attrName>ppt_x</p:attrName>
                                        </p:attrNameLst>
                                      </p:cBhvr>
                                      <p:tavLst>
                                        <p:tav tm="0">
                                          <p:val>
                                            <p:strVal val="1+#ppt_w/2"/>
                                          </p:val>
                                        </p:tav>
                                        <p:tav tm="100000">
                                          <p:val>
                                            <p:strVal val="#ppt_x"/>
                                          </p:val>
                                        </p:tav>
                                      </p:tavLst>
                                    </p:anim>
                                    <p:anim calcmode="lin" valueType="num">
                                      <p:cBhvr additive="base">
                                        <p:cTn id="99" dur="500" fill="hold"/>
                                        <p:tgtEl>
                                          <p:spTgt spid="46"/>
                                        </p:tgtEl>
                                        <p:attrNameLst>
                                          <p:attrName>ppt_y</p:attrName>
                                        </p:attrNameLst>
                                      </p:cBhvr>
                                      <p:tavLst>
                                        <p:tav tm="0">
                                          <p:val>
                                            <p:strVal val="#ppt_y"/>
                                          </p:val>
                                        </p:tav>
                                        <p:tav tm="100000">
                                          <p:val>
                                            <p:strVal val="#ppt_y"/>
                                          </p:val>
                                        </p:tav>
                                      </p:tavLst>
                                    </p:anim>
                                  </p:childTnLst>
                                </p:cTn>
                              </p:par>
                            </p:childTnLst>
                          </p:cTn>
                        </p:par>
                        <p:par>
                          <p:cTn id="100" fill="hold">
                            <p:stCondLst>
                              <p:cond delay="9000"/>
                            </p:stCondLst>
                            <p:childTnLst>
                              <p:par>
                                <p:cTn id="101" presetID="2" presetClass="entr" presetSubtype="2" fill="hold" grpId="0" nodeType="afterEffect">
                                  <p:stCondLst>
                                    <p:cond delay="0"/>
                                  </p:stCondLst>
                                  <p:childTnLst>
                                    <p:set>
                                      <p:cBhvr>
                                        <p:cTn id="102" dur="1" fill="hold">
                                          <p:stCondLst>
                                            <p:cond delay="0"/>
                                          </p:stCondLst>
                                        </p:cTn>
                                        <p:tgtEl>
                                          <p:spTgt spid="47"/>
                                        </p:tgtEl>
                                        <p:attrNameLst>
                                          <p:attrName>style.visibility</p:attrName>
                                        </p:attrNameLst>
                                      </p:cBhvr>
                                      <p:to>
                                        <p:strVal val="visible"/>
                                      </p:to>
                                    </p:set>
                                    <p:anim calcmode="lin" valueType="num">
                                      <p:cBhvr additive="base">
                                        <p:cTn id="103" dur="500" fill="hold"/>
                                        <p:tgtEl>
                                          <p:spTgt spid="47"/>
                                        </p:tgtEl>
                                        <p:attrNameLst>
                                          <p:attrName>ppt_x</p:attrName>
                                        </p:attrNameLst>
                                      </p:cBhvr>
                                      <p:tavLst>
                                        <p:tav tm="0">
                                          <p:val>
                                            <p:strVal val="1+#ppt_w/2"/>
                                          </p:val>
                                        </p:tav>
                                        <p:tav tm="100000">
                                          <p:val>
                                            <p:strVal val="#ppt_x"/>
                                          </p:val>
                                        </p:tav>
                                      </p:tavLst>
                                    </p:anim>
                                    <p:anim calcmode="lin" valueType="num">
                                      <p:cBhvr additive="base">
                                        <p:cTn id="104" dur="500" fill="hold"/>
                                        <p:tgtEl>
                                          <p:spTgt spid="47"/>
                                        </p:tgtEl>
                                        <p:attrNameLst>
                                          <p:attrName>ppt_y</p:attrName>
                                        </p:attrNameLst>
                                      </p:cBhvr>
                                      <p:tavLst>
                                        <p:tav tm="0">
                                          <p:val>
                                            <p:strVal val="#ppt_y"/>
                                          </p:val>
                                        </p:tav>
                                        <p:tav tm="100000">
                                          <p:val>
                                            <p:strVal val="#ppt_y"/>
                                          </p:val>
                                        </p:tav>
                                      </p:tavLst>
                                    </p:anim>
                                  </p:childTnLst>
                                </p:cTn>
                              </p:par>
                            </p:childTnLst>
                          </p:cTn>
                        </p:par>
                        <p:par>
                          <p:cTn id="105" fill="hold">
                            <p:stCondLst>
                              <p:cond delay="9500"/>
                            </p:stCondLst>
                            <p:childTnLst>
                              <p:par>
                                <p:cTn id="106" presetID="2" presetClass="entr" presetSubtype="2" fill="hold" grpId="0" nodeType="afterEffect">
                                  <p:stCondLst>
                                    <p:cond delay="0"/>
                                  </p:stCondLst>
                                  <p:childTnLst>
                                    <p:set>
                                      <p:cBhvr>
                                        <p:cTn id="107" dur="1" fill="hold">
                                          <p:stCondLst>
                                            <p:cond delay="0"/>
                                          </p:stCondLst>
                                        </p:cTn>
                                        <p:tgtEl>
                                          <p:spTgt spid="48"/>
                                        </p:tgtEl>
                                        <p:attrNameLst>
                                          <p:attrName>style.visibility</p:attrName>
                                        </p:attrNameLst>
                                      </p:cBhvr>
                                      <p:to>
                                        <p:strVal val="visible"/>
                                      </p:to>
                                    </p:set>
                                    <p:anim calcmode="lin" valueType="num">
                                      <p:cBhvr additive="base">
                                        <p:cTn id="108" dur="500" fill="hold"/>
                                        <p:tgtEl>
                                          <p:spTgt spid="48"/>
                                        </p:tgtEl>
                                        <p:attrNameLst>
                                          <p:attrName>ppt_x</p:attrName>
                                        </p:attrNameLst>
                                      </p:cBhvr>
                                      <p:tavLst>
                                        <p:tav tm="0">
                                          <p:val>
                                            <p:strVal val="1+#ppt_w/2"/>
                                          </p:val>
                                        </p:tav>
                                        <p:tav tm="100000">
                                          <p:val>
                                            <p:strVal val="#ppt_x"/>
                                          </p:val>
                                        </p:tav>
                                      </p:tavLst>
                                    </p:anim>
                                    <p:anim calcmode="lin" valueType="num">
                                      <p:cBhvr additive="base">
                                        <p:cTn id="109" dur="50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7" grpId="0"/>
      <p:bldP spid="18" grpId="0"/>
      <p:bldP spid="19" grpId="0"/>
      <p:bldP spid="20" grpId="0" animBg="1"/>
      <p:bldP spid="21" grpId="0"/>
      <p:bldP spid="31" grpId="0" animBg="1"/>
      <p:bldP spid="38" grpId="0"/>
      <p:bldP spid="39" grpId="0"/>
      <p:bldP spid="40" grpId="0"/>
      <p:bldP spid="41" grpId="0"/>
      <p:bldP spid="45" grpId="0"/>
      <p:bldP spid="46" grpId="0"/>
      <p:bldP spid="47" grpId="0"/>
      <p:bldP spid="4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自定义 9">
      <a:dk1>
        <a:srgbClr val="FFFFFF"/>
      </a:dk1>
      <a:lt1>
        <a:srgbClr val="FFFFFF"/>
      </a:lt1>
      <a:dk2>
        <a:srgbClr val="027E3D"/>
      </a:dk2>
      <a:lt2>
        <a:srgbClr val="7F7F7F"/>
      </a:lt2>
      <a:accent1>
        <a:srgbClr val="8E8E8E"/>
      </a:accent1>
      <a:accent2>
        <a:srgbClr val="7F7F7F"/>
      </a:accent2>
      <a:accent3>
        <a:srgbClr val="FFFFFF"/>
      </a:accent3>
      <a:accent4>
        <a:srgbClr val="7F7F7F"/>
      </a:accent4>
      <a:accent5>
        <a:srgbClr val="A5A5A5"/>
      </a:accent5>
      <a:accent6>
        <a:srgbClr val="7F7F7F"/>
      </a:accent6>
      <a:hlink>
        <a:srgbClr val="7F7F7F"/>
      </a:hlink>
      <a:folHlink>
        <a:srgbClr val="8E8E8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06</Words>
  <Application>Microsoft Office PowerPoint</Application>
  <PresentationFormat>全屏显示(16:9)</PresentationFormat>
  <Paragraphs>466</Paragraphs>
  <Slides>36</Slides>
  <Notes>1</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36</vt:i4>
      </vt:variant>
    </vt:vector>
  </HeadingPairs>
  <TitlesOfParts>
    <vt:vector size="44" baseType="lpstr">
      <vt:lpstr>굴림</vt:lpstr>
      <vt:lpstr>微软雅黑</vt:lpstr>
      <vt:lpstr>Arial</vt:lpstr>
      <vt:lpstr>Arial Black</vt:lpstr>
      <vt:lpstr>Calibri</vt:lpstr>
      <vt:lpstr>Times New Roman</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天 下</cp:lastModifiedBy>
  <cp:revision>163</cp:revision>
  <dcterms:created xsi:type="dcterms:W3CDTF">2020-03-27T13:48:42Z</dcterms:created>
  <dcterms:modified xsi:type="dcterms:W3CDTF">2021-01-05T22:4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